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4.xml" ContentType="application/vnd.openxmlformats-officedocument.presentationml.tags+xml"/>
  <Override PartName="/ppt/notesSlides/notesSlide21.xml" ContentType="application/vnd.openxmlformats-officedocument.presentationml.notesSlide+xml"/>
  <Override PartName="/ppt/tags/tag15.xml" ContentType="application/vnd.openxmlformats-officedocument.presentationml.tags+xml"/>
  <Override PartName="/ppt/notesSlides/notesSlide22.xml" ContentType="application/vnd.openxmlformats-officedocument.presentationml.notesSlide+xml"/>
  <Override PartName="/ppt/tags/tag16.xml" ContentType="application/vnd.openxmlformats-officedocument.presentationml.tags+xml"/>
  <Override PartName="/ppt/notesSlides/notesSlide23.xml" ContentType="application/vnd.openxmlformats-officedocument.presentationml.notesSlide+xml"/>
  <Override PartName="/ppt/tags/tag17.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8.xml" ContentType="application/vnd.openxmlformats-officedocument.presentationml.tags+xml"/>
  <Override PartName="/ppt/notesSlides/notesSlide27.xml" ContentType="application/vnd.openxmlformats-officedocument.presentationml.notesSlide+xml"/>
  <Override PartName="/ppt/tags/tag19.xml" ContentType="application/vnd.openxmlformats-officedocument.presentationml.tags+xml"/>
  <Override PartName="/ppt/notesSlides/notesSlide28.xml" ContentType="application/vnd.openxmlformats-officedocument.presentationml.notesSlide+xml"/>
  <Override PartName="/ppt/tags/tag20.xml" ContentType="application/vnd.openxmlformats-officedocument.presentationml.tags+xml"/>
  <Override PartName="/ppt/notesSlides/notesSlide29.xml" ContentType="application/vnd.openxmlformats-officedocument.presentationml.notesSlide+xml"/>
  <Override PartName="/ppt/tags/tag21.xml" ContentType="application/vnd.openxmlformats-officedocument.presentationml.tags+xml"/>
  <Override PartName="/ppt/notesSlides/notesSlide30.xml" ContentType="application/vnd.openxmlformats-officedocument.presentationml.notesSlide+xml"/>
  <Override PartName="/ppt/tags/tag22.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23.xml" ContentType="application/vnd.openxmlformats-officedocument.presentationml.tags+xml"/>
  <Override PartName="/ppt/notesSlides/notesSlide33.xml" ContentType="application/vnd.openxmlformats-officedocument.presentationml.notesSlide+xml"/>
  <Override PartName="/ppt/tags/tag24.xml" ContentType="application/vnd.openxmlformats-officedocument.presentationml.tags+xml"/>
  <Override PartName="/ppt/notesSlides/notesSlide34.xml" ContentType="application/vnd.openxmlformats-officedocument.presentationml.notesSlide+xml"/>
  <Override PartName="/ppt/tags/tag25.xml" ContentType="application/vnd.openxmlformats-officedocument.presentationml.tags+xml"/>
  <Override PartName="/ppt/notesSlides/notesSlide35.xml" ContentType="application/vnd.openxmlformats-officedocument.presentationml.notesSlide+xml"/>
  <Override PartName="/ppt/tags/tag26.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27.xml" ContentType="application/vnd.openxmlformats-officedocument.presentationml.tags+xml"/>
  <Override PartName="/ppt/notesSlides/notesSlide38.xml" ContentType="application/vnd.openxmlformats-officedocument.presentationml.notesSlide+xml"/>
  <Override PartName="/ppt/tags/tag28.xml" ContentType="application/vnd.openxmlformats-officedocument.presentationml.tags+xml"/>
  <Override PartName="/ppt/notesSlides/notesSlide39.xml" ContentType="application/vnd.openxmlformats-officedocument.presentationml.notesSlide+xml"/>
  <Override PartName="/ppt/tags/tag29.xml" ContentType="application/vnd.openxmlformats-officedocument.presentationml.tags+xml"/>
  <Override PartName="/ppt/notesSlides/notesSlide40.xml" ContentType="application/vnd.openxmlformats-officedocument.presentationml.notesSlide+xml"/>
  <Override PartName="/ppt/tags/tag30.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7" r:id="rId4"/>
    <p:sldMasterId id="2147484159" r:id="rId5"/>
    <p:sldMasterId id="2147484360" r:id="rId6"/>
  </p:sldMasterIdLst>
  <p:notesMasterIdLst>
    <p:notesMasterId r:id="rId59"/>
  </p:notesMasterIdLst>
  <p:handoutMasterIdLst>
    <p:handoutMasterId r:id="rId60"/>
  </p:handoutMasterIdLst>
  <p:sldIdLst>
    <p:sldId id="2147469660" r:id="rId7"/>
    <p:sldId id="2147469404" r:id="rId8"/>
    <p:sldId id="2147469757" r:id="rId9"/>
    <p:sldId id="2147469749" r:id="rId10"/>
    <p:sldId id="2147469232" r:id="rId11"/>
    <p:sldId id="2147469709" r:id="rId12"/>
    <p:sldId id="2147469266" r:id="rId13"/>
    <p:sldId id="2147469261" r:id="rId14"/>
    <p:sldId id="2147469679" r:id="rId15"/>
    <p:sldId id="2147469406" r:id="rId16"/>
    <p:sldId id="2147469761" r:id="rId17"/>
    <p:sldId id="2147469762" r:id="rId18"/>
    <p:sldId id="2147469763" r:id="rId19"/>
    <p:sldId id="2147469764" r:id="rId20"/>
    <p:sldId id="2147469713" r:id="rId21"/>
    <p:sldId id="2147469712" r:id="rId22"/>
    <p:sldId id="2147469662" r:id="rId23"/>
    <p:sldId id="2147469741" r:id="rId24"/>
    <p:sldId id="2147469742" r:id="rId25"/>
    <p:sldId id="2147469743" r:id="rId26"/>
    <p:sldId id="2147469760" r:id="rId27"/>
    <p:sldId id="2147469355" r:id="rId28"/>
    <p:sldId id="2147469627" r:id="rId29"/>
    <p:sldId id="2147469658" r:id="rId30"/>
    <p:sldId id="1842" r:id="rId31"/>
    <p:sldId id="2147469632" r:id="rId32"/>
    <p:sldId id="2147469765" r:id="rId33"/>
    <p:sldId id="2147469667" r:id="rId34"/>
    <p:sldId id="2147469683" r:id="rId35"/>
    <p:sldId id="2147469766" r:id="rId36"/>
    <p:sldId id="2147469767" r:id="rId37"/>
    <p:sldId id="2147469768" r:id="rId38"/>
    <p:sldId id="2147469769" r:id="rId39"/>
    <p:sldId id="2147469770" r:id="rId40"/>
    <p:sldId id="2147469668" r:id="rId41"/>
    <p:sldId id="2147469485" r:id="rId42"/>
    <p:sldId id="2147469395" r:id="rId43"/>
    <p:sldId id="2147469753" r:id="rId44"/>
    <p:sldId id="2147469754" r:id="rId45"/>
    <p:sldId id="2147469250" r:id="rId46"/>
    <p:sldId id="2147469771" r:id="rId47"/>
    <p:sldId id="2147469772" r:id="rId48"/>
    <p:sldId id="2147469773" r:id="rId49"/>
    <p:sldId id="2147469774" r:id="rId50"/>
    <p:sldId id="2147469669" r:id="rId51"/>
    <p:sldId id="2147469672" r:id="rId52"/>
    <p:sldId id="2147469736" r:id="rId53"/>
    <p:sldId id="2147469695" r:id="rId54"/>
    <p:sldId id="2147469353" r:id="rId55"/>
    <p:sldId id="2147469744" r:id="rId56"/>
    <p:sldId id="2147469351" r:id="rId57"/>
    <p:sldId id="2147469352" r:id="rId58"/>
  </p:sldIdLst>
  <p:sldSz cx="9144000" cy="5143500" type="screen16x9"/>
  <p:notesSz cx="7099300" cy="9385300"/>
  <p:custDataLst>
    <p:tags r:id="rId61"/>
  </p:custDataLst>
  <p:defaultTextStyle>
    <a:defPPr>
      <a:defRPr lang="en-US"/>
    </a:defPPr>
    <a:lvl1pPr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p:defaultTextStyle>
  <p:extLst>
    <p:ext uri="{521415D9-36F7-43E2-AB2F-B90AF26B5E84}">
      <p14:sectionLst xmlns:p14="http://schemas.microsoft.com/office/powerpoint/2010/main">
        <p14:section name="Default Section" id="{D84044EF-4DB7-45F4-98CB-AF77E6FDB31A}">
          <p14:sldIdLst>
            <p14:sldId id="2147469660"/>
            <p14:sldId id="2147469404"/>
            <p14:sldId id="2147469757"/>
            <p14:sldId id="2147469749"/>
            <p14:sldId id="2147469232"/>
            <p14:sldId id="2147469709"/>
            <p14:sldId id="2147469266"/>
            <p14:sldId id="2147469261"/>
            <p14:sldId id="2147469679"/>
            <p14:sldId id="2147469406"/>
            <p14:sldId id="2147469761"/>
            <p14:sldId id="2147469762"/>
            <p14:sldId id="2147469763"/>
            <p14:sldId id="2147469764"/>
            <p14:sldId id="2147469713"/>
            <p14:sldId id="2147469712"/>
            <p14:sldId id="2147469662"/>
            <p14:sldId id="2147469741"/>
            <p14:sldId id="2147469742"/>
            <p14:sldId id="2147469743"/>
            <p14:sldId id="2147469760"/>
            <p14:sldId id="2147469355"/>
            <p14:sldId id="2147469627"/>
            <p14:sldId id="2147469658"/>
            <p14:sldId id="1842"/>
            <p14:sldId id="2147469632"/>
            <p14:sldId id="2147469765"/>
            <p14:sldId id="2147469667"/>
            <p14:sldId id="2147469683"/>
            <p14:sldId id="2147469766"/>
            <p14:sldId id="2147469767"/>
            <p14:sldId id="2147469768"/>
            <p14:sldId id="2147469769"/>
            <p14:sldId id="2147469770"/>
            <p14:sldId id="2147469668"/>
            <p14:sldId id="2147469485"/>
            <p14:sldId id="2147469395"/>
            <p14:sldId id="2147469753"/>
            <p14:sldId id="2147469754"/>
            <p14:sldId id="2147469250"/>
            <p14:sldId id="2147469771"/>
            <p14:sldId id="2147469772"/>
            <p14:sldId id="2147469773"/>
            <p14:sldId id="2147469774"/>
            <p14:sldId id="2147469669"/>
            <p14:sldId id="2147469672"/>
            <p14:sldId id="2147469736"/>
            <p14:sldId id="2147469695"/>
            <p14:sldId id="2147469353"/>
            <p14:sldId id="2147469744"/>
            <p14:sldId id="2147469351"/>
            <p14:sldId id="2147469352"/>
          </p14:sldIdLst>
        </p14:section>
      </p14:sectionLst>
    </p:ext>
    <p:ext uri="{EFAFB233-063F-42B5-8137-9DF3F51BA10A}">
      <p15:sldGuideLst xmlns:p15="http://schemas.microsoft.com/office/powerpoint/2012/main">
        <p15:guide id="4" pos="3192" userDrawn="1">
          <p15:clr>
            <a:srgbClr val="A4A3A4"/>
          </p15:clr>
        </p15:guide>
        <p15:guide id="8" orient="horz" pos="252" userDrawn="1">
          <p15:clr>
            <a:srgbClr val="A4A3A4"/>
          </p15:clr>
        </p15:guide>
        <p15:guide id="9" orient="horz" pos="73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5AE2C45-651A-1CA8-FD5B-06777829F863}" name="Kevin Hanegan" initials="KH" userId="90187aba2f17ff4b"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drey merritt" initials="am [19]" lastIdx="1" clrIdx="0"/>
  <p:cmAuthor id="2" name="Jennifer Walker" initials="JW [5]" lastIdx="1" clrIdx="1"/>
  <p:cmAuthor id="3" name="audrey merritt" initials="am [2]" lastIdx="1" clrIdx="2"/>
  <p:cmAuthor id="4" name="audrey merritt" initials="am [4]" lastIdx="1" clrIdx="3"/>
  <p:cmAuthor id="5" name="audrey merritt" initials="am [3]" lastIdx="1" clrIdx="4"/>
  <p:cmAuthor id="6" name="Microsoft Office User" initials="Office" lastIdx="1" clrIdx="5"/>
  <p:cmAuthor id="7" name="Microsoft Office User" initials="Office [2]" lastIdx="1" clrIdx="6"/>
  <p:cmAuthor id="8" name="Microsoft Office User" initials="Office [3]" lastIdx="1" clrIdx="7"/>
  <p:cmAuthor id="9" name="audrey merritt" initials="am" lastIdx="1" clrIdx="8"/>
  <p:cmAuthor id="10" name="audrey merritt" initials="am [5]" lastIdx="1" clrIdx="9"/>
  <p:cmAuthor id="11" name="audrey merritt" initials="am [6]" lastIdx="1" clrIdx="10"/>
  <p:cmAuthor id="12" name="audrey merritt" initials="am [7]" lastIdx="1" clrIdx="11"/>
  <p:cmAuthor id="13" name="audrey merritt" initials="am [8]" lastIdx="1" clrIdx="12"/>
  <p:cmAuthor id="14" name="audrey merritt" initials="am [9]" lastIdx="1" clrIdx="13"/>
  <p:cmAuthor id="15" name="audrey merritt" initials="am [10]" lastIdx="1" clrIdx="14"/>
  <p:cmAuthor id="16" name="audrey merritt" initials="am [11]" lastIdx="1" clrIdx="15"/>
  <p:cmAuthor id="17" name="audrey merritt" initials="am [12]" lastIdx="1" clrIdx="16"/>
  <p:cmAuthor id="18" name="audrey merritt" initials="am [13]" lastIdx="1" clrIdx="17"/>
  <p:cmAuthor id="19" name="audrey merritt" initials="am [14]" lastIdx="1" clrIdx="1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7999D"/>
    <a:srgbClr val="1C345E"/>
    <a:srgbClr val="152746"/>
    <a:srgbClr val="4C79CA"/>
    <a:srgbClr val="0070C0"/>
    <a:srgbClr val="142644"/>
    <a:srgbClr val="FFFFFF"/>
    <a:srgbClr val="0874B5"/>
    <a:srgbClr val="006580"/>
    <a:srgbClr val="005CB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382" autoAdjust="0"/>
    <p:restoredTop sz="95499" autoAdjust="0"/>
  </p:normalViewPr>
  <p:slideViewPr>
    <p:cSldViewPr snapToGrid="0" showGuides="1">
      <p:cViewPr varScale="1">
        <p:scale>
          <a:sx n="102" d="100"/>
          <a:sy n="102" d="100"/>
        </p:scale>
        <p:origin x="872" y="288"/>
      </p:cViewPr>
      <p:guideLst>
        <p:guide pos="3192"/>
        <p:guide orient="horz" pos="252"/>
        <p:guide orient="horz" pos="732"/>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tags" Target="tags/tag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notesMaster" Target="notesMasters/notesMaster1.xml"/><Relationship Id="rId67" Type="http://schemas.microsoft.com/office/2018/10/relationships/authors" Target="author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handoutMaster" Target="handoutMasters/handoutMaster1.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469265"/>
          </a:xfrm>
          <a:prstGeom prst="rect">
            <a:avLst/>
          </a:prstGeom>
        </p:spPr>
        <p:txBody>
          <a:bodyPr vert="horz" lIns="94192" tIns="47096" rIns="94192" bIns="47096" rtlCol="0"/>
          <a:lstStyle>
            <a:lvl1pPr algn="l" fontAlgn="auto">
              <a:spcBef>
                <a:spcPts val="0"/>
              </a:spcBef>
              <a:spcAft>
                <a:spcPts val="0"/>
              </a:spcAft>
              <a:defRPr sz="1200">
                <a:latin typeface="+mn-lt"/>
                <a:ea typeface="+mn-ea"/>
                <a:cs typeface="+mn-cs"/>
              </a:defRPr>
            </a:lvl1pPr>
          </a:lstStyle>
          <a:p>
            <a:pPr>
              <a:defRPr/>
            </a:pPr>
            <a:endParaRPr lang="en-US">
              <a:latin typeface="Arial" charset="0"/>
            </a:endParaRPr>
          </a:p>
        </p:txBody>
      </p:sp>
      <p:sp>
        <p:nvSpPr>
          <p:cNvPr id="3" name="Date Placeholder 2"/>
          <p:cNvSpPr>
            <a:spLocks noGrp="1"/>
          </p:cNvSpPr>
          <p:nvPr>
            <p:ph type="dt" sz="quarter" idx="1"/>
          </p:nvPr>
        </p:nvSpPr>
        <p:spPr>
          <a:xfrm>
            <a:off x="4021294" y="0"/>
            <a:ext cx="3076363" cy="469265"/>
          </a:xfrm>
          <a:prstGeom prst="rect">
            <a:avLst/>
          </a:prstGeom>
        </p:spPr>
        <p:txBody>
          <a:bodyPr vert="horz" lIns="94192" tIns="47096" rIns="94192" bIns="47096" rtlCol="0"/>
          <a:lstStyle>
            <a:lvl1pPr algn="r" fontAlgn="auto">
              <a:spcBef>
                <a:spcPts val="0"/>
              </a:spcBef>
              <a:spcAft>
                <a:spcPts val="0"/>
              </a:spcAft>
              <a:defRPr sz="1200" smtClean="0">
                <a:latin typeface="+mn-lt"/>
                <a:ea typeface="+mn-ea"/>
                <a:cs typeface="+mn-cs"/>
              </a:defRPr>
            </a:lvl1pPr>
          </a:lstStyle>
          <a:p>
            <a:pPr>
              <a:defRPr/>
            </a:pPr>
            <a:fld id="{5156F37A-5299-B146-820E-E905BFE8A4C7}" type="datetimeFigureOut">
              <a:rPr lang="en-US">
                <a:latin typeface="Arial" charset="0"/>
              </a:rPr>
              <a:pPr>
                <a:defRPr/>
              </a:pPr>
              <a:t>1/31/2025</a:t>
            </a:fld>
            <a:endParaRPr lang="en-US">
              <a:latin typeface="Arial" charset="0"/>
            </a:endParaRPr>
          </a:p>
        </p:txBody>
      </p:sp>
      <p:sp>
        <p:nvSpPr>
          <p:cNvPr id="4" name="Footer Placeholder 3"/>
          <p:cNvSpPr>
            <a:spLocks noGrp="1"/>
          </p:cNvSpPr>
          <p:nvPr>
            <p:ph type="ftr" sz="quarter" idx="2"/>
          </p:nvPr>
        </p:nvSpPr>
        <p:spPr>
          <a:xfrm>
            <a:off x="0" y="8914406"/>
            <a:ext cx="3076363" cy="469265"/>
          </a:xfrm>
          <a:prstGeom prst="rect">
            <a:avLst/>
          </a:prstGeom>
        </p:spPr>
        <p:txBody>
          <a:bodyPr vert="horz" lIns="94192" tIns="47096" rIns="94192" bIns="47096" rtlCol="0" anchor="b"/>
          <a:lstStyle>
            <a:lvl1pPr algn="l" fontAlgn="auto">
              <a:spcBef>
                <a:spcPts val="0"/>
              </a:spcBef>
              <a:spcAft>
                <a:spcPts val="0"/>
              </a:spcAft>
              <a:defRPr sz="1200">
                <a:latin typeface="+mn-lt"/>
                <a:ea typeface="+mn-ea"/>
                <a:cs typeface="+mn-cs"/>
              </a:defRPr>
            </a:lvl1pPr>
          </a:lstStyle>
          <a:p>
            <a:pPr>
              <a:defRPr/>
            </a:pPr>
            <a:endParaRPr lang="en-US">
              <a:latin typeface="Arial" charset="0"/>
            </a:endParaRPr>
          </a:p>
        </p:txBody>
      </p:sp>
      <p:sp>
        <p:nvSpPr>
          <p:cNvPr id="5" name="Slide Number Placeholder 4"/>
          <p:cNvSpPr>
            <a:spLocks noGrp="1"/>
          </p:cNvSpPr>
          <p:nvPr>
            <p:ph type="sldNum" sz="quarter" idx="3"/>
          </p:nvPr>
        </p:nvSpPr>
        <p:spPr>
          <a:xfrm>
            <a:off x="4021294" y="8914406"/>
            <a:ext cx="3076363" cy="469265"/>
          </a:xfrm>
          <a:prstGeom prst="rect">
            <a:avLst/>
          </a:prstGeom>
        </p:spPr>
        <p:txBody>
          <a:bodyPr vert="horz" lIns="94192" tIns="47096" rIns="94192" bIns="47096" rtlCol="0" anchor="b"/>
          <a:lstStyle>
            <a:lvl1pPr algn="r" fontAlgn="auto">
              <a:spcBef>
                <a:spcPts val="0"/>
              </a:spcBef>
              <a:spcAft>
                <a:spcPts val="0"/>
              </a:spcAft>
              <a:defRPr sz="1200" smtClean="0">
                <a:latin typeface="+mn-lt"/>
                <a:ea typeface="+mn-ea"/>
                <a:cs typeface="+mn-cs"/>
              </a:defRPr>
            </a:lvl1pPr>
          </a:lstStyle>
          <a:p>
            <a:pPr>
              <a:defRPr/>
            </a:pPr>
            <a:fld id="{E0CA24F0-D53C-F040-AF3D-D9BB0FB00B2F}" type="slidenum">
              <a:rPr lang="en-US">
                <a:latin typeface="Arial" charset="0"/>
              </a:rPr>
              <a:pPr>
                <a:defRPr/>
              </a:pPr>
              <a:t>‹#›</a:t>
            </a:fld>
            <a:endParaRPr lang="en-US">
              <a:latin typeface="Arial" charset="0"/>
            </a:endParaRPr>
          </a:p>
        </p:txBody>
      </p:sp>
    </p:spTree>
    <p:extLst>
      <p:ext uri="{BB962C8B-B14F-4D97-AF65-F5344CB8AC3E}">
        <p14:creationId xmlns:p14="http://schemas.microsoft.com/office/powerpoint/2010/main" val="354166167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469265"/>
          </a:xfrm>
          <a:prstGeom prst="rect">
            <a:avLst/>
          </a:prstGeom>
        </p:spPr>
        <p:txBody>
          <a:bodyPr vert="horz" lIns="94192" tIns="47096" rIns="94192" bIns="47096" rtlCol="0"/>
          <a:lstStyle>
            <a:lvl1pPr algn="l" fontAlgn="auto">
              <a:spcBef>
                <a:spcPts val="0"/>
              </a:spcBef>
              <a:spcAft>
                <a:spcPts val="0"/>
              </a:spcAft>
              <a:defRPr sz="1200" b="0" i="0" dirty="0">
                <a:latin typeface="Arial" charset="0"/>
                <a:ea typeface="+mn-ea"/>
                <a:cs typeface="+mn-cs"/>
              </a:defRPr>
            </a:lvl1pPr>
          </a:lstStyle>
          <a:p>
            <a:pPr>
              <a:defRPr/>
            </a:pPr>
            <a:endParaRPr lang="en-US"/>
          </a:p>
        </p:txBody>
      </p:sp>
      <p:sp>
        <p:nvSpPr>
          <p:cNvPr id="3" name="Date Placeholder 2"/>
          <p:cNvSpPr>
            <a:spLocks noGrp="1"/>
          </p:cNvSpPr>
          <p:nvPr>
            <p:ph type="dt" idx="1"/>
          </p:nvPr>
        </p:nvSpPr>
        <p:spPr>
          <a:xfrm>
            <a:off x="4021294" y="0"/>
            <a:ext cx="3076363" cy="469265"/>
          </a:xfrm>
          <a:prstGeom prst="rect">
            <a:avLst/>
          </a:prstGeom>
        </p:spPr>
        <p:txBody>
          <a:bodyPr vert="horz" lIns="94192" tIns="47096" rIns="94192" bIns="47096" rtlCol="0"/>
          <a:lstStyle>
            <a:lvl1pPr algn="r" fontAlgn="auto">
              <a:spcBef>
                <a:spcPts val="0"/>
              </a:spcBef>
              <a:spcAft>
                <a:spcPts val="0"/>
              </a:spcAft>
              <a:defRPr sz="1200" b="0" i="0" smtClean="0">
                <a:latin typeface="Arial" charset="0"/>
                <a:ea typeface="+mn-ea"/>
                <a:cs typeface="+mn-cs"/>
              </a:defRPr>
            </a:lvl1pPr>
          </a:lstStyle>
          <a:p>
            <a:pPr>
              <a:defRPr/>
            </a:pPr>
            <a:fld id="{A1DBAE35-58FC-F24B-846F-40C6D59E1492}" type="datetimeFigureOut">
              <a:rPr lang="en-US" smtClean="0"/>
              <a:pPr>
                <a:defRPr/>
              </a:pPr>
              <a:t>1/31/2025</a:t>
            </a:fld>
            <a:endParaRPr lang="en-US"/>
          </a:p>
        </p:txBody>
      </p:sp>
      <p:sp>
        <p:nvSpPr>
          <p:cNvPr id="4" name="Slide Image Placeholder 3"/>
          <p:cNvSpPr>
            <a:spLocks noGrp="1" noRot="1" noChangeAspect="1"/>
          </p:cNvSpPr>
          <p:nvPr>
            <p:ph type="sldImg" idx="2"/>
          </p:nvPr>
        </p:nvSpPr>
        <p:spPr>
          <a:xfrm>
            <a:off x="420688" y="703263"/>
            <a:ext cx="6257925" cy="3519487"/>
          </a:xfrm>
          <a:prstGeom prst="rect">
            <a:avLst/>
          </a:prstGeom>
          <a:noFill/>
          <a:ln w="12700">
            <a:solidFill>
              <a:prstClr val="black"/>
            </a:solidFill>
          </a:ln>
        </p:spPr>
        <p:txBody>
          <a:bodyPr vert="horz" lIns="94192" tIns="47096" rIns="94192" bIns="47096" rtlCol="0" anchor="ctr"/>
          <a:lstStyle/>
          <a:p>
            <a:pPr lvl="0"/>
            <a:endParaRPr lang="en-US" noProof="0"/>
          </a:p>
        </p:txBody>
      </p:sp>
      <p:sp>
        <p:nvSpPr>
          <p:cNvPr id="5" name="Notes Placeholder 4"/>
          <p:cNvSpPr>
            <a:spLocks noGrp="1"/>
          </p:cNvSpPr>
          <p:nvPr>
            <p:ph type="body" sz="quarter" idx="3"/>
          </p:nvPr>
        </p:nvSpPr>
        <p:spPr>
          <a:xfrm>
            <a:off x="709930" y="4458018"/>
            <a:ext cx="5679440" cy="4223385"/>
          </a:xfrm>
          <a:prstGeom prst="rect">
            <a:avLst/>
          </a:prstGeom>
        </p:spPr>
        <p:txBody>
          <a:bodyPr vert="horz" lIns="94192" tIns="47096" rIns="94192" bIns="47096" rtlCol="0"/>
          <a:lstStyle/>
          <a:p>
            <a:pPr lvl="0"/>
            <a:r>
              <a:rPr lang="fr-FR" noProof="0"/>
              <a:t>Click to </a:t>
            </a:r>
            <a:r>
              <a:rPr lang="fr-FR" noProof="0" err="1"/>
              <a:t>edit</a:t>
            </a:r>
            <a:r>
              <a:rPr lang="fr-FR" noProof="0"/>
              <a:t> Master </a:t>
            </a:r>
            <a:r>
              <a:rPr lang="fr-FR" noProof="0" err="1"/>
              <a:t>text</a:t>
            </a:r>
            <a:r>
              <a:rPr lang="fr-FR" noProof="0"/>
              <a:t> styles</a:t>
            </a:r>
          </a:p>
          <a:p>
            <a:pPr lvl="1"/>
            <a:r>
              <a:rPr lang="fr-FR" noProof="0"/>
              <a:t>Second </a:t>
            </a:r>
            <a:r>
              <a:rPr lang="fr-FR" noProof="0" err="1"/>
              <a:t>level</a:t>
            </a:r>
            <a:endParaRPr lang="fr-FR" noProof="0"/>
          </a:p>
          <a:p>
            <a:pPr lvl="2"/>
            <a:r>
              <a:rPr lang="fr-FR" noProof="0" err="1"/>
              <a:t>Third</a:t>
            </a:r>
            <a:r>
              <a:rPr lang="fr-FR" noProof="0"/>
              <a:t> </a:t>
            </a:r>
            <a:r>
              <a:rPr lang="fr-FR" noProof="0" err="1"/>
              <a:t>level</a:t>
            </a:r>
            <a:endParaRPr lang="fr-FR" noProof="0"/>
          </a:p>
          <a:p>
            <a:pPr lvl="3"/>
            <a:r>
              <a:rPr lang="fr-FR" noProof="0" err="1"/>
              <a:t>Fourth</a:t>
            </a:r>
            <a:r>
              <a:rPr lang="fr-FR" noProof="0"/>
              <a:t> </a:t>
            </a:r>
            <a:r>
              <a:rPr lang="fr-FR" noProof="0" err="1"/>
              <a:t>level</a:t>
            </a:r>
            <a:endParaRPr lang="fr-FR" noProof="0"/>
          </a:p>
          <a:p>
            <a:pPr lvl="4"/>
            <a:r>
              <a:rPr lang="fr-FR" noProof="0" err="1"/>
              <a:t>Fifth</a:t>
            </a:r>
            <a:r>
              <a:rPr lang="fr-FR" noProof="0"/>
              <a:t> </a:t>
            </a:r>
            <a:r>
              <a:rPr lang="fr-FR" noProof="0" err="1"/>
              <a:t>level</a:t>
            </a:r>
            <a:endParaRPr lang="en-US" noProof="0"/>
          </a:p>
        </p:txBody>
      </p:sp>
      <p:sp>
        <p:nvSpPr>
          <p:cNvPr id="6" name="Footer Placeholder 5"/>
          <p:cNvSpPr>
            <a:spLocks noGrp="1"/>
          </p:cNvSpPr>
          <p:nvPr>
            <p:ph type="ftr" sz="quarter" idx="4"/>
          </p:nvPr>
        </p:nvSpPr>
        <p:spPr>
          <a:xfrm>
            <a:off x="0" y="8914406"/>
            <a:ext cx="3076363" cy="469265"/>
          </a:xfrm>
          <a:prstGeom prst="rect">
            <a:avLst/>
          </a:prstGeom>
        </p:spPr>
        <p:txBody>
          <a:bodyPr vert="horz" lIns="94192" tIns="47096" rIns="94192" bIns="47096" rtlCol="0" anchor="b"/>
          <a:lstStyle>
            <a:lvl1pPr algn="l" fontAlgn="auto">
              <a:spcBef>
                <a:spcPts val="0"/>
              </a:spcBef>
              <a:spcAft>
                <a:spcPts val="0"/>
              </a:spcAft>
              <a:defRPr sz="1200" b="0" i="0" dirty="0">
                <a:latin typeface="Arial" charset="0"/>
                <a:ea typeface="+mn-ea"/>
                <a:cs typeface="+mn-cs"/>
              </a:defRPr>
            </a:lvl1pPr>
          </a:lstStyle>
          <a:p>
            <a:pPr>
              <a:defRPr/>
            </a:pPr>
            <a:endParaRPr lang="en-US"/>
          </a:p>
        </p:txBody>
      </p:sp>
      <p:sp>
        <p:nvSpPr>
          <p:cNvPr id="7" name="Slide Number Placeholder 6"/>
          <p:cNvSpPr>
            <a:spLocks noGrp="1"/>
          </p:cNvSpPr>
          <p:nvPr>
            <p:ph type="sldNum" sz="quarter" idx="5"/>
          </p:nvPr>
        </p:nvSpPr>
        <p:spPr>
          <a:xfrm>
            <a:off x="4021294" y="8914406"/>
            <a:ext cx="3076363" cy="469265"/>
          </a:xfrm>
          <a:prstGeom prst="rect">
            <a:avLst/>
          </a:prstGeom>
        </p:spPr>
        <p:txBody>
          <a:bodyPr vert="horz" lIns="94192" tIns="47096" rIns="94192" bIns="47096" rtlCol="0" anchor="b"/>
          <a:lstStyle>
            <a:lvl1pPr algn="r" fontAlgn="auto">
              <a:spcBef>
                <a:spcPts val="0"/>
              </a:spcBef>
              <a:spcAft>
                <a:spcPts val="0"/>
              </a:spcAft>
              <a:defRPr sz="1200" b="0" i="0" smtClean="0">
                <a:latin typeface="Arial" charset="0"/>
                <a:ea typeface="+mn-ea"/>
                <a:cs typeface="+mn-cs"/>
              </a:defRPr>
            </a:lvl1pPr>
          </a:lstStyle>
          <a:p>
            <a:pPr>
              <a:defRPr/>
            </a:pPr>
            <a:fld id="{30376BD1-2E4C-7E4B-BB5B-B253D71D6D7F}" type="slidenum">
              <a:rPr lang="en-US" smtClean="0"/>
              <a:pPr>
                <a:defRPr/>
              </a:pPr>
              <a:t>‹#›</a:t>
            </a:fld>
            <a:endParaRPr lang="en-US"/>
          </a:p>
        </p:txBody>
      </p:sp>
    </p:spTree>
    <p:extLst>
      <p:ext uri="{BB962C8B-B14F-4D97-AF65-F5344CB8AC3E}">
        <p14:creationId xmlns:p14="http://schemas.microsoft.com/office/powerpoint/2010/main" val="2748766655"/>
      </p:ext>
    </p:extLst>
  </p:cSld>
  <p:clrMap bg1="lt1" tx1="dk1" bg2="lt2" tx2="dk2" accent1="accent1" accent2="accent2" accent3="accent3" accent4="accent4" accent5="accent5" accent6="accent6" hlink="hlink" folHlink="folHlink"/>
  <p:hf hdr="0" ftr="0" dt="0"/>
  <p:notesStyle>
    <a:lvl1pPr algn="l" defTabSz="457200" rtl="0" fontAlgn="base">
      <a:spcBef>
        <a:spcPct val="30000"/>
      </a:spcBef>
      <a:spcAft>
        <a:spcPct val="0"/>
      </a:spcAft>
      <a:defRPr sz="1200" b="0" i="0" kern="1200">
        <a:solidFill>
          <a:schemeClr val="tx1"/>
        </a:solidFill>
        <a:latin typeface="Arial" charset="0"/>
        <a:ea typeface="Arial" charset="0"/>
        <a:cs typeface="Arial" charset="0"/>
      </a:defRPr>
    </a:lvl1pPr>
    <a:lvl2pPr marL="457200" algn="l" defTabSz="457200" rtl="0" fontAlgn="base">
      <a:spcBef>
        <a:spcPct val="30000"/>
      </a:spcBef>
      <a:spcAft>
        <a:spcPct val="0"/>
      </a:spcAft>
      <a:defRPr sz="1200" b="0" i="0" kern="1200">
        <a:solidFill>
          <a:schemeClr val="tx1"/>
        </a:solidFill>
        <a:latin typeface="Arial" charset="0"/>
        <a:ea typeface="Arial" charset="0"/>
        <a:cs typeface="+mn-cs"/>
      </a:defRPr>
    </a:lvl2pPr>
    <a:lvl3pPr marL="914400" algn="l" defTabSz="457200" rtl="0" fontAlgn="base">
      <a:spcBef>
        <a:spcPct val="30000"/>
      </a:spcBef>
      <a:spcAft>
        <a:spcPct val="0"/>
      </a:spcAft>
      <a:defRPr sz="1200" b="0" i="0" kern="1200">
        <a:solidFill>
          <a:schemeClr val="tx1"/>
        </a:solidFill>
        <a:latin typeface="Arial" charset="0"/>
        <a:ea typeface="Arial" charset="0"/>
        <a:cs typeface="+mn-cs"/>
      </a:defRPr>
    </a:lvl3pPr>
    <a:lvl4pPr marL="1371600" algn="l" defTabSz="457200" rtl="0" fontAlgn="base">
      <a:spcBef>
        <a:spcPct val="30000"/>
      </a:spcBef>
      <a:spcAft>
        <a:spcPct val="0"/>
      </a:spcAft>
      <a:defRPr sz="1200" b="0" i="0" kern="1200">
        <a:solidFill>
          <a:schemeClr val="tx1"/>
        </a:solidFill>
        <a:latin typeface="Arial" charset="0"/>
        <a:ea typeface="Arial" charset="0"/>
        <a:cs typeface="+mn-cs"/>
      </a:defRPr>
    </a:lvl4pPr>
    <a:lvl5pPr marL="1828800" algn="l" defTabSz="457200" rtl="0" fontAlgn="base">
      <a:spcBef>
        <a:spcPct val="30000"/>
      </a:spcBef>
      <a:spcAft>
        <a:spcPct val="0"/>
      </a:spcAft>
      <a:defRPr sz="1200" b="0" i="0" kern="1200">
        <a:solidFill>
          <a:schemeClr val="tx1"/>
        </a:solidFill>
        <a:latin typeface="Arial" charset="0"/>
        <a:ea typeface="Arial"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470962">
              <a:defRPr/>
            </a:pPr>
            <a:fld id="{30376BD1-2E4C-7E4B-BB5B-B253D71D6D7F}" type="slidenum">
              <a:rPr lang="en-US">
                <a:solidFill>
                  <a:prstClr val="black"/>
                </a:solidFill>
              </a:rPr>
              <a:pPr defTabSz="470962">
                <a:defRPr/>
              </a:pPr>
              <a:t>1</a:t>
            </a:fld>
            <a:endParaRPr lang="en-US">
              <a:solidFill>
                <a:prstClr val="black"/>
              </a:solidFill>
            </a:endParaRPr>
          </a:p>
        </p:txBody>
      </p:sp>
    </p:spTree>
    <p:extLst>
      <p:ext uri="{BB962C8B-B14F-4D97-AF65-F5344CB8AC3E}">
        <p14:creationId xmlns:p14="http://schemas.microsoft.com/office/powerpoint/2010/main" val="15057328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F438A2-2465-073B-4B91-BA46245B94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16957F-1D84-FECB-9CBE-394D705549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A6DBA3-F23E-44A8-4F15-508B2A1F2F34}"/>
              </a:ext>
            </a:extLst>
          </p:cNvPr>
          <p:cNvSpPr>
            <a:spLocks noGrp="1"/>
          </p:cNvSpPr>
          <p:nvPr>
            <p:ph type="body" idx="1"/>
          </p:nvPr>
        </p:nvSpPr>
        <p:spPr/>
        <p:txBody>
          <a:bodyPr/>
          <a:lstStyle/>
          <a:p>
            <a:endParaRPr lang="en-US" b="0"/>
          </a:p>
        </p:txBody>
      </p:sp>
      <p:sp>
        <p:nvSpPr>
          <p:cNvPr id="4" name="Slide Number Placeholder 3">
            <a:extLst>
              <a:ext uri="{FF2B5EF4-FFF2-40B4-BE49-F238E27FC236}">
                <a16:creationId xmlns:a16="http://schemas.microsoft.com/office/drawing/2014/main" id="{05CA85F2-70A0-0D35-7C28-D29A1DF1061A}"/>
              </a:ext>
            </a:extLst>
          </p:cNvPr>
          <p:cNvSpPr>
            <a:spLocks noGrp="1"/>
          </p:cNvSpPr>
          <p:nvPr>
            <p:ph type="sldNum" sz="quarter" idx="5"/>
          </p:nvPr>
        </p:nvSpPr>
        <p:spPr/>
        <p:txBody>
          <a:bodyPr/>
          <a:lstStyle/>
          <a:p>
            <a:pPr defTabSz="470962">
              <a:defRPr/>
            </a:pPr>
            <a:fld id="{9B12E8BE-4BBE-8A43-8656-E20BBFF5E8C9}" type="slidenum">
              <a:rPr lang="en-US">
                <a:solidFill>
                  <a:prstClr val="black"/>
                </a:solidFill>
              </a:rPr>
              <a:pPr defTabSz="470962">
                <a:defRPr/>
              </a:pPr>
              <a:t>12</a:t>
            </a:fld>
            <a:endParaRPr lang="en-US">
              <a:solidFill>
                <a:prstClr val="black"/>
              </a:solidFill>
            </a:endParaRPr>
          </a:p>
        </p:txBody>
      </p:sp>
    </p:spTree>
    <p:extLst>
      <p:ext uri="{BB962C8B-B14F-4D97-AF65-F5344CB8AC3E}">
        <p14:creationId xmlns:p14="http://schemas.microsoft.com/office/powerpoint/2010/main" val="25038268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CE6CAC-F137-51E5-C93B-05FCB63BEA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47E048-014B-0CED-49D0-D12F2DC093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8C9EBF-6587-795B-3D4A-F3206B2B51AC}"/>
              </a:ext>
            </a:extLst>
          </p:cNvPr>
          <p:cNvSpPr>
            <a:spLocks noGrp="1"/>
          </p:cNvSpPr>
          <p:nvPr>
            <p:ph type="body" idx="1"/>
          </p:nvPr>
        </p:nvSpPr>
        <p:spPr/>
        <p:txBody>
          <a:bodyPr/>
          <a:lstStyle/>
          <a:p>
            <a:endParaRPr lang="en-US" b="0"/>
          </a:p>
        </p:txBody>
      </p:sp>
      <p:sp>
        <p:nvSpPr>
          <p:cNvPr id="4" name="Slide Number Placeholder 3">
            <a:extLst>
              <a:ext uri="{FF2B5EF4-FFF2-40B4-BE49-F238E27FC236}">
                <a16:creationId xmlns:a16="http://schemas.microsoft.com/office/drawing/2014/main" id="{089B247E-9D56-D715-A9E8-426B6CBA50F4}"/>
              </a:ext>
            </a:extLst>
          </p:cNvPr>
          <p:cNvSpPr>
            <a:spLocks noGrp="1"/>
          </p:cNvSpPr>
          <p:nvPr>
            <p:ph type="sldNum" sz="quarter" idx="5"/>
          </p:nvPr>
        </p:nvSpPr>
        <p:spPr/>
        <p:txBody>
          <a:bodyPr/>
          <a:lstStyle/>
          <a:p>
            <a:pPr defTabSz="470962">
              <a:defRPr/>
            </a:pPr>
            <a:fld id="{9B12E8BE-4BBE-8A43-8656-E20BBFF5E8C9}" type="slidenum">
              <a:rPr lang="en-US">
                <a:solidFill>
                  <a:prstClr val="black"/>
                </a:solidFill>
              </a:rPr>
              <a:pPr defTabSz="470962">
                <a:defRPr/>
              </a:pPr>
              <a:t>13</a:t>
            </a:fld>
            <a:endParaRPr lang="en-US">
              <a:solidFill>
                <a:prstClr val="black"/>
              </a:solidFill>
            </a:endParaRPr>
          </a:p>
        </p:txBody>
      </p:sp>
    </p:spTree>
    <p:extLst>
      <p:ext uri="{BB962C8B-B14F-4D97-AF65-F5344CB8AC3E}">
        <p14:creationId xmlns:p14="http://schemas.microsoft.com/office/powerpoint/2010/main" val="9143079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D298E9-6B62-FAC2-E3EE-F60DDAD718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B01E8E-99F8-B9DD-DDCA-8964B58770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E97645-2167-5494-135C-947B298BD40C}"/>
              </a:ext>
            </a:extLst>
          </p:cNvPr>
          <p:cNvSpPr>
            <a:spLocks noGrp="1"/>
          </p:cNvSpPr>
          <p:nvPr>
            <p:ph type="body" idx="1"/>
          </p:nvPr>
        </p:nvSpPr>
        <p:spPr/>
        <p:txBody>
          <a:bodyPr/>
          <a:lstStyle/>
          <a:p>
            <a:endParaRPr lang="en-US" b="0"/>
          </a:p>
        </p:txBody>
      </p:sp>
      <p:sp>
        <p:nvSpPr>
          <p:cNvPr id="4" name="Slide Number Placeholder 3">
            <a:extLst>
              <a:ext uri="{FF2B5EF4-FFF2-40B4-BE49-F238E27FC236}">
                <a16:creationId xmlns:a16="http://schemas.microsoft.com/office/drawing/2014/main" id="{C61F3CCB-71E4-231D-8E21-CDF30795ED75}"/>
              </a:ext>
            </a:extLst>
          </p:cNvPr>
          <p:cNvSpPr>
            <a:spLocks noGrp="1"/>
          </p:cNvSpPr>
          <p:nvPr>
            <p:ph type="sldNum" sz="quarter" idx="5"/>
          </p:nvPr>
        </p:nvSpPr>
        <p:spPr/>
        <p:txBody>
          <a:bodyPr/>
          <a:lstStyle/>
          <a:p>
            <a:pPr defTabSz="470962">
              <a:defRPr/>
            </a:pPr>
            <a:fld id="{9B12E8BE-4BBE-8A43-8656-E20BBFF5E8C9}" type="slidenum">
              <a:rPr lang="en-US">
                <a:solidFill>
                  <a:prstClr val="black"/>
                </a:solidFill>
              </a:rPr>
              <a:pPr defTabSz="470962">
                <a:defRPr/>
              </a:pPr>
              <a:t>14</a:t>
            </a:fld>
            <a:endParaRPr lang="en-US">
              <a:solidFill>
                <a:prstClr val="black"/>
              </a:solidFill>
            </a:endParaRPr>
          </a:p>
        </p:txBody>
      </p:sp>
    </p:spTree>
    <p:extLst>
      <p:ext uri="{BB962C8B-B14F-4D97-AF65-F5344CB8AC3E}">
        <p14:creationId xmlns:p14="http://schemas.microsoft.com/office/powerpoint/2010/main" val="26366316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470962">
              <a:defRPr/>
            </a:pPr>
            <a:fld id="{30376BD1-2E4C-7E4B-BB5B-B253D71D6D7F}" type="slidenum">
              <a:rPr lang="en-US">
                <a:solidFill>
                  <a:prstClr val="black"/>
                </a:solidFill>
              </a:rPr>
              <a:pPr defTabSz="470962">
                <a:defRPr/>
              </a:pPr>
              <a:t>15</a:t>
            </a:fld>
            <a:endParaRPr lang="en-US">
              <a:solidFill>
                <a:prstClr val="black"/>
              </a:solidFill>
            </a:endParaRPr>
          </a:p>
        </p:txBody>
      </p:sp>
    </p:spTree>
    <p:extLst>
      <p:ext uri="{BB962C8B-B14F-4D97-AF65-F5344CB8AC3E}">
        <p14:creationId xmlns:p14="http://schemas.microsoft.com/office/powerpoint/2010/main" val="18822755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C38C68-434E-F2EA-854A-087CDA52EB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5ACB03-6CC4-E380-98B3-78251A45D2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A7D230-EC79-B23A-28DA-E6B55F71630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320137D-2D11-8899-F0AB-ABE84B4D3354}"/>
              </a:ext>
            </a:extLst>
          </p:cNvPr>
          <p:cNvSpPr>
            <a:spLocks noGrp="1"/>
          </p:cNvSpPr>
          <p:nvPr>
            <p:ph type="sldNum" sz="quarter" idx="5"/>
          </p:nvPr>
        </p:nvSpPr>
        <p:spPr/>
        <p:txBody>
          <a:bodyPr/>
          <a:lstStyle/>
          <a:p>
            <a:pPr>
              <a:defRPr/>
            </a:pPr>
            <a:fld id="{30376BD1-2E4C-7E4B-BB5B-B253D71D6D7F}" type="slidenum">
              <a:rPr lang="en-US" smtClean="0"/>
              <a:pPr>
                <a:defRPr/>
              </a:pPr>
              <a:t>16</a:t>
            </a:fld>
            <a:endParaRPr lang="en-US"/>
          </a:p>
        </p:txBody>
      </p:sp>
    </p:spTree>
    <p:extLst>
      <p:ext uri="{BB962C8B-B14F-4D97-AF65-F5344CB8AC3E}">
        <p14:creationId xmlns:p14="http://schemas.microsoft.com/office/powerpoint/2010/main" val="26065880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C38C68-434E-F2EA-854A-087CDA52EB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5ACB03-6CC4-E380-98B3-78251A45D2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A7D230-EC79-B23A-28DA-E6B55F71630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320137D-2D11-8899-F0AB-ABE84B4D3354}"/>
              </a:ext>
            </a:extLst>
          </p:cNvPr>
          <p:cNvSpPr>
            <a:spLocks noGrp="1"/>
          </p:cNvSpPr>
          <p:nvPr>
            <p:ph type="sldNum" sz="quarter" idx="5"/>
          </p:nvPr>
        </p:nvSpPr>
        <p:spPr/>
        <p:txBody>
          <a:bodyPr/>
          <a:lstStyle/>
          <a:p>
            <a:pPr>
              <a:defRPr/>
            </a:pPr>
            <a:fld id="{30376BD1-2E4C-7E4B-BB5B-B253D71D6D7F}" type="slidenum">
              <a:rPr lang="en-US" smtClean="0"/>
              <a:pPr>
                <a:defRPr/>
              </a:pPr>
              <a:t>17</a:t>
            </a:fld>
            <a:endParaRPr lang="en-US"/>
          </a:p>
        </p:txBody>
      </p:sp>
    </p:spTree>
    <p:extLst>
      <p:ext uri="{BB962C8B-B14F-4D97-AF65-F5344CB8AC3E}">
        <p14:creationId xmlns:p14="http://schemas.microsoft.com/office/powerpoint/2010/main" val="25122008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5813" y="1204913"/>
            <a:ext cx="5780087" cy="32512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1923">
              <a:defRPr/>
            </a:pPr>
            <a:fld id="{3E01EFDF-633B-4A4E-9363-569B7855E98A}" type="slidenum">
              <a:rPr lang="en-US" sz="1100" kern="0">
                <a:solidFill>
                  <a:sysClr val="windowText" lastClr="000000"/>
                </a:solidFill>
              </a:rPr>
              <a:pPr defTabSz="941923">
                <a:defRPr/>
              </a:pPr>
              <a:t>18</a:t>
            </a:fld>
            <a:endParaRPr lang="en-US" sz="1100" kern="0">
              <a:solidFill>
                <a:sysClr val="windowText" lastClr="000000"/>
              </a:solidFill>
            </a:endParaRPr>
          </a:p>
        </p:txBody>
      </p:sp>
    </p:spTree>
    <p:extLst>
      <p:ext uri="{BB962C8B-B14F-4D97-AF65-F5344CB8AC3E}">
        <p14:creationId xmlns:p14="http://schemas.microsoft.com/office/powerpoint/2010/main" val="9893645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5813" y="1204913"/>
            <a:ext cx="5780087" cy="32512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1923">
              <a:defRPr/>
            </a:pPr>
            <a:fld id="{3E01EFDF-633B-4A4E-9363-569B7855E98A}" type="slidenum">
              <a:rPr lang="en-US" sz="1100" kern="0">
                <a:solidFill>
                  <a:sysClr val="windowText" lastClr="000000"/>
                </a:solidFill>
              </a:rPr>
              <a:pPr defTabSz="941923">
                <a:defRPr/>
              </a:pPr>
              <a:t>19</a:t>
            </a:fld>
            <a:endParaRPr lang="en-US" sz="1100" kern="0">
              <a:solidFill>
                <a:sysClr val="windowText" lastClr="000000"/>
              </a:solidFill>
            </a:endParaRPr>
          </a:p>
        </p:txBody>
      </p:sp>
    </p:spTree>
    <p:extLst>
      <p:ext uri="{BB962C8B-B14F-4D97-AF65-F5344CB8AC3E}">
        <p14:creationId xmlns:p14="http://schemas.microsoft.com/office/powerpoint/2010/main" val="7331049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5813" y="1204913"/>
            <a:ext cx="5780087" cy="32512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1923">
              <a:defRPr/>
            </a:pPr>
            <a:fld id="{3E01EFDF-633B-4A4E-9363-569B7855E98A}" type="slidenum">
              <a:rPr lang="en-US" sz="1100" kern="0">
                <a:solidFill>
                  <a:sysClr val="windowText" lastClr="000000"/>
                </a:solidFill>
              </a:rPr>
              <a:pPr defTabSz="941923">
                <a:defRPr/>
              </a:pPr>
              <a:t>20</a:t>
            </a:fld>
            <a:endParaRPr lang="en-US" sz="1100" kern="0">
              <a:solidFill>
                <a:sysClr val="windowText" lastClr="000000"/>
              </a:solidFill>
            </a:endParaRPr>
          </a:p>
        </p:txBody>
      </p:sp>
    </p:spTree>
    <p:extLst>
      <p:ext uri="{BB962C8B-B14F-4D97-AF65-F5344CB8AC3E}">
        <p14:creationId xmlns:p14="http://schemas.microsoft.com/office/powerpoint/2010/main" val="9628856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832669-5C75-CA50-D858-32AA8A0A0E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D481BC-20B4-5362-781F-EF9BCF1003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DF89D7-89CF-7C0C-4FB1-84D2472B2EED}"/>
              </a:ext>
            </a:extLst>
          </p:cNvPr>
          <p:cNvSpPr>
            <a:spLocks noGrp="1"/>
          </p:cNvSpPr>
          <p:nvPr>
            <p:ph type="body" idx="1"/>
          </p:nvPr>
        </p:nvSpPr>
        <p:spPr/>
        <p:txBody>
          <a:bodyPr/>
          <a:lstStyle/>
          <a:p>
            <a:pPr algn="l"/>
            <a:endParaRPr lang="en-US" dirty="0"/>
          </a:p>
        </p:txBody>
      </p:sp>
      <p:sp>
        <p:nvSpPr>
          <p:cNvPr id="4" name="Slide Number Placeholder 3">
            <a:extLst>
              <a:ext uri="{FF2B5EF4-FFF2-40B4-BE49-F238E27FC236}">
                <a16:creationId xmlns:a16="http://schemas.microsoft.com/office/drawing/2014/main" id="{87FF0940-2C2E-8417-AB03-529716378A6D}"/>
              </a:ext>
            </a:extLst>
          </p:cNvPr>
          <p:cNvSpPr>
            <a:spLocks noGrp="1"/>
          </p:cNvSpPr>
          <p:nvPr>
            <p:ph type="sldNum" sz="quarter" idx="10"/>
          </p:nvPr>
        </p:nvSpPr>
        <p:spPr/>
        <p:txBody>
          <a:bodyPr/>
          <a:lstStyle/>
          <a:p>
            <a:pPr defTabSz="485326">
              <a:defRPr/>
            </a:pPr>
            <a:fld id="{30376BD1-2E4C-7E4B-BB5B-B253D71D6D7F}" type="slidenum">
              <a:rPr lang="en-US">
                <a:solidFill>
                  <a:prstClr val="black"/>
                </a:solidFill>
              </a:rPr>
              <a:pPr defTabSz="485326">
                <a:defRPr/>
              </a:pPr>
              <a:t>21</a:t>
            </a:fld>
            <a:endParaRPr lang="en-US">
              <a:solidFill>
                <a:prstClr val="black"/>
              </a:solidFill>
            </a:endParaRPr>
          </a:p>
        </p:txBody>
      </p:sp>
    </p:spTree>
    <p:extLst>
      <p:ext uri="{BB962C8B-B14F-4D97-AF65-F5344CB8AC3E}">
        <p14:creationId xmlns:p14="http://schemas.microsoft.com/office/powerpoint/2010/main" val="35963783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70962">
              <a:defRPr/>
            </a:pPr>
            <a:endParaRPr lang="en-US"/>
          </a:p>
        </p:txBody>
      </p:sp>
      <p:sp>
        <p:nvSpPr>
          <p:cNvPr id="4" name="Slide Number Placeholder 3"/>
          <p:cNvSpPr>
            <a:spLocks noGrp="1"/>
          </p:cNvSpPr>
          <p:nvPr>
            <p:ph type="sldNum" sz="quarter" idx="10"/>
          </p:nvPr>
        </p:nvSpPr>
        <p:spPr/>
        <p:txBody>
          <a:bodyPr/>
          <a:lstStyle/>
          <a:p>
            <a:pPr>
              <a:defRPr/>
            </a:pPr>
            <a:fld id="{30376BD1-2E4C-7E4B-BB5B-B253D71D6D7F}" type="slidenum">
              <a:rPr lang="en-US" smtClean="0"/>
              <a:pPr>
                <a:defRPr/>
              </a:pPr>
              <a:t>2</a:t>
            </a:fld>
            <a:endParaRPr lang="en-US"/>
          </a:p>
        </p:txBody>
      </p:sp>
    </p:spTree>
    <p:extLst>
      <p:ext uri="{BB962C8B-B14F-4D97-AF65-F5344CB8AC3E}">
        <p14:creationId xmlns:p14="http://schemas.microsoft.com/office/powerpoint/2010/main" val="22012338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470962">
              <a:defRPr/>
            </a:pPr>
            <a:fld id="{30376BD1-2E4C-7E4B-BB5B-B253D71D6D7F}" type="slidenum">
              <a:rPr lang="en-US">
                <a:solidFill>
                  <a:prstClr val="black"/>
                </a:solidFill>
              </a:rPr>
              <a:pPr defTabSz="470962">
                <a:defRPr/>
              </a:pPr>
              <a:t>22</a:t>
            </a:fld>
            <a:endParaRPr lang="en-US">
              <a:solidFill>
                <a:prstClr val="black"/>
              </a:solidFill>
            </a:endParaRPr>
          </a:p>
        </p:txBody>
      </p:sp>
    </p:spTree>
    <p:extLst>
      <p:ext uri="{BB962C8B-B14F-4D97-AF65-F5344CB8AC3E}">
        <p14:creationId xmlns:p14="http://schemas.microsoft.com/office/powerpoint/2010/main" val="18446231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9ABB85-CE24-A0BF-FA71-18972D858F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81622D-156C-8D65-5868-D32605F348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7F69FA-796F-D631-A5B3-5A70960BE751}"/>
              </a:ext>
            </a:extLst>
          </p:cNvPr>
          <p:cNvSpPr>
            <a:spLocks noGrp="1"/>
          </p:cNvSpPr>
          <p:nvPr>
            <p:ph type="body" idx="1"/>
          </p:nvPr>
        </p:nvSpPr>
        <p:spPr/>
        <p:txBody>
          <a:bodyPr>
            <a:normAutofit/>
          </a:bodyPr>
          <a:lstStyle/>
          <a:p>
            <a:endParaRPr lang="en-US"/>
          </a:p>
        </p:txBody>
      </p:sp>
      <p:sp>
        <p:nvSpPr>
          <p:cNvPr id="4" name="Slide Number Placeholder 3">
            <a:extLst>
              <a:ext uri="{FF2B5EF4-FFF2-40B4-BE49-F238E27FC236}">
                <a16:creationId xmlns:a16="http://schemas.microsoft.com/office/drawing/2014/main" id="{4A8501BC-88EF-E736-7172-7BE3613CFBEF}"/>
              </a:ext>
            </a:extLst>
          </p:cNvPr>
          <p:cNvSpPr>
            <a:spLocks noGrp="1"/>
          </p:cNvSpPr>
          <p:nvPr>
            <p:ph type="sldNum" sz="quarter" idx="5"/>
          </p:nvPr>
        </p:nvSpPr>
        <p:spPr/>
        <p:txBody>
          <a:bodyPr/>
          <a:lstStyle/>
          <a:p>
            <a:pPr marL="0" marR="0" lvl="0" indent="0" algn="r" defTabSz="470962" rtl="0" eaLnBrk="1" fontAlgn="auto" latinLnBrk="0" hangingPunct="1">
              <a:lnSpc>
                <a:spcPct val="100000"/>
              </a:lnSpc>
              <a:spcBef>
                <a:spcPts val="0"/>
              </a:spcBef>
              <a:spcAft>
                <a:spcPts val="0"/>
              </a:spcAft>
              <a:buClrTx/>
              <a:buSzTx/>
              <a:buFontTx/>
              <a:buNone/>
              <a:tabLst/>
              <a:defRPr/>
            </a:pPr>
            <a:fld id="{30376BD1-2E4C-7E4B-BB5B-B253D71D6D7F}" type="slidenum">
              <a:rPr kumimoji="0" 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47096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1540961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28F318-37C0-C3F9-4207-EF3F2F8596F1}"/>
            </a:ext>
          </a:extLst>
        </p:cNvPr>
        <p:cNvGrpSpPr/>
        <p:nvPr/>
      </p:nvGrpSpPr>
      <p:grpSpPr>
        <a:xfrm>
          <a:off x="0" y="0"/>
          <a:ext cx="0" cy="0"/>
          <a:chOff x="0" y="0"/>
          <a:chExt cx="0" cy="0"/>
        </a:xfrm>
      </p:grpSpPr>
      <p:sp>
        <p:nvSpPr>
          <p:cNvPr id="308226" name="Rectangle 2">
            <a:extLst>
              <a:ext uri="{FF2B5EF4-FFF2-40B4-BE49-F238E27FC236}">
                <a16:creationId xmlns:a16="http://schemas.microsoft.com/office/drawing/2014/main" id="{551DFCAF-DB7B-6D40-C2BA-DB918630C4AF}"/>
              </a:ext>
            </a:extLst>
          </p:cNvPr>
          <p:cNvSpPr>
            <a:spLocks noGrp="1" noRot="1" noChangeAspect="1" noChangeArrowheads="1" noTextEdit="1"/>
          </p:cNvSpPr>
          <p:nvPr>
            <p:ph type="sldImg"/>
          </p:nvPr>
        </p:nvSpPr>
        <p:spPr>
          <a:xfrm>
            <a:off x="428625" y="723900"/>
            <a:ext cx="6434138" cy="3619500"/>
          </a:xfrm>
          <a:ln/>
        </p:spPr>
      </p:sp>
      <p:sp>
        <p:nvSpPr>
          <p:cNvPr id="308227" name="Rectangle 3">
            <a:extLst>
              <a:ext uri="{FF2B5EF4-FFF2-40B4-BE49-F238E27FC236}">
                <a16:creationId xmlns:a16="http://schemas.microsoft.com/office/drawing/2014/main" id="{B6240970-034B-8BE0-605F-1C57B066C54D}"/>
              </a:ext>
            </a:extLst>
          </p:cNvPr>
          <p:cNvSpPr>
            <a:spLocks noGrp="1" noChangeArrowheads="1"/>
          </p:cNvSpPr>
          <p:nvPr>
            <p:ph type="body" idx="1"/>
          </p:nvPr>
        </p:nvSpPr>
        <p:spPr>
          <a:xfrm>
            <a:off x="728912" y="4584878"/>
            <a:ext cx="5831286" cy="434356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anose="02020603050405020304" pitchFamily="18" charset="0"/>
            </a:endParaRPr>
          </a:p>
        </p:txBody>
      </p:sp>
    </p:spTree>
    <p:extLst>
      <p:ext uri="{BB962C8B-B14F-4D97-AF65-F5344CB8AC3E}">
        <p14:creationId xmlns:p14="http://schemas.microsoft.com/office/powerpoint/2010/main" val="10824526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D821CE-177B-80E7-4BE3-AE013E8DE8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B4EDA9-C0CC-E2AD-ECDE-E139272E35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0F889A-0D72-DDFF-8CB1-9F8DD33333FF}"/>
              </a:ext>
            </a:extLst>
          </p:cNvPr>
          <p:cNvSpPr>
            <a:spLocks noGrp="1"/>
          </p:cNvSpPr>
          <p:nvPr>
            <p:ph type="body" idx="1"/>
          </p:nvPr>
        </p:nvSpPr>
        <p:spPr/>
        <p:txBody>
          <a:bodyPr>
            <a:normAutofit/>
          </a:bodyPr>
          <a:lstStyle/>
          <a:p>
            <a:endParaRPr lang="en-US"/>
          </a:p>
        </p:txBody>
      </p:sp>
      <p:sp>
        <p:nvSpPr>
          <p:cNvPr id="4" name="Slide Number Placeholder 3">
            <a:extLst>
              <a:ext uri="{FF2B5EF4-FFF2-40B4-BE49-F238E27FC236}">
                <a16:creationId xmlns:a16="http://schemas.microsoft.com/office/drawing/2014/main" id="{54921913-B4C0-E2F5-409F-70F090BB833F}"/>
              </a:ext>
            </a:extLst>
          </p:cNvPr>
          <p:cNvSpPr>
            <a:spLocks noGrp="1"/>
          </p:cNvSpPr>
          <p:nvPr>
            <p:ph type="sldNum" sz="quarter" idx="5"/>
          </p:nvPr>
        </p:nvSpPr>
        <p:spPr/>
        <p:txBody>
          <a:bodyPr/>
          <a:lstStyle/>
          <a:p>
            <a:pPr marL="0" marR="0" lvl="0" indent="0" algn="r" defTabSz="470962" rtl="0" eaLnBrk="1" fontAlgn="auto" latinLnBrk="0" hangingPunct="1">
              <a:lnSpc>
                <a:spcPct val="100000"/>
              </a:lnSpc>
              <a:spcBef>
                <a:spcPts val="0"/>
              </a:spcBef>
              <a:spcAft>
                <a:spcPts val="0"/>
              </a:spcAft>
              <a:buClrTx/>
              <a:buSzTx/>
              <a:buFontTx/>
              <a:buNone/>
              <a:tabLst/>
              <a:defRPr/>
            </a:pPr>
            <a:fld id="{30376BD1-2E4C-7E4B-BB5B-B253D71D6D7F}" type="slidenum">
              <a:rPr kumimoji="0" 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47096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6389254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4C8399-07DF-D5A6-0D6B-F6D7EB8539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D6C1E0-DDBC-DD5D-7C57-54BC7715D1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61CD23-5432-64C6-9FA6-174A76640C43}"/>
              </a:ext>
            </a:extLst>
          </p:cNvPr>
          <p:cNvSpPr>
            <a:spLocks noGrp="1"/>
          </p:cNvSpPr>
          <p:nvPr>
            <p:ph type="body" idx="1"/>
          </p:nvPr>
        </p:nvSpPr>
        <p:spPr/>
        <p:txBody>
          <a:bodyPr>
            <a:normAutofit/>
          </a:bodyPr>
          <a:lstStyle/>
          <a:p>
            <a:endParaRPr lang="en-US"/>
          </a:p>
        </p:txBody>
      </p:sp>
      <p:sp>
        <p:nvSpPr>
          <p:cNvPr id="4" name="Slide Number Placeholder 3">
            <a:extLst>
              <a:ext uri="{FF2B5EF4-FFF2-40B4-BE49-F238E27FC236}">
                <a16:creationId xmlns:a16="http://schemas.microsoft.com/office/drawing/2014/main" id="{7229F957-7682-205D-157D-BD31E5E4E00D}"/>
              </a:ext>
            </a:extLst>
          </p:cNvPr>
          <p:cNvSpPr>
            <a:spLocks noGrp="1"/>
          </p:cNvSpPr>
          <p:nvPr>
            <p:ph type="sldNum" sz="quarter" idx="5"/>
          </p:nvPr>
        </p:nvSpPr>
        <p:spPr/>
        <p:txBody>
          <a:bodyPr/>
          <a:lstStyle/>
          <a:p>
            <a:pPr marL="0" marR="0" lvl="0" indent="0" algn="r" defTabSz="470962" rtl="0" eaLnBrk="1" fontAlgn="auto" latinLnBrk="0" hangingPunct="1">
              <a:lnSpc>
                <a:spcPct val="100000"/>
              </a:lnSpc>
              <a:spcBef>
                <a:spcPts val="0"/>
              </a:spcBef>
              <a:spcAft>
                <a:spcPts val="0"/>
              </a:spcAft>
              <a:buClrTx/>
              <a:buSzTx/>
              <a:buFontTx/>
              <a:buNone/>
              <a:tabLst/>
              <a:defRPr/>
            </a:pPr>
            <a:fld id="{30376BD1-2E4C-7E4B-BB5B-B253D71D6D7F}" type="slidenum">
              <a:rPr kumimoji="0" lang="en-US"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47096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0717633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470962">
              <a:defRPr/>
            </a:pPr>
            <a:fld id="{9B12E8BE-4BBE-8A43-8656-E20BBFF5E8C9}" type="slidenum">
              <a:rPr lang="en-US">
                <a:solidFill>
                  <a:prstClr val="black"/>
                </a:solidFill>
              </a:rPr>
              <a:pPr defTabSz="470962">
                <a:defRPr/>
              </a:pPr>
              <a:t>28</a:t>
            </a:fld>
            <a:endParaRPr lang="en-US">
              <a:solidFill>
                <a:prstClr val="black"/>
              </a:solidFill>
            </a:endParaRPr>
          </a:p>
        </p:txBody>
      </p:sp>
    </p:spTree>
    <p:extLst>
      <p:ext uri="{BB962C8B-B14F-4D97-AF65-F5344CB8AC3E}">
        <p14:creationId xmlns:p14="http://schemas.microsoft.com/office/powerpoint/2010/main" val="1715016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424720-2D4D-4BC1-B93C-903337FBE6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DA700F-8DD9-15D0-DF91-47412E0454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BDE3F7-6D1D-90DA-D41E-B6659BBD664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AB43ED7-0449-AB58-D78A-6995F188E5A0}"/>
              </a:ext>
            </a:extLst>
          </p:cNvPr>
          <p:cNvSpPr>
            <a:spLocks noGrp="1"/>
          </p:cNvSpPr>
          <p:nvPr>
            <p:ph type="sldNum" sz="quarter" idx="5"/>
          </p:nvPr>
        </p:nvSpPr>
        <p:spPr/>
        <p:txBody>
          <a:bodyPr/>
          <a:lstStyle/>
          <a:p>
            <a:pPr>
              <a:defRPr/>
            </a:pPr>
            <a:fld id="{30376BD1-2E4C-7E4B-BB5B-B253D71D6D7F}" type="slidenum">
              <a:rPr lang="en-US" smtClean="0"/>
              <a:pPr>
                <a:defRPr/>
              </a:pPr>
              <a:t>29</a:t>
            </a:fld>
            <a:endParaRPr lang="en-US"/>
          </a:p>
        </p:txBody>
      </p:sp>
    </p:spTree>
    <p:extLst>
      <p:ext uri="{BB962C8B-B14F-4D97-AF65-F5344CB8AC3E}">
        <p14:creationId xmlns:p14="http://schemas.microsoft.com/office/powerpoint/2010/main" val="23828969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224FD2-F33A-1D36-BE16-7AD814BA06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B647B4-7F83-0A31-36B7-2A247D6A19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26D39A-EB45-BB00-6584-8FA0A6DD1C8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D1B0C74-63F0-B3EF-17F2-ECB26E0F26CD}"/>
              </a:ext>
            </a:extLst>
          </p:cNvPr>
          <p:cNvSpPr>
            <a:spLocks noGrp="1"/>
          </p:cNvSpPr>
          <p:nvPr>
            <p:ph type="sldNum" sz="quarter" idx="5"/>
          </p:nvPr>
        </p:nvSpPr>
        <p:spPr/>
        <p:txBody>
          <a:bodyPr/>
          <a:lstStyle/>
          <a:p>
            <a:pPr>
              <a:defRPr/>
            </a:pPr>
            <a:fld id="{30376BD1-2E4C-7E4B-BB5B-B253D71D6D7F}" type="slidenum">
              <a:rPr lang="en-US" smtClean="0"/>
              <a:pPr>
                <a:defRPr/>
              </a:pPr>
              <a:t>30</a:t>
            </a:fld>
            <a:endParaRPr lang="en-US"/>
          </a:p>
        </p:txBody>
      </p:sp>
    </p:spTree>
    <p:extLst>
      <p:ext uri="{BB962C8B-B14F-4D97-AF65-F5344CB8AC3E}">
        <p14:creationId xmlns:p14="http://schemas.microsoft.com/office/powerpoint/2010/main" val="9559454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DDF2DA-F13C-ED23-BC2D-3A7B827B63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DB17EB-074F-AD33-D1CE-EABE3DFEDB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F7A0AE-856B-DCCF-29FC-9EFDF90A4D8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9E5D318-34B6-637E-ED72-A1E93F872ED7}"/>
              </a:ext>
            </a:extLst>
          </p:cNvPr>
          <p:cNvSpPr>
            <a:spLocks noGrp="1"/>
          </p:cNvSpPr>
          <p:nvPr>
            <p:ph type="sldNum" sz="quarter" idx="5"/>
          </p:nvPr>
        </p:nvSpPr>
        <p:spPr/>
        <p:txBody>
          <a:bodyPr/>
          <a:lstStyle/>
          <a:p>
            <a:pPr>
              <a:defRPr/>
            </a:pPr>
            <a:fld id="{30376BD1-2E4C-7E4B-BB5B-B253D71D6D7F}" type="slidenum">
              <a:rPr lang="en-US" smtClean="0"/>
              <a:pPr>
                <a:defRPr/>
              </a:pPr>
              <a:t>31</a:t>
            </a:fld>
            <a:endParaRPr lang="en-US"/>
          </a:p>
        </p:txBody>
      </p:sp>
    </p:spTree>
    <p:extLst>
      <p:ext uri="{BB962C8B-B14F-4D97-AF65-F5344CB8AC3E}">
        <p14:creationId xmlns:p14="http://schemas.microsoft.com/office/powerpoint/2010/main" val="12628848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90BE57-D550-310A-4604-2DBA4979A0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B18169-3AFE-EA0E-DB8A-74F218FB82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9A6985-A4B2-456D-4052-61E82FD86DD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F5A21D9-75F4-6E0A-B59D-0FC8BBD3707D}"/>
              </a:ext>
            </a:extLst>
          </p:cNvPr>
          <p:cNvSpPr>
            <a:spLocks noGrp="1"/>
          </p:cNvSpPr>
          <p:nvPr>
            <p:ph type="sldNum" sz="quarter" idx="5"/>
          </p:nvPr>
        </p:nvSpPr>
        <p:spPr/>
        <p:txBody>
          <a:bodyPr/>
          <a:lstStyle/>
          <a:p>
            <a:pPr>
              <a:defRPr/>
            </a:pPr>
            <a:fld id="{30376BD1-2E4C-7E4B-BB5B-B253D71D6D7F}" type="slidenum">
              <a:rPr lang="en-US" smtClean="0"/>
              <a:pPr>
                <a:defRPr/>
              </a:pPr>
              <a:t>32</a:t>
            </a:fld>
            <a:endParaRPr lang="en-US"/>
          </a:p>
        </p:txBody>
      </p:sp>
    </p:spTree>
    <p:extLst>
      <p:ext uri="{BB962C8B-B14F-4D97-AF65-F5344CB8AC3E}">
        <p14:creationId xmlns:p14="http://schemas.microsoft.com/office/powerpoint/2010/main" val="18981564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D598FA-2396-9D06-8E02-77E88FAF55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537052-0DAE-ABDF-040A-C56EBC2A4C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212648-55C1-FAE3-3DCC-832C9D25F66E}"/>
              </a:ext>
            </a:extLst>
          </p:cNvPr>
          <p:cNvSpPr>
            <a:spLocks noGrp="1"/>
          </p:cNvSpPr>
          <p:nvPr>
            <p:ph type="body" idx="1"/>
          </p:nvPr>
        </p:nvSpPr>
        <p:spPr/>
        <p:txBody>
          <a:bodyPr/>
          <a:lstStyle/>
          <a:p>
            <a:pPr algn="l"/>
            <a:endParaRPr lang="en-US"/>
          </a:p>
        </p:txBody>
      </p:sp>
      <p:sp>
        <p:nvSpPr>
          <p:cNvPr id="4" name="Slide Number Placeholder 3">
            <a:extLst>
              <a:ext uri="{FF2B5EF4-FFF2-40B4-BE49-F238E27FC236}">
                <a16:creationId xmlns:a16="http://schemas.microsoft.com/office/drawing/2014/main" id="{7EFD65BA-E726-58FF-4CF6-67E356A57ABC}"/>
              </a:ext>
            </a:extLst>
          </p:cNvPr>
          <p:cNvSpPr>
            <a:spLocks noGrp="1"/>
          </p:cNvSpPr>
          <p:nvPr>
            <p:ph type="sldNum" sz="quarter" idx="10"/>
          </p:nvPr>
        </p:nvSpPr>
        <p:spPr/>
        <p:txBody>
          <a:bodyPr/>
          <a:lstStyle/>
          <a:p>
            <a:pPr defTabSz="485326">
              <a:defRPr/>
            </a:pPr>
            <a:fld id="{30376BD1-2E4C-7E4B-BB5B-B253D71D6D7F}" type="slidenum">
              <a:rPr lang="en-US">
                <a:solidFill>
                  <a:prstClr val="black"/>
                </a:solidFill>
              </a:rPr>
              <a:pPr defTabSz="485326">
                <a:defRPr/>
              </a:pPr>
              <a:t>3</a:t>
            </a:fld>
            <a:endParaRPr lang="en-US">
              <a:solidFill>
                <a:prstClr val="black"/>
              </a:solidFill>
            </a:endParaRPr>
          </a:p>
        </p:txBody>
      </p:sp>
    </p:spTree>
    <p:extLst>
      <p:ext uri="{BB962C8B-B14F-4D97-AF65-F5344CB8AC3E}">
        <p14:creationId xmlns:p14="http://schemas.microsoft.com/office/powerpoint/2010/main" val="1165013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0C9BE-33C4-99DD-5BEE-A7D79CFC2D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F5B63C-D333-7D2C-3123-A2A7FFAB291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0FF126-4163-77B0-9896-3DAEDE82BA5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DA17998-D620-4A59-32C5-C14F1044BD8C}"/>
              </a:ext>
            </a:extLst>
          </p:cNvPr>
          <p:cNvSpPr>
            <a:spLocks noGrp="1"/>
          </p:cNvSpPr>
          <p:nvPr>
            <p:ph type="sldNum" sz="quarter" idx="5"/>
          </p:nvPr>
        </p:nvSpPr>
        <p:spPr/>
        <p:txBody>
          <a:bodyPr/>
          <a:lstStyle/>
          <a:p>
            <a:pPr defTabSz="470962">
              <a:defRPr/>
            </a:pPr>
            <a:fld id="{30376BD1-2E4C-7E4B-BB5B-B253D71D6D7F}" type="slidenum">
              <a:rPr lang="en-US">
                <a:solidFill>
                  <a:prstClr val="black"/>
                </a:solidFill>
              </a:rPr>
              <a:pPr defTabSz="470962">
                <a:defRPr/>
              </a:pPr>
              <a:t>33</a:t>
            </a:fld>
            <a:endParaRPr lang="en-US">
              <a:solidFill>
                <a:prstClr val="black"/>
              </a:solidFill>
            </a:endParaRPr>
          </a:p>
        </p:txBody>
      </p:sp>
    </p:spTree>
    <p:extLst>
      <p:ext uri="{BB962C8B-B14F-4D97-AF65-F5344CB8AC3E}">
        <p14:creationId xmlns:p14="http://schemas.microsoft.com/office/powerpoint/2010/main" val="13614128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D4EA74-B40A-3CB2-8580-FA08901681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45E3CF-65B4-3F94-0DEF-2AE74733D8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01896F-F72E-FBA7-369C-4483D785D75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7501921-2235-EA31-51C0-A765BC0E123D}"/>
              </a:ext>
            </a:extLst>
          </p:cNvPr>
          <p:cNvSpPr>
            <a:spLocks noGrp="1"/>
          </p:cNvSpPr>
          <p:nvPr>
            <p:ph type="sldNum" sz="quarter" idx="5"/>
          </p:nvPr>
        </p:nvSpPr>
        <p:spPr/>
        <p:txBody>
          <a:bodyPr/>
          <a:lstStyle/>
          <a:p>
            <a:pPr defTabSz="470962">
              <a:defRPr/>
            </a:pPr>
            <a:fld id="{30376BD1-2E4C-7E4B-BB5B-B253D71D6D7F}" type="slidenum">
              <a:rPr lang="en-US">
                <a:solidFill>
                  <a:prstClr val="black"/>
                </a:solidFill>
              </a:rPr>
              <a:pPr defTabSz="470962">
                <a:defRPr/>
              </a:pPr>
              <a:t>34</a:t>
            </a:fld>
            <a:endParaRPr lang="en-US">
              <a:solidFill>
                <a:prstClr val="black"/>
              </a:solidFill>
            </a:endParaRPr>
          </a:p>
        </p:txBody>
      </p:sp>
    </p:spTree>
    <p:extLst>
      <p:ext uri="{BB962C8B-B14F-4D97-AF65-F5344CB8AC3E}">
        <p14:creationId xmlns:p14="http://schemas.microsoft.com/office/powerpoint/2010/main" val="8816862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pPr defTabSz="470962">
              <a:defRPr/>
            </a:pPr>
            <a:fld id="{9B12E8BE-4BBE-8A43-8656-E20BBFF5E8C9}" type="slidenum">
              <a:rPr lang="en-US">
                <a:solidFill>
                  <a:prstClr val="black"/>
                </a:solidFill>
              </a:rPr>
              <a:pPr defTabSz="470962">
                <a:defRPr/>
              </a:pPr>
              <a:t>35</a:t>
            </a:fld>
            <a:endParaRPr lang="en-US">
              <a:solidFill>
                <a:prstClr val="black"/>
              </a:solidFill>
            </a:endParaRPr>
          </a:p>
        </p:txBody>
      </p:sp>
    </p:spTree>
    <p:extLst>
      <p:ext uri="{BB962C8B-B14F-4D97-AF65-F5344CB8AC3E}">
        <p14:creationId xmlns:p14="http://schemas.microsoft.com/office/powerpoint/2010/main" val="24602543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E6FFD1-CE1F-1834-4CDD-DB832877F0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9D8D17-0F0A-1ADB-E88D-E99434EFBA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CB366D-6ACE-F3A3-FA9F-D903647DE71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BBB4C39-4C1F-1EDF-F05B-2F4748DDFECC}"/>
              </a:ext>
            </a:extLst>
          </p:cNvPr>
          <p:cNvSpPr>
            <a:spLocks noGrp="1"/>
          </p:cNvSpPr>
          <p:nvPr>
            <p:ph type="sldNum" sz="quarter" idx="5"/>
          </p:nvPr>
        </p:nvSpPr>
        <p:spPr/>
        <p:txBody>
          <a:bodyPr/>
          <a:lstStyle/>
          <a:p>
            <a:pPr>
              <a:defRPr/>
            </a:pPr>
            <a:fld id="{30376BD1-2E4C-7E4B-BB5B-B253D71D6D7F}" type="slidenum">
              <a:rPr lang="en-US" smtClean="0"/>
              <a:pPr>
                <a:defRPr/>
              </a:pPr>
              <a:t>36</a:t>
            </a:fld>
            <a:endParaRPr lang="en-US"/>
          </a:p>
        </p:txBody>
      </p:sp>
    </p:spTree>
    <p:extLst>
      <p:ext uri="{BB962C8B-B14F-4D97-AF65-F5344CB8AC3E}">
        <p14:creationId xmlns:p14="http://schemas.microsoft.com/office/powerpoint/2010/main" val="41811105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85326">
              <a:defRPr/>
            </a:pPr>
            <a:endParaRPr lang="en-US" b="1"/>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37</a:t>
            </a:fld>
            <a:endParaRPr lang="en-US"/>
          </a:p>
        </p:txBody>
      </p:sp>
    </p:spTree>
    <p:extLst>
      <p:ext uri="{BB962C8B-B14F-4D97-AF65-F5344CB8AC3E}">
        <p14:creationId xmlns:p14="http://schemas.microsoft.com/office/powerpoint/2010/main" val="144298614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40EF5D-3BB6-7B0F-A1F3-3E1FD7A1F5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F98D58-25CA-D34D-6A91-E272F401DF2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801410-4ECA-898A-70CA-D1520338F093}"/>
              </a:ext>
            </a:extLst>
          </p:cNvPr>
          <p:cNvSpPr>
            <a:spLocks noGrp="1"/>
          </p:cNvSpPr>
          <p:nvPr>
            <p:ph type="body" idx="1"/>
          </p:nvPr>
        </p:nvSpPr>
        <p:spPr/>
        <p:txBody>
          <a:bodyPr/>
          <a:lstStyle/>
          <a:p>
            <a:pPr defTabSz="470962">
              <a:defRPr/>
            </a:pPr>
            <a:endParaRPr lang="en-US"/>
          </a:p>
        </p:txBody>
      </p:sp>
      <p:sp>
        <p:nvSpPr>
          <p:cNvPr id="4" name="Slide Number Placeholder 3">
            <a:extLst>
              <a:ext uri="{FF2B5EF4-FFF2-40B4-BE49-F238E27FC236}">
                <a16:creationId xmlns:a16="http://schemas.microsoft.com/office/drawing/2014/main" id="{2261F84C-3B61-84AD-5524-EF3B1353FF49}"/>
              </a:ext>
            </a:extLst>
          </p:cNvPr>
          <p:cNvSpPr>
            <a:spLocks noGrp="1"/>
          </p:cNvSpPr>
          <p:nvPr>
            <p:ph type="sldNum" sz="quarter" idx="10"/>
          </p:nvPr>
        </p:nvSpPr>
        <p:spPr/>
        <p:txBody>
          <a:bodyPr/>
          <a:lstStyle/>
          <a:p>
            <a:pPr defTabSz="485326">
              <a:defRPr/>
            </a:pPr>
            <a:fld id="{30376BD1-2E4C-7E4B-BB5B-B253D71D6D7F}" type="slidenum">
              <a:rPr lang="en-US">
                <a:solidFill>
                  <a:prstClr val="black"/>
                </a:solidFill>
              </a:rPr>
              <a:pPr defTabSz="485326">
                <a:defRPr/>
              </a:pPr>
              <a:t>38</a:t>
            </a:fld>
            <a:endParaRPr lang="en-US">
              <a:solidFill>
                <a:prstClr val="black"/>
              </a:solidFill>
            </a:endParaRPr>
          </a:p>
        </p:txBody>
      </p:sp>
    </p:spTree>
    <p:extLst>
      <p:ext uri="{BB962C8B-B14F-4D97-AF65-F5344CB8AC3E}">
        <p14:creationId xmlns:p14="http://schemas.microsoft.com/office/powerpoint/2010/main" val="15315721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527A63-37FA-D87A-A6CF-40DCC8B972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C02BA6-76C6-7CDF-9638-2D8A6FCD57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450CD9-A133-0497-7300-26E733C4021D}"/>
              </a:ext>
            </a:extLst>
          </p:cNvPr>
          <p:cNvSpPr>
            <a:spLocks noGrp="1"/>
          </p:cNvSpPr>
          <p:nvPr>
            <p:ph type="body" idx="1"/>
          </p:nvPr>
        </p:nvSpPr>
        <p:spPr/>
        <p:txBody>
          <a:bodyPr/>
          <a:lstStyle/>
          <a:p>
            <a:pPr defTabSz="470962">
              <a:defRPr/>
            </a:pPr>
            <a:endParaRPr lang="en-US"/>
          </a:p>
        </p:txBody>
      </p:sp>
      <p:sp>
        <p:nvSpPr>
          <p:cNvPr id="4" name="Slide Number Placeholder 3">
            <a:extLst>
              <a:ext uri="{FF2B5EF4-FFF2-40B4-BE49-F238E27FC236}">
                <a16:creationId xmlns:a16="http://schemas.microsoft.com/office/drawing/2014/main" id="{7C54557A-2A91-AEFA-442A-393B01C97EB6}"/>
              </a:ext>
            </a:extLst>
          </p:cNvPr>
          <p:cNvSpPr>
            <a:spLocks noGrp="1"/>
          </p:cNvSpPr>
          <p:nvPr>
            <p:ph type="sldNum" sz="quarter" idx="10"/>
          </p:nvPr>
        </p:nvSpPr>
        <p:spPr/>
        <p:txBody>
          <a:bodyPr/>
          <a:lstStyle/>
          <a:p>
            <a:pPr defTabSz="485326">
              <a:defRPr/>
            </a:pPr>
            <a:fld id="{30376BD1-2E4C-7E4B-BB5B-B253D71D6D7F}" type="slidenum">
              <a:rPr lang="en-US">
                <a:solidFill>
                  <a:prstClr val="black"/>
                </a:solidFill>
              </a:rPr>
              <a:pPr defTabSz="485326">
                <a:defRPr/>
              </a:pPr>
              <a:t>39</a:t>
            </a:fld>
            <a:endParaRPr lang="en-US">
              <a:solidFill>
                <a:prstClr val="black"/>
              </a:solidFill>
            </a:endParaRPr>
          </a:p>
        </p:txBody>
      </p:sp>
    </p:spTree>
    <p:extLst>
      <p:ext uri="{BB962C8B-B14F-4D97-AF65-F5344CB8AC3E}">
        <p14:creationId xmlns:p14="http://schemas.microsoft.com/office/powerpoint/2010/main" val="10860151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470962">
              <a:defRPr/>
            </a:pPr>
            <a:fld id="{9B12E8BE-4BBE-8A43-8656-E20BBFF5E8C9}" type="slidenum">
              <a:rPr lang="en-US">
                <a:solidFill>
                  <a:prstClr val="black"/>
                </a:solidFill>
              </a:rPr>
              <a:pPr defTabSz="470962">
                <a:defRPr/>
              </a:pPr>
              <a:t>40</a:t>
            </a:fld>
            <a:endParaRPr lang="en-US">
              <a:solidFill>
                <a:prstClr val="black"/>
              </a:solidFill>
            </a:endParaRPr>
          </a:p>
        </p:txBody>
      </p:sp>
    </p:spTree>
    <p:extLst>
      <p:ext uri="{BB962C8B-B14F-4D97-AF65-F5344CB8AC3E}">
        <p14:creationId xmlns:p14="http://schemas.microsoft.com/office/powerpoint/2010/main" val="181437505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0B7EBD-A142-0511-3648-615242EF03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AD05F5-A6CF-0C0F-474A-1039803214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816068-9A53-967E-7A4A-07091715CA85}"/>
              </a:ext>
            </a:extLst>
          </p:cNvPr>
          <p:cNvSpPr>
            <a:spLocks noGrp="1"/>
          </p:cNvSpPr>
          <p:nvPr>
            <p:ph type="body" idx="1"/>
          </p:nvPr>
        </p:nvSpPr>
        <p:spPr/>
        <p:txBody>
          <a:bodyPr/>
          <a:lstStyle/>
          <a:p>
            <a:pPr defTabSz="470962">
              <a:defRPr/>
            </a:pPr>
            <a:endParaRPr lang="en-US"/>
          </a:p>
        </p:txBody>
      </p:sp>
      <p:sp>
        <p:nvSpPr>
          <p:cNvPr id="4" name="Slide Number Placeholder 3">
            <a:extLst>
              <a:ext uri="{FF2B5EF4-FFF2-40B4-BE49-F238E27FC236}">
                <a16:creationId xmlns:a16="http://schemas.microsoft.com/office/drawing/2014/main" id="{048A6656-A2A1-1AC1-E521-14F940BD8BDC}"/>
              </a:ext>
            </a:extLst>
          </p:cNvPr>
          <p:cNvSpPr>
            <a:spLocks noGrp="1"/>
          </p:cNvSpPr>
          <p:nvPr>
            <p:ph type="sldNum" sz="quarter" idx="10"/>
          </p:nvPr>
        </p:nvSpPr>
        <p:spPr/>
        <p:txBody>
          <a:bodyPr/>
          <a:lstStyle/>
          <a:p>
            <a:pPr defTabSz="485326">
              <a:defRPr/>
            </a:pPr>
            <a:fld id="{30376BD1-2E4C-7E4B-BB5B-B253D71D6D7F}" type="slidenum">
              <a:rPr lang="en-US">
                <a:solidFill>
                  <a:prstClr val="black"/>
                </a:solidFill>
              </a:rPr>
              <a:pPr defTabSz="485326">
                <a:defRPr/>
              </a:pPr>
              <a:t>41</a:t>
            </a:fld>
            <a:endParaRPr lang="en-US">
              <a:solidFill>
                <a:prstClr val="black"/>
              </a:solidFill>
            </a:endParaRPr>
          </a:p>
        </p:txBody>
      </p:sp>
    </p:spTree>
    <p:extLst>
      <p:ext uri="{BB962C8B-B14F-4D97-AF65-F5344CB8AC3E}">
        <p14:creationId xmlns:p14="http://schemas.microsoft.com/office/powerpoint/2010/main" val="46614630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8A6CCF-8B19-38BB-CDB8-BABF1C83AB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88C619-3972-8618-B565-583B436563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629903-33EB-87EF-1D53-016EC1F7FB6F}"/>
              </a:ext>
            </a:extLst>
          </p:cNvPr>
          <p:cNvSpPr>
            <a:spLocks noGrp="1"/>
          </p:cNvSpPr>
          <p:nvPr>
            <p:ph type="body" idx="1"/>
          </p:nvPr>
        </p:nvSpPr>
        <p:spPr/>
        <p:txBody>
          <a:bodyPr/>
          <a:lstStyle/>
          <a:p>
            <a:pPr defTabSz="470962">
              <a:defRPr/>
            </a:pPr>
            <a:endParaRPr lang="en-US"/>
          </a:p>
        </p:txBody>
      </p:sp>
      <p:sp>
        <p:nvSpPr>
          <p:cNvPr id="4" name="Slide Number Placeholder 3">
            <a:extLst>
              <a:ext uri="{FF2B5EF4-FFF2-40B4-BE49-F238E27FC236}">
                <a16:creationId xmlns:a16="http://schemas.microsoft.com/office/drawing/2014/main" id="{02A6FF3A-9508-32C9-1818-064FFF7D391C}"/>
              </a:ext>
            </a:extLst>
          </p:cNvPr>
          <p:cNvSpPr>
            <a:spLocks noGrp="1"/>
          </p:cNvSpPr>
          <p:nvPr>
            <p:ph type="sldNum" sz="quarter" idx="10"/>
          </p:nvPr>
        </p:nvSpPr>
        <p:spPr/>
        <p:txBody>
          <a:bodyPr/>
          <a:lstStyle/>
          <a:p>
            <a:pPr defTabSz="485326">
              <a:defRPr/>
            </a:pPr>
            <a:fld id="{30376BD1-2E4C-7E4B-BB5B-B253D71D6D7F}" type="slidenum">
              <a:rPr lang="en-US">
                <a:solidFill>
                  <a:prstClr val="black"/>
                </a:solidFill>
              </a:rPr>
              <a:pPr defTabSz="485326">
                <a:defRPr/>
              </a:pPr>
              <a:t>42</a:t>
            </a:fld>
            <a:endParaRPr lang="en-US">
              <a:solidFill>
                <a:prstClr val="black"/>
              </a:solidFill>
            </a:endParaRPr>
          </a:p>
        </p:txBody>
      </p:sp>
    </p:spTree>
    <p:extLst>
      <p:ext uri="{BB962C8B-B14F-4D97-AF65-F5344CB8AC3E}">
        <p14:creationId xmlns:p14="http://schemas.microsoft.com/office/powerpoint/2010/main" val="4540097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F2A8F2-06F6-EA14-20B2-5DA91A5892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324BB4-153D-EDC5-98EB-9D8DA78A1E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25DB9C-9F09-345D-8B93-252BEC731D94}"/>
              </a:ext>
            </a:extLst>
          </p:cNvPr>
          <p:cNvSpPr>
            <a:spLocks noGrp="1"/>
          </p:cNvSpPr>
          <p:nvPr>
            <p:ph type="body" idx="1"/>
          </p:nvPr>
        </p:nvSpPr>
        <p:spPr/>
        <p:txBody>
          <a:bodyPr/>
          <a:lstStyle/>
          <a:p>
            <a:pPr algn="l"/>
            <a:endParaRPr lang="en-US"/>
          </a:p>
        </p:txBody>
      </p:sp>
      <p:sp>
        <p:nvSpPr>
          <p:cNvPr id="4" name="Slide Number Placeholder 3">
            <a:extLst>
              <a:ext uri="{FF2B5EF4-FFF2-40B4-BE49-F238E27FC236}">
                <a16:creationId xmlns:a16="http://schemas.microsoft.com/office/drawing/2014/main" id="{83F709C5-968E-3A8D-6307-BA18C8B25853}"/>
              </a:ext>
            </a:extLst>
          </p:cNvPr>
          <p:cNvSpPr>
            <a:spLocks noGrp="1"/>
          </p:cNvSpPr>
          <p:nvPr>
            <p:ph type="sldNum" sz="quarter" idx="10"/>
          </p:nvPr>
        </p:nvSpPr>
        <p:spPr/>
        <p:txBody>
          <a:bodyPr/>
          <a:lstStyle/>
          <a:p>
            <a:pPr defTabSz="485326">
              <a:defRPr/>
            </a:pPr>
            <a:fld id="{30376BD1-2E4C-7E4B-BB5B-B253D71D6D7F}" type="slidenum">
              <a:rPr lang="en-US">
                <a:solidFill>
                  <a:prstClr val="black"/>
                </a:solidFill>
              </a:rPr>
              <a:pPr defTabSz="485326">
                <a:defRPr/>
              </a:pPr>
              <a:t>4</a:t>
            </a:fld>
            <a:endParaRPr lang="en-US">
              <a:solidFill>
                <a:prstClr val="black"/>
              </a:solidFill>
            </a:endParaRPr>
          </a:p>
        </p:txBody>
      </p:sp>
    </p:spTree>
    <p:extLst>
      <p:ext uri="{BB962C8B-B14F-4D97-AF65-F5344CB8AC3E}">
        <p14:creationId xmlns:p14="http://schemas.microsoft.com/office/powerpoint/2010/main" val="18729774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9C3F8D-AAD1-C99A-C121-EC2FF0A4E3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106DA8-C6D4-25ED-1EB6-C8AAED5082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C62AFF-D650-F4BD-97BF-67753B9E5835}"/>
              </a:ext>
            </a:extLst>
          </p:cNvPr>
          <p:cNvSpPr>
            <a:spLocks noGrp="1"/>
          </p:cNvSpPr>
          <p:nvPr>
            <p:ph type="body" idx="1"/>
          </p:nvPr>
        </p:nvSpPr>
        <p:spPr/>
        <p:txBody>
          <a:bodyPr/>
          <a:lstStyle/>
          <a:p>
            <a:pPr defTabSz="470962">
              <a:defRPr/>
            </a:pPr>
            <a:endParaRPr lang="en-US"/>
          </a:p>
        </p:txBody>
      </p:sp>
      <p:sp>
        <p:nvSpPr>
          <p:cNvPr id="4" name="Slide Number Placeholder 3">
            <a:extLst>
              <a:ext uri="{FF2B5EF4-FFF2-40B4-BE49-F238E27FC236}">
                <a16:creationId xmlns:a16="http://schemas.microsoft.com/office/drawing/2014/main" id="{9067737B-2645-0552-A3C0-57650626EE0D}"/>
              </a:ext>
            </a:extLst>
          </p:cNvPr>
          <p:cNvSpPr>
            <a:spLocks noGrp="1"/>
          </p:cNvSpPr>
          <p:nvPr>
            <p:ph type="sldNum" sz="quarter" idx="10"/>
          </p:nvPr>
        </p:nvSpPr>
        <p:spPr/>
        <p:txBody>
          <a:bodyPr/>
          <a:lstStyle/>
          <a:p>
            <a:pPr defTabSz="485326">
              <a:defRPr/>
            </a:pPr>
            <a:fld id="{30376BD1-2E4C-7E4B-BB5B-B253D71D6D7F}" type="slidenum">
              <a:rPr lang="en-US">
                <a:solidFill>
                  <a:prstClr val="black"/>
                </a:solidFill>
              </a:rPr>
              <a:pPr defTabSz="485326">
                <a:defRPr/>
              </a:pPr>
              <a:t>43</a:t>
            </a:fld>
            <a:endParaRPr lang="en-US">
              <a:solidFill>
                <a:prstClr val="black"/>
              </a:solidFill>
            </a:endParaRPr>
          </a:p>
        </p:txBody>
      </p:sp>
    </p:spTree>
    <p:extLst>
      <p:ext uri="{BB962C8B-B14F-4D97-AF65-F5344CB8AC3E}">
        <p14:creationId xmlns:p14="http://schemas.microsoft.com/office/powerpoint/2010/main" val="3697546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6FA305-2C58-FF93-18B6-64C1B06A4C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CCD334-81D5-C193-C2B8-2BFE8177E3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E0986A-5646-162B-0141-0B713DBFC56C}"/>
              </a:ext>
            </a:extLst>
          </p:cNvPr>
          <p:cNvSpPr>
            <a:spLocks noGrp="1"/>
          </p:cNvSpPr>
          <p:nvPr>
            <p:ph type="body" idx="1"/>
          </p:nvPr>
        </p:nvSpPr>
        <p:spPr/>
        <p:txBody>
          <a:bodyPr/>
          <a:lstStyle/>
          <a:p>
            <a:pPr defTabSz="470962">
              <a:defRPr/>
            </a:pPr>
            <a:endParaRPr lang="en-US"/>
          </a:p>
        </p:txBody>
      </p:sp>
      <p:sp>
        <p:nvSpPr>
          <p:cNvPr id="4" name="Slide Number Placeholder 3">
            <a:extLst>
              <a:ext uri="{FF2B5EF4-FFF2-40B4-BE49-F238E27FC236}">
                <a16:creationId xmlns:a16="http://schemas.microsoft.com/office/drawing/2014/main" id="{2BDD9599-CAEB-8945-02CE-AFFE906BBCC6}"/>
              </a:ext>
            </a:extLst>
          </p:cNvPr>
          <p:cNvSpPr>
            <a:spLocks noGrp="1"/>
          </p:cNvSpPr>
          <p:nvPr>
            <p:ph type="sldNum" sz="quarter" idx="10"/>
          </p:nvPr>
        </p:nvSpPr>
        <p:spPr/>
        <p:txBody>
          <a:bodyPr/>
          <a:lstStyle/>
          <a:p>
            <a:pPr defTabSz="485326">
              <a:defRPr/>
            </a:pPr>
            <a:fld id="{30376BD1-2E4C-7E4B-BB5B-B253D71D6D7F}" type="slidenum">
              <a:rPr lang="en-US">
                <a:solidFill>
                  <a:prstClr val="black"/>
                </a:solidFill>
              </a:rPr>
              <a:pPr defTabSz="485326">
                <a:defRPr/>
              </a:pPr>
              <a:t>44</a:t>
            </a:fld>
            <a:endParaRPr lang="en-US">
              <a:solidFill>
                <a:prstClr val="black"/>
              </a:solidFill>
            </a:endParaRPr>
          </a:p>
        </p:txBody>
      </p:sp>
    </p:spTree>
    <p:extLst>
      <p:ext uri="{BB962C8B-B14F-4D97-AF65-F5344CB8AC3E}">
        <p14:creationId xmlns:p14="http://schemas.microsoft.com/office/powerpoint/2010/main" val="20748088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470962">
              <a:defRPr/>
            </a:pPr>
            <a:fld id="{9B12E8BE-4BBE-8A43-8656-E20BBFF5E8C9}" type="slidenum">
              <a:rPr lang="en-US">
                <a:solidFill>
                  <a:prstClr val="black"/>
                </a:solidFill>
              </a:rPr>
              <a:pPr defTabSz="470962">
                <a:defRPr/>
              </a:pPr>
              <a:t>45</a:t>
            </a:fld>
            <a:endParaRPr lang="en-US">
              <a:solidFill>
                <a:prstClr val="black"/>
              </a:solidFill>
            </a:endParaRPr>
          </a:p>
        </p:txBody>
      </p:sp>
    </p:spTree>
    <p:extLst>
      <p:ext uri="{BB962C8B-B14F-4D97-AF65-F5344CB8AC3E}">
        <p14:creationId xmlns:p14="http://schemas.microsoft.com/office/powerpoint/2010/main" val="32977716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47</a:t>
            </a:fld>
            <a:endParaRPr lang="en-US"/>
          </a:p>
        </p:txBody>
      </p:sp>
    </p:spTree>
    <p:extLst>
      <p:ext uri="{BB962C8B-B14F-4D97-AF65-F5344CB8AC3E}">
        <p14:creationId xmlns:p14="http://schemas.microsoft.com/office/powerpoint/2010/main" val="399361067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F86858-8839-AEA6-59AA-285416E472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FDDAB0-126C-F813-A8DC-022975A1AC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0A2566-F00B-6ED2-DB80-C8B8C3D28B7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1EC63B5-B6E9-AA5D-9FCE-0F7F56FF7B9F}"/>
              </a:ext>
            </a:extLst>
          </p:cNvPr>
          <p:cNvSpPr>
            <a:spLocks noGrp="1"/>
          </p:cNvSpPr>
          <p:nvPr>
            <p:ph type="sldNum" sz="quarter" idx="5"/>
          </p:nvPr>
        </p:nvSpPr>
        <p:spPr/>
        <p:txBody>
          <a:bodyPr/>
          <a:lstStyle/>
          <a:p>
            <a:pPr>
              <a:defRPr/>
            </a:pPr>
            <a:fld id="{30376BD1-2E4C-7E4B-BB5B-B253D71D6D7F}" type="slidenum">
              <a:rPr lang="en-US" smtClean="0"/>
              <a:pPr>
                <a:defRPr/>
              </a:pPr>
              <a:t>48</a:t>
            </a:fld>
            <a:endParaRPr lang="en-US"/>
          </a:p>
        </p:txBody>
      </p:sp>
    </p:spTree>
    <p:extLst>
      <p:ext uri="{BB962C8B-B14F-4D97-AF65-F5344CB8AC3E}">
        <p14:creationId xmlns:p14="http://schemas.microsoft.com/office/powerpoint/2010/main" val="35087310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defTabSz="941923">
              <a:defRPr/>
            </a:pPr>
            <a:r>
              <a:rPr lang="en-US">
                <a:solidFill>
                  <a:prstClr val="black"/>
                </a:solidFill>
                <a:latin typeface="Calibri" panose="020F0502020204030204"/>
              </a:rPr>
              <a:t>Presentation Title</a:t>
            </a:r>
          </a:p>
        </p:txBody>
      </p:sp>
      <p:sp>
        <p:nvSpPr>
          <p:cNvPr id="5" name="Date Placeholder 4"/>
          <p:cNvSpPr>
            <a:spLocks noGrp="1"/>
          </p:cNvSpPr>
          <p:nvPr>
            <p:ph type="dt" idx="1"/>
          </p:nvPr>
        </p:nvSpPr>
        <p:spPr/>
        <p:txBody>
          <a:bodyPr/>
          <a:lstStyle/>
          <a:p>
            <a:pPr defTabSz="941923">
              <a:defRPr/>
            </a:pPr>
            <a:fld id="{CD9B17D6-D9A8-D847-8F91-B91B380ED254}" type="datetime1">
              <a:rPr lang="en-US">
                <a:solidFill>
                  <a:prstClr val="black"/>
                </a:solidFill>
                <a:latin typeface="Calibri" panose="020F0502020204030204"/>
              </a:rPr>
              <a:pPr defTabSz="941923">
                <a:defRPr/>
              </a:pPr>
              <a:t>1/31/2025</a:t>
            </a:fld>
            <a:endParaRPr lang="en-US">
              <a:solidFill>
                <a:prstClr val="black"/>
              </a:solidFill>
              <a:latin typeface="Calibri" panose="020F0502020204030204"/>
            </a:endParaRPr>
          </a:p>
        </p:txBody>
      </p:sp>
      <p:sp>
        <p:nvSpPr>
          <p:cNvPr id="6" name="Slide Number Placeholder 5"/>
          <p:cNvSpPr>
            <a:spLocks noGrp="1"/>
          </p:cNvSpPr>
          <p:nvPr>
            <p:ph type="sldNum" sz="quarter" idx="5"/>
          </p:nvPr>
        </p:nvSpPr>
        <p:spPr/>
        <p:txBody>
          <a:bodyPr/>
          <a:lstStyle/>
          <a:p>
            <a:pPr defTabSz="941923">
              <a:defRPr/>
            </a:pPr>
            <a:fld id="{1BE009A8-0C93-E046-9A12-3E9DA893E999}" type="slidenum">
              <a:rPr lang="en-US">
                <a:solidFill>
                  <a:prstClr val="black"/>
                </a:solidFill>
                <a:latin typeface="Calibri" panose="020F0502020204030204"/>
              </a:rPr>
              <a:pPr defTabSz="941923">
                <a:defRPr/>
              </a:pPr>
              <a:t>50</a:t>
            </a:fld>
            <a:endParaRPr lang="en-US">
              <a:solidFill>
                <a:prstClr val="black"/>
              </a:solidFill>
              <a:latin typeface="Calibri" panose="020F0502020204030204"/>
            </a:endParaRPr>
          </a:p>
        </p:txBody>
      </p:sp>
    </p:spTree>
    <p:extLst>
      <p:ext uri="{BB962C8B-B14F-4D97-AF65-F5344CB8AC3E}">
        <p14:creationId xmlns:p14="http://schemas.microsoft.com/office/powerpoint/2010/main" val="22171537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470962">
              <a:defRPr/>
            </a:pPr>
            <a:fld id="{9B12E8BE-4BBE-8A43-8656-E20BBFF5E8C9}" type="slidenum">
              <a:rPr lang="en-US">
                <a:solidFill>
                  <a:prstClr val="black"/>
                </a:solidFill>
              </a:rPr>
              <a:pPr defTabSz="470962">
                <a:defRPr/>
              </a:pPr>
              <a:t>7</a:t>
            </a:fld>
            <a:endParaRPr lang="en-US">
              <a:solidFill>
                <a:prstClr val="black"/>
              </a:solidFill>
            </a:endParaRPr>
          </a:p>
        </p:txBody>
      </p:sp>
    </p:spTree>
    <p:extLst>
      <p:ext uri="{BB962C8B-B14F-4D97-AF65-F5344CB8AC3E}">
        <p14:creationId xmlns:p14="http://schemas.microsoft.com/office/powerpoint/2010/main" val="10800317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470962">
              <a:defRPr/>
            </a:pPr>
            <a:fld id="{30376BD1-2E4C-7E4B-BB5B-B253D71D6D7F}" type="slidenum">
              <a:rPr lang="en-US">
                <a:solidFill>
                  <a:prstClr val="black"/>
                </a:solidFill>
              </a:rPr>
              <a:pPr defTabSz="470962">
                <a:defRPr/>
              </a:pPr>
              <a:t>8</a:t>
            </a:fld>
            <a:endParaRPr lang="en-US">
              <a:solidFill>
                <a:prstClr val="black"/>
              </a:solidFill>
            </a:endParaRPr>
          </a:p>
        </p:txBody>
      </p:sp>
    </p:spTree>
    <p:extLst>
      <p:ext uri="{BB962C8B-B14F-4D97-AF65-F5344CB8AC3E}">
        <p14:creationId xmlns:p14="http://schemas.microsoft.com/office/powerpoint/2010/main" val="30097642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defTabSz="470962">
              <a:defRPr/>
            </a:pPr>
            <a:fld id="{9B12E8BE-4BBE-8A43-8656-E20BBFF5E8C9}" type="slidenum">
              <a:rPr lang="en-US">
                <a:solidFill>
                  <a:prstClr val="black"/>
                </a:solidFill>
              </a:rPr>
              <a:pPr defTabSz="470962">
                <a:defRPr/>
              </a:pPr>
              <a:t>9</a:t>
            </a:fld>
            <a:endParaRPr lang="en-US">
              <a:solidFill>
                <a:prstClr val="black"/>
              </a:solidFill>
            </a:endParaRPr>
          </a:p>
        </p:txBody>
      </p:sp>
    </p:spTree>
    <p:extLst>
      <p:ext uri="{BB962C8B-B14F-4D97-AF65-F5344CB8AC3E}">
        <p14:creationId xmlns:p14="http://schemas.microsoft.com/office/powerpoint/2010/main" val="2329869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5"/>
          </p:nvPr>
        </p:nvSpPr>
        <p:spPr/>
        <p:txBody>
          <a:bodyPr/>
          <a:lstStyle/>
          <a:p>
            <a:pPr defTabSz="470962">
              <a:defRPr/>
            </a:pPr>
            <a:fld id="{9B12E8BE-4BBE-8A43-8656-E20BBFF5E8C9}" type="slidenum">
              <a:rPr lang="en-US">
                <a:solidFill>
                  <a:prstClr val="black"/>
                </a:solidFill>
              </a:rPr>
              <a:pPr defTabSz="470962">
                <a:defRPr/>
              </a:pPr>
              <a:t>10</a:t>
            </a:fld>
            <a:endParaRPr lang="en-US">
              <a:solidFill>
                <a:prstClr val="black"/>
              </a:solidFill>
            </a:endParaRPr>
          </a:p>
        </p:txBody>
      </p:sp>
    </p:spTree>
    <p:extLst>
      <p:ext uri="{BB962C8B-B14F-4D97-AF65-F5344CB8AC3E}">
        <p14:creationId xmlns:p14="http://schemas.microsoft.com/office/powerpoint/2010/main" val="14496884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DB1D59-7CB1-0C10-8984-E6516C8D6B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8DC3C7-FBFA-23EE-1552-87AF4A4A53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E5A340-68BC-9170-5A0F-11D46265C40A}"/>
              </a:ext>
            </a:extLst>
          </p:cNvPr>
          <p:cNvSpPr>
            <a:spLocks noGrp="1"/>
          </p:cNvSpPr>
          <p:nvPr>
            <p:ph type="body" idx="1"/>
          </p:nvPr>
        </p:nvSpPr>
        <p:spPr/>
        <p:txBody>
          <a:bodyPr/>
          <a:lstStyle/>
          <a:p>
            <a:endParaRPr lang="en-US" b="0"/>
          </a:p>
        </p:txBody>
      </p:sp>
      <p:sp>
        <p:nvSpPr>
          <p:cNvPr id="4" name="Slide Number Placeholder 3">
            <a:extLst>
              <a:ext uri="{FF2B5EF4-FFF2-40B4-BE49-F238E27FC236}">
                <a16:creationId xmlns:a16="http://schemas.microsoft.com/office/drawing/2014/main" id="{110EBFA6-DF7E-A56C-A5F7-CBDA013B3D1F}"/>
              </a:ext>
            </a:extLst>
          </p:cNvPr>
          <p:cNvSpPr>
            <a:spLocks noGrp="1"/>
          </p:cNvSpPr>
          <p:nvPr>
            <p:ph type="sldNum" sz="quarter" idx="5"/>
          </p:nvPr>
        </p:nvSpPr>
        <p:spPr/>
        <p:txBody>
          <a:bodyPr/>
          <a:lstStyle/>
          <a:p>
            <a:pPr defTabSz="470962">
              <a:defRPr/>
            </a:pPr>
            <a:fld id="{9B12E8BE-4BBE-8A43-8656-E20BBFF5E8C9}" type="slidenum">
              <a:rPr lang="en-US">
                <a:solidFill>
                  <a:prstClr val="black"/>
                </a:solidFill>
              </a:rPr>
              <a:pPr defTabSz="470962">
                <a:defRPr/>
              </a:pPr>
              <a:t>11</a:t>
            </a:fld>
            <a:endParaRPr lang="en-US">
              <a:solidFill>
                <a:prstClr val="black"/>
              </a:solidFill>
            </a:endParaRPr>
          </a:p>
        </p:txBody>
      </p:sp>
    </p:spTree>
    <p:extLst>
      <p:ext uri="{BB962C8B-B14F-4D97-AF65-F5344CB8AC3E}">
        <p14:creationId xmlns:p14="http://schemas.microsoft.com/office/powerpoint/2010/main" val="1740338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w/ Image">
    <p:spTree>
      <p:nvGrpSpPr>
        <p:cNvPr id="1" name=""/>
        <p:cNvGrpSpPr/>
        <p:nvPr/>
      </p:nvGrpSpPr>
      <p:grpSpPr>
        <a:xfrm>
          <a:off x="0" y="0"/>
          <a:ext cx="0" cy="0"/>
          <a:chOff x="0" y="0"/>
          <a:chExt cx="0" cy="0"/>
        </a:xfrm>
      </p:grpSpPr>
      <p:sp>
        <p:nvSpPr>
          <p:cNvPr id="5" name="Picture Placeholder 3">
            <a:extLst>
              <a:ext uri="{FF2B5EF4-FFF2-40B4-BE49-F238E27FC236}">
                <a16:creationId xmlns:a16="http://schemas.microsoft.com/office/drawing/2014/main" id="{3FD1B140-E768-9349-BB52-F77A0C5FBDB2}"/>
              </a:ext>
            </a:extLst>
          </p:cNvPr>
          <p:cNvSpPr>
            <a:spLocks noGrp="1"/>
          </p:cNvSpPr>
          <p:nvPr>
            <p:ph type="pic" sz="quarter" idx="12"/>
          </p:nvPr>
        </p:nvSpPr>
        <p:spPr>
          <a:xfrm>
            <a:off x="0" y="888423"/>
            <a:ext cx="9144000" cy="4255077"/>
          </a:xfrm>
          <a:solidFill>
            <a:schemeClr val="tx1">
              <a:lumMod val="50000"/>
            </a:schemeClr>
          </a:solidFill>
        </p:spPr>
        <p:txBody>
          <a:bodyPr tIns="457200">
            <a:normAutofit/>
          </a:bodyPr>
          <a:lstStyle>
            <a:lvl1pPr marL="0" indent="0" algn="ctr">
              <a:buFontTx/>
              <a:buNone/>
              <a:defRPr sz="1600">
                <a:solidFill>
                  <a:schemeClr val="tx1">
                    <a:lumMod val="20000"/>
                    <a:lumOff val="80000"/>
                  </a:schemeClr>
                </a:solidFill>
              </a:defRPr>
            </a:lvl1pPr>
          </a:lstStyle>
          <a:p>
            <a:r>
              <a:rPr lang="en-US"/>
              <a:t>Click icon to add picture</a:t>
            </a:r>
          </a:p>
        </p:txBody>
      </p:sp>
      <p:sp>
        <p:nvSpPr>
          <p:cNvPr id="2" name="Title 1"/>
          <p:cNvSpPr>
            <a:spLocks noGrp="1"/>
          </p:cNvSpPr>
          <p:nvPr>
            <p:ph type="title" hasCustomPrompt="1"/>
          </p:nvPr>
        </p:nvSpPr>
        <p:spPr>
          <a:xfrm>
            <a:off x="504294" y="274638"/>
            <a:ext cx="8106305" cy="513211"/>
          </a:xfrm>
        </p:spPr>
        <p:txBody>
          <a:bodyPr/>
          <a:lstStyle>
            <a:lvl1pPr>
              <a:lnSpc>
                <a:spcPct val="90000"/>
              </a:lnSpc>
              <a:defRPr sz="2800" b="1" cap="none" baseline="0">
                <a:solidFill>
                  <a:schemeClr val="tx1"/>
                </a:solidFill>
              </a:defRPr>
            </a:lvl1pPr>
          </a:lstStyle>
          <a:p>
            <a:r>
              <a:rPr lang="en-US"/>
              <a:t>Click to edit master title style</a:t>
            </a:r>
          </a:p>
        </p:txBody>
      </p:sp>
      <p:sp>
        <p:nvSpPr>
          <p:cNvPr id="8" name="Slide Number Placeholder 5"/>
          <p:cNvSpPr txBox="1">
            <a:spLocks/>
          </p:cNvSpPr>
          <p:nvPr userDrawn="1"/>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spTree>
    <p:extLst>
      <p:ext uri="{BB962C8B-B14F-4D97-AF65-F5344CB8AC3E}">
        <p14:creationId xmlns:p14="http://schemas.microsoft.com/office/powerpoint/2010/main" val="25681575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Icon or Image Chunking: Two Item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Icon or Image Chunking: Two Items</a:t>
            </a:r>
          </a:p>
        </p:txBody>
      </p:sp>
      <p:sp>
        <p:nvSpPr>
          <p:cNvPr id="3" name="Content Placeholder 11"/>
          <p:cNvSpPr>
            <a:spLocks noGrp="1"/>
          </p:cNvSpPr>
          <p:nvPr>
            <p:ph sz="quarter" idx="12" hasCustomPrompt="1"/>
          </p:nvPr>
        </p:nvSpPr>
        <p:spPr>
          <a:xfrm>
            <a:off x="628650" y="1280161"/>
            <a:ext cx="3777888" cy="1907177"/>
          </a:xfrm>
          <a:prstGeom prst="rect">
            <a:avLst/>
          </a:prstGeom>
        </p:spPr>
        <p:txBody>
          <a:bodyPr lIns="182880" tIns="0" rIns="182880" bIns="0" anchor="ctr">
            <a:normAutofit/>
          </a:bodyPr>
          <a:lstStyle>
            <a:lvl1pPr marL="0" indent="0" algn="ctr">
              <a:buNone/>
              <a:defRPr sz="1400" b="0" i="0" baseline="0">
                <a:latin typeface="PS TT Commons Light" charset="0"/>
                <a:ea typeface="PS TT Commons Light" charset="0"/>
                <a:cs typeface="PS TT Commons Light" charset="0"/>
              </a:defRPr>
            </a:lvl1pPr>
            <a:lvl2pPr marL="297065" indent="0" algn="l">
              <a:buNone/>
              <a:defRPr sz="2200"/>
            </a:lvl2pPr>
            <a:lvl3pPr marL="596161" indent="0" algn="l">
              <a:buNone/>
              <a:defRPr sz="2200"/>
            </a:lvl3pPr>
            <a:lvl4pPr marL="883054" indent="0" algn="l">
              <a:buNone/>
              <a:defRPr sz="2200"/>
            </a:lvl4pPr>
            <a:lvl5pPr marL="1096694" indent="0" algn="l">
              <a:buNone/>
              <a:defRPr sz="2200"/>
            </a:lvl5pPr>
          </a:lstStyle>
          <a:p>
            <a:pPr lvl="0"/>
            <a:r>
              <a:rPr lang="en-US"/>
              <a:t>To add image or icon, click the </a:t>
            </a:r>
            <a:br>
              <a:rPr lang="en-US"/>
            </a:br>
            <a:r>
              <a:rPr lang="en-US"/>
              <a:t>image icon or paste in</a:t>
            </a:r>
          </a:p>
        </p:txBody>
      </p:sp>
      <p:sp>
        <p:nvSpPr>
          <p:cNvPr id="4" name="Text Placeholder 3"/>
          <p:cNvSpPr>
            <a:spLocks noGrp="1"/>
          </p:cNvSpPr>
          <p:nvPr>
            <p:ph type="body" sz="quarter" idx="14" hasCustomPrompt="1"/>
          </p:nvPr>
        </p:nvSpPr>
        <p:spPr>
          <a:xfrm>
            <a:off x="628652" y="3380116"/>
            <a:ext cx="3777886" cy="1200595"/>
          </a:xfrm>
          <a:prstGeom prst="rect">
            <a:avLst/>
          </a:prstGeom>
        </p:spPr>
        <p:txBody>
          <a:bodyPr lIns="182880" tIns="0" rIns="182880" bIns="0">
            <a:noAutofit/>
          </a:bodyPr>
          <a:lstStyle>
            <a:lvl1pPr marL="0" indent="0" algn="ctr">
              <a:lnSpc>
                <a:spcPct val="100000"/>
              </a:lnSpc>
              <a:spcBef>
                <a:spcPts val="0"/>
              </a:spcBef>
              <a:buNone/>
              <a:defRPr sz="1700" b="0" i="0">
                <a:latin typeface="+mn-lt"/>
                <a:ea typeface="PS TT Commons Light" charset="0"/>
                <a:cs typeface="PS TT Commons Light" charset="0"/>
              </a:defRPr>
            </a:lvl1pPr>
            <a:lvl2pPr>
              <a:defRPr/>
            </a:lvl2pPr>
          </a:lstStyle>
          <a:p>
            <a:pPr lvl="0"/>
            <a:r>
              <a:rPr lang="en-US"/>
              <a:t>Add text here</a:t>
            </a:r>
          </a:p>
        </p:txBody>
      </p:sp>
      <p:sp>
        <p:nvSpPr>
          <p:cNvPr id="7" name="Content Placeholder 11"/>
          <p:cNvSpPr>
            <a:spLocks noGrp="1"/>
          </p:cNvSpPr>
          <p:nvPr>
            <p:ph sz="quarter" idx="15" hasCustomPrompt="1"/>
          </p:nvPr>
        </p:nvSpPr>
        <p:spPr>
          <a:xfrm>
            <a:off x="4737465" y="1280161"/>
            <a:ext cx="3777885" cy="1907177"/>
          </a:xfrm>
          <a:prstGeom prst="rect">
            <a:avLst/>
          </a:prstGeom>
        </p:spPr>
        <p:txBody>
          <a:bodyPr lIns="182880" tIns="0" rIns="182880" bIns="0" anchor="ctr">
            <a:normAutofit/>
          </a:bodyPr>
          <a:lstStyle>
            <a:lvl1pPr marL="0" indent="0" algn="ctr">
              <a:buNone/>
              <a:defRPr sz="1400" b="0" i="0" baseline="0">
                <a:latin typeface="PS TT Commons Light" charset="0"/>
                <a:ea typeface="PS TT Commons Light" charset="0"/>
                <a:cs typeface="PS TT Commons Light" charset="0"/>
              </a:defRPr>
            </a:lvl1pPr>
            <a:lvl2pPr marL="297065" indent="0" algn="l">
              <a:buNone/>
              <a:defRPr sz="2200"/>
            </a:lvl2pPr>
            <a:lvl3pPr marL="596161" indent="0" algn="l">
              <a:buNone/>
              <a:defRPr sz="2200"/>
            </a:lvl3pPr>
            <a:lvl4pPr marL="883054" indent="0" algn="l">
              <a:buNone/>
              <a:defRPr sz="2200"/>
            </a:lvl4pPr>
            <a:lvl5pPr marL="1096694" indent="0" algn="l">
              <a:buNone/>
              <a:defRPr sz="2200"/>
            </a:lvl5pPr>
          </a:lstStyle>
          <a:p>
            <a:pPr lvl="0"/>
            <a:r>
              <a:rPr lang="en-US"/>
              <a:t>To add image or icon, click the </a:t>
            </a:r>
            <a:br>
              <a:rPr lang="en-US"/>
            </a:br>
            <a:r>
              <a:rPr lang="en-US"/>
              <a:t>image icon or paste in</a:t>
            </a:r>
          </a:p>
        </p:txBody>
      </p:sp>
      <p:sp>
        <p:nvSpPr>
          <p:cNvPr id="9" name="Text Placeholder 3"/>
          <p:cNvSpPr>
            <a:spLocks noGrp="1"/>
          </p:cNvSpPr>
          <p:nvPr>
            <p:ph type="body" sz="quarter" idx="16" hasCustomPrompt="1"/>
          </p:nvPr>
        </p:nvSpPr>
        <p:spPr>
          <a:xfrm>
            <a:off x="4737465" y="3380116"/>
            <a:ext cx="3777886" cy="1200595"/>
          </a:xfrm>
          <a:prstGeom prst="rect">
            <a:avLst/>
          </a:prstGeom>
        </p:spPr>
        <p:txBody>
          <a:bodyPr lIns="182880" tIns="0" rIns="182880" bIns="0">
            <a:noAutofit/>
          </a:bodyPr>
          <a:lstStyle>
            <a:lvl1pPr marL="0" indent="0" algn="ctr">
              <a:lnSpc>
                <a:spcPct val="100000"/>
              </a:lnSpc>
              <a:spcBef>
                <a:spcPts val="0"/>
              </a:spcBef>
              <a:buNone/>
              <a:defRPr sz="1700" b="0" i="0">
                <a:latin typeface="+mn-lt"/>
                <a:ea typeface="PS TT Commons Light" charset="0"/>
                <a:cs typeface="PS TT Commons Light" charset="0"/>
              </a:defRPr>
            </a:lvl1pPr>
            <a:lvl2pPr>
              <a:defRPr/>
            </a:lvl2pPr>
          </a:lstStyle>
          <a:p>
            <a:pPr lvl="0"/>
            <a:r>
              <a:rPr lang="en-US"/>
              <a:t>Add text here</a:t>
            </a:r>
          </a:p>
        </p:txBody>
      </p:sp>
    </p:spTree>
    <p:extLst>
      <p:ext uri="{BB962C8B-B14F-4D97-AF65-F5344CB8AC3E}">
        <p14:creationId xmlns:p14="http://schemas.microsoft.com/office/powerpoint/2010/main" val="6409811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295" y="274639"/>
            <a:ext cx="8106305" cy="513211"/>
          </a:xfrm>
        </p:spPr>
        <p:txBody>
          <a:bodyPr/>
          <a:lstStyle>
            <a:lvl1pPr>
              <a:lnSpc>
                <a:spcPct val="90000"/>
              </a:lnSpc>
              <a:defRPr sz="2800" b="1" cap="none" baseline="0">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495301" y="1446757"/>
            <a:ext cx="8117072" cy="3104127"/>
          </a:xfrm>
        </p:spPr>
        <p:txBody>
          <a:bodyPr tIns="0" bIns="0">
            <a:noAutofit/>
          </a:bodyPr>
          <a:lstStyle>
            <a:lvl1pPr marL="171446" indent="-171446">
              <a:buClr>
                <a:schemeClr val="accent5"/>
              </a:buClr>
              <a:buFont typeface="Arial" charset="0"/>
              <a:buChar char="•"/>
              <a:defRPr sz="2000">
                <a:solidFill>
                  <a:schemeClr val="tx1"/>
                </a:solidFill>
              </a:defRPr>
            </a:lvl1pPr>
            <a:lvl2pPr marL="514337" indent="-171446">
              <a:buClr>
                <a:schemeClr val="tx1">
                  <a:lumMod val="60000"/>
                  <a:lumOff val="40000"/>
                </a:schemeClr>
              </a:buClr>
              <a:buFont typeface="Helvetica" charset="0"/>
              <a:buChar char="-"/>
              <a:defRPr sz="1800">
                <a:solidFill>
                  <a:schemeClr val="tx1"/>
                </a:solidFill>
              </a:defRPr>
            </a:lvl2pPr>
            <a:lvl3pPr marL="688958" indent="-114297">
              <a:buClr>
                <a:schemeClr val="tx1">
                  <a:lumMod val="60000"/>
                  <a:lumOff val="40000"/>
                </a:schemeClr>
              </a:buClr>
              <a:buSzPct val="70000"/>
              <a:buFont typeface="Arial" charset="0"/>
              <a:buChar char="•"/>
              <a:tabLst/>
              <a:defRPr sz="1600" baseline="0">
                <a:solidFill>
                  <a:schemeClr val="tx1"/>
                </a:solidFill>
              </a:defRPr>
            </a:lvl3pPr>
            <a:lvl4pPr marL="915965" indent="-112710">
              <a:buClr>
                <a:schemeClr val="tx1">
                  <a:lumMod val="60000"/>
                  <a:lumOff val="40000"/>
                </a:schemeClr>
              </a:buClr>
              <a:buSzPct val="70000"/>
              <a:buFont typeface="Arial" charset="0"/>
              <a:buChar char="•"/>
              <a:tabLst/>
              <a:defRPr sz="1600">
                <a:solidFill>
                  <a:schemeClr val="tx1"/>
                </a:solidFill>
              </a:defRPr>
            </a:lvl4pPr>
            <a:lvl5pPr marL="1144559" indent="-115885">
              <a:buClr>
                <a:schemeClr val="tx1">
                  <a:lumMod val="60000"/>
                  <a:lumOff val="40000"/>
                </a:schemeClr>
              </a:buClr>
              <a:buSzPct val="70000"/>
              <a:buFont typeface="Arial" charset="0"/>
              <a:buChar char="•"/>
              <a:tabLst/>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txBox="1">
            <a:spLocks/>
          </p:cNvSpPr>
          <p:nvPr userDrawn="1"/>
        </p:nvSpPr>
        <p:spPr>
          <a:xfrm>
            <a:off x="8581835" y="4754564"/>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sp>
        <p:nvSpPr>
          <p:cNvPr id="11" name="Text Placeholder 10"/>
          <p:cNvSpPr>
            <a:spLocks noGrp="1"/>
          </p:cNvSpPr>
          <p:nvPr>
            <p:ph type="body" sz="quarter" idx="11"/>
          </p:nvPr>
        </p:nvSpPr>
        <p:spPr>
          <a:xfrm>
            <a:off x="504295" y="787851"/>
            <a:ext cx="8106305" cy="243662"/>
          </a:xfrm>
        </p:spPr>
        <p:txBody>
          <a:bodyPr tIns="0" bIns="0">
            <a:noAutofit/>
          </a:bodyPr>
          <a:lstStyle>
            <a:lvl1pPr marL="0" indent="0">
              <a:spcBef>
                <a:spcPts val="0"/>
              </a:spcBef>
              <a:buFontTx/>
              <a:buNone/>
              <a:defRPr sz="2000">
                <a:solidFill>
                  <a:schemeClr val="accent5"/>
                </a:solidFill>
              </a:defRPr>
            </a:lvl1pPr>
            <a:lvl2pPr marL="342892" indent="0">
              <a:buFontTx/>
              <a:buNone/>
              <a:defRPr sz="1600">
                <a:solidFill>
                  <a:schemeClr val="tx1">
                    <a:lumMod val="60000"/>
                    <a:lumOff val="40000"/>
                  </a:schemeClr>
                </a:solidFill>
              </a:defRPr>
            </a:lvl2pPr>
            <a:lvl3pPr marL="685783" indent="0">
              <a:buFontTx/>
              <a:buNone/>
              <a:defRPr sz="1600">
                <a:solidFill>
                  <a:schemeClr val="tx1">
                    <a:lumMod val="60000"/>
                    <a:lumOff val="40000"/>
                  </a:schemeClr>
                </a:solidFill>
              </a:defRPr>
            </a:lvl3pPr>
            <a:lvl4pPr marL="1028675" indent="0">
              <a:buFontTx/>
              <a:buNone/>
              <a:defRPr sz="1600">
                <a:solidFill>
                  <a:schemeClr val="tx1">
                    <a:lumMod val="60000"/>
                    <a:lumOff val="40000"/>
                  </a:schemeClr>
                </a:solidFill>
              </a:defRPr>
            </a:lvl4pPr>
            <a:lvl5pPr marL="1371566" indent="0">
              <a:buFontTx/>
              <a:buNone/>
              <a:defRPr sz="1600">
                <a:solidFill>
                  <a:schemeClr val="tx1">
                    <a:lumMod val="60000"/>
                    <a:lumOff val="40000"/>
                  </a:schemeClr>
                </a:solidFill>
              </a:defRPr>
            </a:lvl5pPr>
          </a:lstStyle>
          <a:p>
            <a:pPr lvl="0"/>
            <a:r>
              <a:rPr lang="en-US"/>
              <a:t>Edit Master text styles</a:t>
            </a:r>
          </a:p>
        </p:txBody>
      </p:sp>
    </p:spTree>
    <p:extLst>
      <p:ext uri="{BB962C8B-B14F-4D97-AF65-F5344CB8AC3E}">
        <p14:creationId xmlns:p14="http://schemas.microsoft.com/office/powerpoint/2010/main" val="29075201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Titl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294" y="84445"/>
            <a:ext cx="8106305" cy="513211"/>
          </a:xfrm>
        </p:spPr>
        <p:txBody>
          <a:bodyPr/>
          <a:lstStyle>
            <a:lvl1pPr>
              <a:lnSpc>
                <a:spcPct val="90000"/>
              </a:lnSpc>
              <a:defRPr sz="2400" b="1" cap="none" baseline="0">
                <a:solidFill>
                  <a:schemeClr val="tx1"/>
                </a:solidFill>
              </a:defRPr>
            </a:lvl1pPr>
          </a:lstStyle>
          <a:p>
            <a:r>
              <a:rPr lang="en-US"/>
              <a:t>Click to edit master title style</a:t>
            </a:r>
          </a:p>
        </p:txBody>
      </p:sp>
      <p:sp>
        <p:nvSpPr>
          <p:cNvPr id="8" name="Slide Number Placeholder 5"/>
          <p:cNvSpPr txBox="1">
            <a:spLocks/>
          </p:cNvSpPr>
          <p:nvPr userDrawn="1"/>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spTree>
    <p:custDataLst>
      <p:tags r:id="rId1"/>
    </p:custDataLst>
    <p:extLst>
      <p:ext uri="{BB962C8B-B14F-4D97-AF65-F5344CB8AC3E}">
        <p14:creationId xmlns:p14="http://schemas.microsoft.com/office/powerpoint/2010/main" val="13985885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w/ Image">
    <p:spTree>
      <p:nvGrpSpPr>
        <p:cNvPr id="1" name=""/>
        <p:cNvGrpSpPr/>
        <p:nvPr/>
      </p:nvGrpSpPr>
      <p:grpSpPr>
        <a:xfrm>
          <a:off x="0" y="0"/>
          <a:ext cx="0" cy="0"/>
          <a:chOff x="0" y="0"/>
          <a:chExt cx="0" cy="0"/>
        </a:xfrm>
      </p:grpSpPr>
      <p:sp>
        <p:nvSpPr>
          <p:cNvPr id="5" name="Picture Placeholder 3">
            <a:extLst>
              <a:ext uri="{FF2B5EF4-FFF2-40B4-BE49-F238E27FC236}">
                <a16:creationId xmlns:a16="http://schemas.microsoft.com/office/drawing/2014/main" id="{3FD1B140-E768-9349-BB52-F77A0C5FBDB2}"/>
              </a:ext>
            </a:extLst>
          </p:cNvPr>
          <p:cNvSpPr>
            <a:spLocks noGrp="1"/>
          </p:cNvSpPr>
          <p:nvPr>
            <p:ph type="pic" sz="quarter" idx="12"/>
          </p:nvPr>
        </p:nvSpPr>
        <p:spPr>
          <a:xfrm>
            <a:off x="0" y="888423"/>
            <a:ext cx="9144000" cy="4255077"/>
          </a:xfrm>
          <a:solidFill>
            <a:schemeClr val="tx1">
              <a:lumMod val="50000"/>
            </a:schemeClr>
          </a:solidFill>
        </p:spPr>
        <p:txBody>
          <a:bodyPr tIns="457200">
            <a:normAutofit/>
          </a:bodyPr>
          <a:lstStyle>
            <a:lvl1pPr marL="0" indent="0" algn="ctr">
              <a:buFontTx/>
              <a:buNone/>
              <a:defRPr sz="1600">
                <a:solidFill>
                  <a:schemeClr val="tx1">
                    <a:lumMod val="20000"/>
                    <a:lumOff val="80000"/>
                  </a:schemeClr>
                </a:solidFill>
              </a:defRPr>
            </a:lvl1pPr>
          </a:lstStyle>
          <a:p>
            <a:r>
              <a:rPr lang="en-US"/>
              <a:t>Click icon to add picture</a:t>
            </a:r>
          </a:p>
        </p:txBody>
      </p:sp>
      <p:sp>
        <p:nvSpPr>
          <p:cNvPr id="2" name="Title 1"/>
          <p:cNvSpPr>
            <a:spLocks noGrp="1"/>
          </p:cNvSpPr>
          <p:nvPr>
            <p:ph type="title" hasCustomPrompt="1"/>
          </p:nvPr>
        </p:nvSpPr>
        <p:spPr>
          <a:xfrm>
            <a:off x="504294" y="274638"/>
            <a:ext cx="8106305" cy="513211"/>
          </a:xfrm>
        </p:spPr>
        <p:txBody>
          <a:bodyPr/>
          <a:lstStyle>
            <a:lvl1pPr>
              <a:lnSpc>
                <a:spcPct val="90000"/>
              </a:lnSpc>
              <a:defRPr sz="2800" b="1" cap="none" baseline="0">
                <a:solidFill>
                  <a:schemeClr val="tx1"/>
                </a:solidFill>
              </a:defRPr>
            </a:lvl1pPr>
          </a:lstStyle>
          <a:p>
            <a:r>
              <a:rPr lang="en-US"/>
              <a:t>Click to edit master title style</a:t>
            </a:r>
          </a:p>
        </p:txBody>
      </p:sp>
      <p:sp>
        <p:nvSpPr>
          <p:cNvPr id="8" name="Slide Number Placeholder 5"/>
          <p:cNvSpPr txBox="1">
            <a:spLocks/>
          </p:cNvSpPr>
          <p:nvPr userDrawn="1"/>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spTree>
    <p:extLst>
      <p:ext uri="{BB962C8B-B14F-4D97-AF65-F5344CB8AC3E}">
        <p14:creationId xmlns:p14="http://schemas.microsoft.com/office/powerpoint/2010/main" val="37702568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nd- Appendix">
    <p:bg>
      <p:bgRef idx="1001">
        <a:schemeClr val="bg2"/>
      </p:bgRef>
    </p:bg>
    <p:spTree>
      <p:nvGrpSpPr>
        <p:cNvPr id="1" name=""/>
        <p:cNvGrpSpPr/>
        <p:nvPr/>
      </p:nvGrpSpPr>
      <p:grpSpPr>
        <a:xfrm>
          <a:off x="0" y="0"/>
          <a:ext cx="0" cy="0"/>
          <a:chOff x="0" y="0"/>
          <a:chExt cx="0" cy="0"/>
        </a:xfrm>
      </p:grpSpPr>
      <p:pic>
        <p:nvPicPr>
          <p:cNvPr id="8" name="Picture 7" descr="A black background with green lines&#10;&#10;Description automatically generated">
            <a:extLst>
              <a:ext uri="{FF2B5EF4-FFF2-40B4-BE49-F238E27FC236}">
                <a16:creationId xmlns:a16="http://schemas.microsoft.com/office/drawing/2014/main" id="{8A559919-4E94-0D09-D59B-D78DB4C2CAD8}"/>
              </a:ext>
            </a:extLst>
          </p:cNvPr>
          <p:cNvPicPr>
            <a:picLocks noChangeAspect="1"/>
          </p:cNvPicPr>
          <p:nvPr userDrawn="1"/>
        </p:nvPicPr>
        <p:blipFill rotWithShape="1">
          <a:blip r:embed="rId2"/>
          <a:srcRect r="13650"/>
          <a:stretch/>
        </p:blipFill>
        <p:spPr>
          <a:xfrm flipV="1">
            <a:off x="1248216" y="0"/>
            <a:ext cx="7895784" cy="5143500"/>
          </a:xfrm>
          <a:prstGeom prst="rect">
            <a:avLst/>
          </a:prstGeom>
        </p:spPr>
      </p:pic>
      <p:pic>
        <p:nvPicPr>
          <p:cNvPr id="7" name="Picture 6" descr="A black background with green lines&#10;&#10;Description automatically generated">
            <a:extLst>
              <a:ext uri="{FF2B5EF4-FFF2-40B4-BE49-F238E27FC236}">
                <a16:creationId xmlns:a16="http://schemas.microsoft.com/office/drawing/2014/main" id="{08C28AA4-24E2-AEB6-7F25-DB964665F401}"/>
              </a:ext>
            </a:extLst>
          </p:cNvPr>
          <p:cNvPicPr>
            <a:picLocks noChangeAspect="1"/>
          </p:cNvPicPr>
          <p:nvPr userDrawn="1"/>
        </p:nvPicPr>
        <p:blipFill rotWithShape="1">
          <a:blip r:embed="rId3"/>
          <a:srcRect l="13288" t="5512"/>
          <a:stretch/>
        </p:blipFill>
        <p:spPr>
          <a:xfrm>
            <a:off x="1" y="0"/>
            <a:ext cx="8391473" cy="5143500"/>
          </a:xfrm>
          <a:prstGeom prst="rect">
            <a:avLst/>
          </a:prstGeom>
        </p:spPr>
      </p:pic>
      <p:pic>
        <p:nvPicPr>
          <p:cNvPr id="11" name="Graphic 10">
            <a:extLst>
              <a:ext uri="{FF2B5EF4-FFF2-40B4-BE49-F238E27FC236}">
                <a16:creationId xmlns:a16="http://schemas.microsoft.com/office/drawing/2014/main" id="{23149500-7912-3E96-5FB3-CBDE4B593135}"/>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323784" y="1184844"/>
            <a:ext cx="2496432" cy="1386907"/>
          </a:xfrm>
          <a:prstGeom prst="rect">
            <a:avLst/>
          </a:prstGeom>
        </p:spPr>
      </p:pic>
      <p:sp>
        <p:nvSpPr>
          <p:cNvPr id="5" name="Subtitle 2">
            <a:extLst>
              <a:ext uri="{FF2B5EF4-FFF2-40B4-BE49-F238E27FC236}">
                <a16:creationId xmlns:a16="http://schemas.microsoft.com/office/drawing/2014/main" id="{9FD58846-2F05-9B9A-3023-E9972305255B}"/>
              </a:ext>
            </a:extLst>
          </p:cNvPr>
          <p:cNvSpPr>
            <a:spLocks noGrp="1"/>
          </p:cNvSpPr>
          <p:nvPr>
            <p:ph type="subTitle" idx="1" hasCustomPrompt="1"/>
          </p:nvPr>
        </p:nvSpPr>
        <p:spPr>
          <a:xfrm>
            <a:off x="2454965" y="3132533"/>
            <a:ext cx="4234070" cy="826124"/>
          </a:xfrm>
        </p:spPr>
        <p:txBody>
          <a:bodyPr anchor="t">
            <a:noAutofit/>
          </a:bodyPr>
          <a:lstStyle>
            <a:lvl1pPr marL="0" indent="0" algn="ctr">
              <a:buNone/>
              <a:defRPr sz="2400" b="1" i="0">
                <a:solidFill>
                  <a:schemeClr val="accent4"/>
                </a:solidFill>
                <a:latin typeface="Inter SemiBold" panose="02000503000000020004" pitchFamily="2" charset="0"/>
                <a:ea typeface="Inter SemiBold" panose="02000503000000020004"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lvl="0"/>
            <a:r>
              <a:rPr lang="en-US"/>
              <a:t>Appendix</a:t>
            </a:r>
          </a:p>
        </p:txBody>
      </p:sp>
    </p:spTree>
    <p:extLst>
      <p:ext uri="{BB962C8B-B14F-4D97-AF65-F5344CB8AC3E}">
        <p14:creationId xmlns:p14="http://schemas.microsoft.com/office/powerpoint/2010/main" val="358912646"/>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295" y="274639"/>
            <a:ext cx="8106305" cy="513211"/>
          </a:xfrm>
        </p:spPr>
        <p:txBody>
          <a:bodyPr/>
          <a:lstStyle>
            <a:lvl1pPr>
              <a:lnSpc>
                <a:spcPct val="90000"/>
              </a:lnSpc>
              <a:defRPr sz="2800" b="1" cap="none" baseline="0">
                <a:solidFill>
                  <a:schemeClr val="tx1"/>
                </a:solidFill>
              </a:defRPr>
            </a:lvl1pPr>
          </a:lstStyle>
          <a:p>
            <a:r>
              <a:rPr lang="en-US"/>
              <a:t>Click to edit master title style</a:t>
            </a:r>
          </a:p>
        </p:txBody>
      </p:sp>
      <p:sp>
        <p:nvSpPr>
          <p:cNvPr id="8" name="Slide Number Placeholder 5"/>
          <p:cNvSpPr txBox="1">
            <a:spLocks/>
          </p:cNvSpPr>
          <p:nvPr userDrawn="1"/>
        </p:nvSpPr>
        <p:spPr>
          <a:xfrm>
            <a:off x="8581835" y="4754564"/>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spTree>
    <p:extLst>
      <p:ext uri="{BB962C8B-B14F-4D97-AF65-F5344CB8AC3E}">
        <p14:creationId xmlns:p14="http://schemas.microsoft.com/office/powerpoint/2010/main" val="10329406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294" y="274638"/>
            <a:ext cx="8106305" cy="513211"/>
          </a:xfrm>
        </p:spPr>
        <p:txBody>
          <a:bodyPr/>
          <a:lstStyle>
            <a:lvl1pPr>
              <a:lnSpc>
                <a:spcPct val="90000"/>
              </a:lnSpc>
              <a:defRPr sz="2800" b="1" cap="none" baseline="0">
                <a:solidFill>
                  <a:schemeClr val="tx1"/>
                </a:solidFill>
              </a:defRPr>
            </a:lvl1pPr>
          </a:lstStyle>
          <a:p>
            <a:r>
              <a:rPr lang="en-US"/>
              <a:t>Click to edit master title style</a:t>
            </a:r>
          </a:p>
        </p:txBody>
      </p:sp>
      <p:sp>
        <p:nvSpPr>
          <p:cNvPr id="6" name="Text Placeholder 5"/>
          <p:cNvSpPr>
            <a:spLocks noGrp="1"/>
          </p:cNvSpPr>
          <p:nvPr>
            <p:ph type="body" sz="quarter" idx="10"/>
          </p:nvPr>
        </p:nvSpPr>
        <p:spPr>
          <a:xfrm>
            <a:off x="495300" y="1446756"/>
            <a:ext cx="8117072" cy="3104127"/>
          </a:xfrm>
        </p:spPr>
        <p:txBody>
          <a:bodyPr tIns="0" bIns="0">
            <a:noAutofit/>
          </a:bodyPr>
          <a:lstStyle>
            <a:lvl1pPr marL="171450" indent="-171450">
              <a:buClr>
                <a:schemeClr val="accent5"/>
              </a:buClr>
              <a:buFont typeface="Arial" charset="0"/>
              <a:buChar char="•"/>
              <a:defRPr sz="2000">
                <a:solidFill>
                  <a:schemeClr val="tx1"/>
                </a:solidFill>
              </a:defRPr>
            </a:lvl1pPr>
            <a:lvl2pPr marL="514350" indent="-171450">
              <a:buClr>
                <a:schemeClr val="tx1">
                  <a:lumMod val="60000"/>
                  <a:lumOff val="40000"/>
                </a:schemeClr>
              </a:buClr>
              <a:buFont typeface="Helvetica" charset="0"/>
              <a:buChar char="-"/>
              <a:defRPr sz="1800">
                <a:solidFill>
                  <a:schemeClr val="tx1"/>
                </a:solidFill>
              </a:defRPr>
            </a:lvl2pPr>
            <a:lvl3pPr marL="688975" indent="-114300">
              <a:buClr>
                <a:schemeClr val="tx1">
                  <a:lumMod val="60000"/>
                  <a:lumOff val="40000"/>
                </a:schemeClr>
              </a:buClr>
              <a:buSzPct val="70000"/>
              <a:buFont typeface="Arial" charset="0"/>
              <a:buChar char="•"/>
              <a:tabLst/>
              <a:defRPr sz="1600" baseline="0">
                <a:solidFill>
                  <a:schemeClr val="tx1"/>
                </a:solidFill>
              </a:defRPr>
            </a:lvl3pPr>
            <a:lvl4pPr marL="915988" indent="-112713">
              <a:buClr>
                <a:schemeClr val="tx1">
                  <a:lumMod val="60000"/>
                  <a:lumOff val="40000"/>
                </a:schemeClr>
              </a:buClr>
              <a:buSzPct val="70000"/>
              <a:buFont typeface="Arial" charset="0"/>
              <a:buChar char="•"/>
              <a:tabLst/>
              <a:defRPr sz="1600">
                <a:solidFill>
                  <a:schemeClr val="tx1"/>
                </a:solidFill>
              </a:defRPr>
            </a:lvl4pPr>
            <a:lvl5pPr marL="1144588" indent="-115888">
              <a:buClr>
                <a:schemeClr val="tx1">
                  <a:lumMod val="60000"/>
                  <a:lumOff val="40000"/>
                </a:schemeClr>
              </a:buClr>
              <a:buSzPct val="70000"/>
              <a:buFont typeface="Arial" charset="0"/>
              <a:buChar char="•"/>
              <a:tabLst/>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txBox="1">
            <a:spLocks/>
          </p:cNvSpPr>
          <p:nvPr userDrawn="1"/>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sp>
        <p:nvSpPr>
          <p:cNvPr id="11" name="Text Placeholder 10"/>
          <p:cNvSpPr>
            <a:spLocks noGrp="1"/>
          </p:cNvSpPr>
          <p:nvPr>
            <p:ph type="body" sz="quarter" idx="11"/>
          </p:nvPr>
        </p:nvSpPr>
        <p:spPr>
          <a:xfrm>
            <a:off x="504294" y="787850"/>
            <a:ext cx="8106305" cy="243662"/>
          </a:xfrm>
        </p:spPr>
        <p:txBody>
          <a:bodyPr tIns="0" bIns="0">
            <a:noAutofit/>
          </a:bodyPr>
          <a:lstStyle>
            <a:lvl1pPr marL="0" indent="0">
              <a:spcBef>
                <a:spcPts val="0"/>
              </a:spcBef>
              <a:buFontTx/>
              <a:buNone/>
              <a:defRPr sz="2000">
                <a:solidFill>
                  <a:schemeClr val="accent5"/>
                </a:solidFill>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Edit Master text styles</a:t>
            </a:r>
          </a:p>
        </p:txBody>
      </p:sp>
    </p:spTree>
    <p:custDataLst>
      <p:tags r:id="rId1"/>
    </p:custDataLst>
    <p:extLst>
      <p:ext uri="{BB962C8B-B14F-4D97-AF65-F5344CB8AC3E}">
        <p14:creationId xmlns:p14="http://schemas.microsoft.com/office/powerpoint/2010/main" val="21850840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49288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04294" y="274639"/>
            <a:ext cx="8106305" cy="391380"/>
          </a:xfrm>
        </p:spPr>
        <p:txBody>
          <a:bodyPr vert="horz"/>
          <a:lstStyle>
            <a:lvl1pPr rtl="0">
              <a:lnSpc>
                <a:spcPct val="90000"/>
              </a:lnSpc>
              <a:defRPr sz="2800"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6" name="Text Placeholder 5"/>
          <p:cNvSpPr>
            <a:spLocks noGrp="1"/>
          </p:cNvSpPr>
          <p:nvPr>
            <p:ph type="body" sz="quarter" idx="10" hasCustomPrompt="1"/>
          </p:nvPr>
        </p:nvSpPr>
        <p:spPr>
          <a:xfrm>
            <a:off x="495300" y="1195252"/>
            <a:ext cx="8117072" cy="3355632"/>
          </a:xfrm>
        </p:spPr>
        <p:txBody>
          <a:bodyPr tIns="0" bIns="0">
            <a:noAutofit/>
          </a:bodyPr>
          <a:lstStyle>
            <a:lvl1pPr marL="171450" indent="-171450" rtl="0">
              <a:buClr>
                <a:schemeClr val="accent5"/>
              </a:buClr>
              <a:buFont typeface="Arial" charset="0"/>
              <a:buChar char="•"/>
              <a:defRPr sz="200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514350" indent="-171450" rtl="0">
              <a:buClr>
                <a:schemeClr val="tx1">
                  <a:lumMod val="60000"/>
                  <a:lumOff val="40000"/>
                </a:schemeClr>
              </a:buClr>
              <a:buFont typeface="Helvetica" charset="0"/>
              <a:buChar char="-"/>
              <a:defRPr sz="1800">
                <a:solidFill>
                  <a:schemeClr val="tx1"/>
                </a:solidFill>
                <a:latin typeface="Arial" panose="020B0604020202020204" pitchFamily="34" charset="0"/>
                <a:cs typeface="Arial" panose="020B0604020202020204" pitchFamily="34" charset="0"/>
                <a:sym typeface="Arial" panose="020B0604020202020204" pitchFamily="34" charset="0"/>
              </a:defRPr>
            </a:lvl2pPr>
            <a:lvl3pPr marL="688975" indent="-114300" rtl="0">
              <a:buClr>
                <a:schemeClr val="tx1">
                  <a:lumMod val="60000"/>
                  <a:lumOff val="40000"/>
                </a:schemeClr>
              </a:buClr>
              <a:buSzPct val="70000"/>
              <a:buFont typeface="Arial" charset="0"/>
              <a:buChar char="•"/>
              <a:tabLst/>
              <a:defRPr sz="1600" baseline="0">
                <a:solidFill>
                  <a:schemeClr val="tx1"/>
                </a:solidFill>
                <a:latin typeface="Arial" panose="020B0604020202020204" pitchFamily="34" charset="0"/>
                <a:cs typeface="Arial" panose="020B0604020202020204" pitchFamily="34" charset="0"/>
                <a:sym typeface="Arial" panose="020B0604020202020204" pitchFamily="34" charset="0"/>
              </a:defRPr>
            </a:lvl3pPr>
            <a:lvl4pPr marL="915988" indent="-112713" rtl="0">
              <a:buClr>
                <a:schemeClr val="tx1">
                  <a:lumMod val="60000"/>
                  <a:lumOff val="40000"/>
                </a:schemeClr>
              </a:buClr>
              <a:buSzPct val="70000"/>
              <a:buFont typeface="Arial" charset="0"/>
              <a:buChar char="•"/>
              <a:tabLst/>
              <a:defRPr sz="1600">
                <a:solidFill>
                  <a:schemeClr val="tx1"/>
                </a:solidFill>
                <a:latin typeface="Arial" panose="020B0604020202020204" pitchFamily="34" charset="0"/>
                <a:cs typeface="Arial" panose="020B0604020202020204" pitchFamily="34" charset="0"/>
                <a:sym typeface="Arial" panose="020B0604020202020204" pitchFamily="34" charset="0"/>
              </a:defRPr>
            </a:lvl4pPr>
            <a:lvl5pPr marL="1144588" indent="-115888" rtl="0">
              <a:buClr>
                <a:schemeClr val="tx1">
                  <a:lumMod val="60000"/>
                  <a:lumOff val="40000"/>
                </a:schemeClr>
              </a:buClr>
              <a:buSzPct val="70000"/>
              <a:buFont typeface="Arial" charset="0"/>
              <a:buChar char="•"/>
              <a:tabLst/>
              <a:defRPr sz="1600">
                <a:solidFill>
                  <a:schemeClr val="tx1"/>
                </a:solidFill>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800"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11" name="Text Placeholder 10"/>
          <p:cNvSpPr>
            <a:spLocks noGrp="1"/>
          </p:cNvSpPr>
          <p:nvPr>
            <p:ph type="body" sz="quarter" idx="11" hasCustomPrompt="1"/>
          </p:nvPr>
        </p:nvSpPr>
        <p:spPr>
          <a:xfrm>
            <a:off x="504294" y="730406"/>
            <a:ext cx="8106305" cy="243662"/>
          </a:xfrm>
        </p:spPr>
        <p:txBody>
          <a:bodyPr tIns="0" bIns="0">
            <a:noAutofit/>
          </a:bodyPr>
          <a:lstStyle>
            <a:lvl1pPr marL="0" indent="0" rtl="0">
              <a:spcBef>
                <a:spcPts val="0"/>
              </a:spcBef>
              <a:buFontTx/>
              <a:buNone/>
              <a:defRPr sz="2000">
                <a:solidFill>
                  <a:schemeClr val="accent5"/>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Click to edit master text styles</a:t>
            </a:r>
          </a:p>
        </p:txBody>
      </p:sp>
      <p:grpSp>
        <p:nvGrpSpPr>
          <p:cNvPr id="9" name="Group 8">
            <a:extLst>
              <a:ext uri="{FF2B5EF4-FFF2-40B4-BE49-F238E27FC236}">
                <a16:creationId xmlns:a16="http://schemas.microsoft.com/office/drawing/2014/main" id="{704C4AB5-F68F-5271-34CC-583BEE75C324}"/>
              </a:ext>
            </a:extLst>
          </p:cNvPr>
          <p:cNvGrpSpPr/>
          <p:nvPr userDrawn="1"/>
        </p:nvGrpSpPr>
        <p:grpSpPr>
          <a:xfrm>
            <a:off x="-248194" y="359229"/>
            <a:ext cx="173853" cy="1051560"/>
            <a:chOff x="-111034" y="359229"/>
            <a:chExt cx="1158022" cy="1051560"/>
          </a:xfrm>
        </p:grpSpPr>
        <p:cxnSp>
          <p:nvCxnSpPr>
            <p:cNvPr id="5" name="Straight Connector 4">
              <a:extLst>
                <a:ext uri="{FF2B5EF4-FFF2-40B4-BE49-F238E27FC236}">
                  <a16:creationId xmlns:a16="http://schemas.microsoft.com/office/drawing/2014/main" id="{0BE078D9-B28C-9ABB-B628-1E78AE2EBFE4}"/>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22C2688-657D-AEF0-CFB9-6345D81C7F4A}"/>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121C83E-077F-ABA4-2E91-7B1CF1FE8C6C}"/>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0FC8082-9BE6-7E8A-6BCB-262857A3B147}"/>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D9FE133-CC26-041F-947D-7C50501DD130}"/>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2BAF269-2331-3715-C501-AD7B397BDF80}"/>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41263357"/>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Content (No Sub)">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37334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04294" y="274638"/>
            <a:ext cx="8106305" cy="513211"/>
          </a:xfrm>
        </p:spPr>
        <p:txBody>
          <a:bodyPr vert="horz"/>
          <a:lstStyle>
            <a:lvl1pPr rtl="0">
              <a:lnSpc>
                <a:spcPct val="90000"/>
              </a:lnSpc>
              <a:defRPr sz="2800"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8"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800"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9" name="Slide Number Placeholder 5">
            <a:extLst>
              <a:ext uri="{FF2B5EF4-FFF2-40B4-BE49-F238E27FC236}">
                <a16:creationId xmlns:a16="http://schemas.microsoft.com/office/drawing/2014/main" id="{B02982BD-CE65-794E-AA5D-470908267218}"/>
              </a:ext>
            </a:extLst>
          </p:cNvPr>
          <p:cNvSpPr txBox="1">
            <a:spLocks/>
          </p:cNvSpPr>
          <p:nvPr userDrawn="1"/>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sp>
        <p:nvSpPr>
          <p:cNvPr id="10" name="Text Placeholder 5">
            <a:extLst>
              <a:ext uri="{FF2B5EF4-FFF2-40B4-BE49-F238E27FC236}">
                <a16:creationId xmlns:a16="http://schemas.microsoft.com/office/drawing/2014/main" id="{370EBF32-3EE7-914A-08BE-A29D454E7E80}"/>
              </a:ext>
            </a:extLst>
          </p:cNvPr>
          <p:cNvSpPr>
            <a:spLocks noGrp="1"/>
          </p:cNvSpPr>
          <p:nvPr>
            <p:ph type="body" sz="quarter" idx="10" hasCustomPrompt="1"/>
          </p:nvPr>
        </p:nvSpPr>
        <p:spPr>
          <a:xfrm>
            <a:off x="495300" y="1195252"/>
            <a:ext cx="8117072" cy="3355632"/>
          </a:xfrm>
        </p:spPr>
        <p:txBody>
          <a:bodyPr tIns="0" bIns="0">
            <a:noAutofit/>
          </a:bodyPr>
          <a:lstStyle>
            <a:lvl1pPr marL="171450" indent="-171450" rtl="0">
              <a:buClr>
                <a:schemeClr val="accent5"/>
              </a:buClr>
              <a:buFont typeface="Arial" charset="0"/>
              <a:buChar char="•"/>
              <a:defRPr sz="200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514350" indent="-171450" rtl="0">
              <a:buClr>
                <a:schemeClr val="tx1">
                  <a:lumMod val="60000"/>
                  <a:lumOff val="40000"/>
                </a:schemeClr>
              </a:buClr>
              <a:buFont typeface="Helvetica" charset="0"/>
              <a:buChar char="-"/>
              <a:defRPr sz="1800">
                <a:solidFill>
                  <a:schemeClr val="tx1"/>
                </a:solidFill>
                <a:latin typeface="Arial" panose="020B0604020202020204" pitchFamily="34" charset="0"/>
                <a:cs typeface="Arial" panose="020B0604020202020204" pitchFamily="34" charset="0"/>
                <a:sym typeface="Arial" panose="020B0604020202020204" pitchFamily="34" charset="0"/>
              </a:defRPr>
            </a:lvl2pPr>
            <a:lvl3pPr marL="688975" indent="-114300" rtl="0">
              <a:buClr>
                <a:schemeClr val="tx1">
                  <a:lumMod val="60000"/>
                  <a:lumOff val="40000"/>
                </a:schemeClr>
              </a:buClr>
              <a:buSzPct val="70000"/>
              <a:buFont typeface="Arial" charset="0"/>
              <a:buChar char="•"/>
              <a:tabLst/>
              <a:defRPr sz="1600" baseline="0">
                <a:solidFill>
                  <a:schemeClr val="tx1"/>
                </a:solidFill>
                <a:latin typeface="Arial" panose="020B0604020202020204" pitchFamily="34" charset="0"/>
                <a:cs typeface="Arial" panose="020B0604020202020204" pitchFamily="34" charset="0"/>
                <a:sym typeface="Arial" panose="020B0604020202020204" pitchFamily="34" charset="0"/>
              </a:defRPr>
            </a:lvl3pPr>
            <a:lvl4pPr marL="915988" indent="-112713" rtl="0">
              <a:buClr>
                <a:schemeClr val="tx1">
                  <a:lumMod val="60000"/>
                  <a:lumOff val="40000"/>
                </a:schemeClr>
              </a:buClr>
              <a:buSzPct val="70000"/>
              <a:buFont typeface="Arial" charset="0"/>
              <a:buChar char="•"/>
              <a:tabLst/>
              <a:defRPr sz="1600">
                <a:solidFill>
                  <a:schemeClr val="tx1"/>
                </a:solidFill>
                <a:latin typeface="Arial" panose="020B0604020202020204" pitchFamily="34" charset="0"/>
                <a:cs typeface="Arial" panose="020B0604020202020204" pitchFamily="34" charset="0"/>
                <a:sym typeface="Arial" panose="020B0604020202020204" pitchFamily="34" charset="0"/>
              </a:defRPr>
            </a:lvl4pPr>
            <a:lvl5pPr marL="1144588" indent="-115888" rtl="0">
              <a:buClr>
                <a:schemeClr val="tx1">
                  <a:lumMod val="60000"/>
                  <a:lumOff val="40000"/>
                </a:schemeClr>
              </a:buClr>
              <a:buSzPct val="70000"/>
              <a:buFont typeface="Arial" charset="0"/>
              <a:buChar char="•"/>
              <a:tabLst/>
              <a:defRPr sz="1600">
                <a:solidFill>
                  <a:schemeClr val="tx1"/>
                </a:solidFill>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a:extLst>
              <a:ext uri="{FF2B5EF4-FFF2-40B4-BE49-F238E27FC236}">
                <a16:creationId xmlns:a16="http://schemas.microsoft.com/office/drawing/2014/main" id="{363ECD69-E7D2-FC78-1AD8-2020AECEE3BF}"/>
              </a:ext>
            </a:extLst>
          </p:cNvPr>
          <p:cNvGrpSpPr/>
          <p:nvPr userDrawn="1"/>
        </p:nvGrpSpPr>
        <p:grpSpPr>
          <a:xfrm>
            <a:off x="-248194" y="359229"/>
            <a:ext cx="173853" cy="1051560"/>
            <a:chOff x="-111034" y="359229"/>
            <a:chExt cx="1158022" cy="1051560"/>
          </a:xfrm>
        </p:grpSpPr>
        <p:cxnSp>
          <p:nvCxnSpPr>
            <p:cNvPr id="19" name="Straight Connector 18">
              <a:extLst>
                <a:ext uri="{FF2B5EF4-FFF2-40B4-BE49-F238E27FC236}">
                  <a16:creationId xmlns:a16="http://schemas.microsoft.com/office/drawing/2014/main" id="{288BDCA2-126C-285A-840C-610CABDBA411}"/>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BBA0F05-0A5F-0000-BBC7-CD14B092CFFA}"/>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207DCC3-9F0A-3EB7-476C-9E135767D4C6}"/>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136513F-9326-85FF-6DC6-68B65ED9F62C}"/>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8095A34-F2E2-A3C2-889D-8F8E2BE4A63B}"/>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FE67A5F-3E16-0F4C-E296-05C4282E4150}"/>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311675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124351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04294" y="274638"/>
            <a:ext cx="8106305" cy="513211"/>
          </a:xfrm>
        </p:spPr>
        <p:txBody>
          <a:bodyPr vert="horz"/>
          <a:lstStyle>
            <a:lvl1pPr rtl="0">
              <a:lnSpc>
                <a:spcPct val="90000"/>
              </a:lnSpc>
              <a:defRPr sz="2400"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8"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800"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7" name="Slide Number Placeholder 5">
            <a:extLst>
              <a:ext uri="{FF2B5EF4-FFF2-40B4-BE49-F238E27FC236}">
                <a16:creationId xmlns:a16="http://schemas.microsoft.com/office/drawing/2014/main" id="{256660C7-4F0B-524E-A704-AE273120CEAD}"/>
              </a:ext>
            </a:extLst>
          </p:cNvPr>
          <p:cNvSpPr txBox="1">
            <a:spLocks/>
          </p:cNvSpPr>
          <p:nvPr userDrawn="1"/>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grpSp>
        <p:nvGrpSpPr>
          <p:cNvPr id="16" name="Group 15">
            <a:extLst>
              <a:ext uri="{FF2B5EF4-FFF2-40B4-BE49-F238E27FC236}">
                <a16:creationId xmlns:a16="http://schemas.microsoft.com/office/drawing/2014/main" id="{5B662FDE-3372-F845-930A-5A4AB8A12913}"/>
              </a:ext>
            </a:extLst>
          </p:cNvPr>
          <p:cNvGrpSpPr/>
          <p:nvPr userDrawn="1"/>
        </p:nvGrpSpPr>
        <p:grpSpPr>
          <a:xfrm>
            <a:off x="-248194" y="359229"/>
            <a:ext cx="173853" cy="1051560"/>
            <a:chOff x="-111034" y="359229"/>
            <a:chExt cx="1158022" cy="1051560"/>
          </a:xfrm>
        </p:grpSpPr>
        <p:cxnSp>
          <p:nvCxnSpPr>
            <p:cNvPr id="17" name="Straight Connector 16">
              <a:extLst>
                <a:ext uri="{FF2B5EF4-FFF2-40B4-BE49-F238E27FC236}">
                  <a16:creationId xmlns:a16="http://schemas.microsoft.com/office/drawing/2014/main" id="{A8BDFB93-DAB0-7331-5B8D-C7B5FF075DA2}"/>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ADF8273-2642-CB11-6922-172DAF18BF55}"/>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C3AD34E-0F3F-8DEB-A432-648A86D77512}"/>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9F162CD-15F4-B095-9716-F236FD847C47}"/>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C414CB8-2E07-09E5-51E5-33FBE0A9C874}"/>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9F48E30-7C9D-AFF2-5085-B6206F9CC116}"/>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057262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Divider (tanzanit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B11B86A-3463-2F78-8EFB-7554D2E57A93}"/>
              </a:ext>
            </a:extLst>
          </p:cNvPr>
          <p:cNvSpPr/>
          <p:nvPr userDrawn="1"/>
        </p:nvSpPr>
        <p:spPr>
          <a:xfrm>
            <a:off x="0" y="0"/>
            <a:ext cx="9144000" cy="5143500"/>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Title 1"/>
          <p:cNvSpPr>
            <a:spLocks noGrp="1"/>
          </p:cNvSpPr>
          <p:nvPr>
            <p:ph type="title" hasCustomPrompt="1"/>
          </p:nvPr>
        </p:nvSpPr>
        <p:spPr>
          <a:xfrm>
            <a:off x="504295" y="1100376"/>
            <a:ext cx="4070304" cy="1757287"/>
          </a:xfrm>
        </p:spPr>
        <p:txBody>
          <a:bodyPr anchor="b"/>
          <a:lstStyle>
            <a:lvl1pPr>
              <a:lnSpc>
                <a:spcPct val="90000"/>
              </a:lnSpc>
              <a:defRPr sz="3600" b="1" cap="none" baseline="0">
                <a:solidFill>
                  <a:srgbClr val="FFFFFF"/>
                </a:solidFill>
              </a:defRPr>
            </a:lvl1pPr>
          </a:lstStyle>
          <a:p>
            <a:r>
              <a:rPr lang="en-US"/>
              <a:t>This is a divider slide with 3 lines for a long title</a:t>
            </a:r>
          </a:p>
        </p:txBody>
      </p:sp>
      <p:sp>
        <p:nvSpPr>
          <p:cNvPr id="12" name="Text Placeholder 10"/>
          <p:cNvSpPr>
            <a:spLocks noGrp="1"/>
          </p:cNvSpPr>
          <p:nvPr>
            <p:ph type="body" sz="quarter" idx="11"/>
          </p:nvPr>
        </p:nvSpPr>
        <p:spPr>
          <a:xfrm>
            <a:off x="504294" y="2857663"/>
            <a:ext cx="4070303" cy="854178"/>
          </a:xfrm>
        </p:spPr>
        <p:txBody>
          <a:bodyPr tIns="0" bIns="0">
            <a:noAutofit/>
          </a:bodyPr>
          <a:lstStyle>
            <a:lvl1pPr marL="0" indent="0">
              <a:spcBef>
                <a:spcPts val="0"/>
              </a:spcBef>
              <a:buFontTx/>
              <a:buNone/>
              <a:defRPr sz="2000">
                <a:solidFill>
                  <a:srgbClr val="FFFFFF"/>
                </a:solidFill>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Click to edit Master text styles</a:t>
            </a:r>
          </a:p>
        </p:txBody>
      </p:sp>
      <p:sp>
        <p:nvSpPr>
          <p:cNvPr id="16"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smtClean="0">
                <a:solidFill>
                  <a:srgbClr val="53565B">
                    <a:lumMod val="60000"/>
                    <a:lumOff val="40000"/>
                  </a:srgbClr>
                </a:solidFill>
                <a:latin typeface="Arial" charset="0"/>
                <a:cs typeface="Arial" charset="0"/>
              </a:rPr>
              <a:pPr fontAlgn="auto">
                <a:spcBef>
                  <a:spcPts val="0"/>
                </a:spcBef>
                <a:spcAft>
                  <a:spcPts val="0"/>
                </a:spcAft>
                <a:defRPr/>
              </a:pPr>
              <a:t>‹#›</a:t>
            </a:fld>
            <a:endParaRPr lang="en-US" sz="800">
              <a:solidFill>
                <a:srgbClr val="53565B">
                  <a:lumMod val="60000"/>
                  <a:lumOff val="40000"/>
                </a:srgbClr>
              </a:solidFill>
              <a:latin typeface="Arial" charset="0"/>
              <a:cs typeface="Arial" charset="0"/>
            </a:endParaRPr>
          </a:p>
        </p:txBody>
      </p:sp>
    </p:spTree>
    <p:extLst>
      <p:ext uri="{BB962C8B-B14F-4D97-AF65-F5344CB8AC3E}">
        <p14:creationId xmlns:p14="http://schemas.microsoft.com/office/powerpoint/2010/main" val="987202377"/>
      </p:ext>
    </p:extLst>
  </p:cSld>
  <p:clrMapOvr>
    <a:overrideClrMapping bg1="dk1" tx1="lt1" bg2="dk2" tx2="lt2" accent1="accent1" accent2="accent2" accent3="accent3" accent4="accent4" accent5="accent5" accent6="accent6" hlink="hlink" folHlink="folHlink"/>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cSld name="Icon or Image Chunking: Three Item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Icon or Image Chunking: Three Items</a:t>
            </a:r>
          </a:p>
        </p:txBody>
      </p:sp>
      <p:sp>
        <p:nvSpPr>
          <p:cNvPr id="3" name="Content Placeholder 11"/>
          <p:cNvSpPr>
            <a:spLocks noGrp="1"/>
          </p:cNvSpPr>
          <p:nvPr>
            <p:ph sz="quarter" idx="12" hasCustomPrompt="1"/>
          </p:nvPr>
        </p:nvSpPr>
        <p:spPr>
          <a:xfrm>
            <a:off x="628651" y="1515291"/>
            <a:ext cx="2489020" cy="1828800"/>
          </a:xfrm>
          <a:prstGeom prst="rect">
            <a:avLst/>
          </a:prstGeom>
        </p:spPr>
        <p:txBody>
          <a:bodyPr lIns="182880" tIns="0" rIns="182880" bIns="0" anchor="ctr">
            <a:normAutofit/>
          </a:bodyPr>
          <a:lstStyle>
            <a:lvl1pPr marL="0" indent="0" algn="ctr">
              <a:buNone/>
              <a:defRPr sz="1400" b="0" i="0" baseline="0">
                <a:latin typeface="PS TT Commons Light" charset="0"/>
                <a:ea typeface="PS TT Commons Light" charset="0"/>
                <a:cs typeface="PS TT Commons Light" charset="0"/>
              </a:defRPr>
            </a:lvl1pPr>
            <a:lvl2pPr marL="297065" indent="0" algn="l">
              <a:buNone/>
              <a:defRPr sz="2200"/>
            </a:lvl2pPr>
            <a:lvl3pPr marL="596161" indent="0" algn="l">
              <a:buNone/>
              <a:defRPr sz="2200"/>
            </a:lvl3pPr>
            <a:lvl4pPr marL="883054" indent="0" algn="l">
              <a:buNone/>
              <a:defRPr sz="2200"/>
            </a:lvl4pPr>
            <a:lvl5pPr marL="1096694" indent="0" algn="l">
              <a:buNone/>
              <a:defRPr sz="2200"/>
            </a:lvl5pPr>
          </a:lstStyle>
          <a:p>
            <a:pPr lvl="0"/>
            <a:r>
              <a:rPr lang="en-US"/>
              <a:t>To add image or icon, click the image icon or paste in</a:t>
            </a:r>
          </a:p>
        </p:txBody>
      </p:sp>
      <p:sp>
        <p:nvSpPr>
          <p:cNvPr id="4" name="Text Placeholder 3"/>
          <p:cNvSpPr>
            <a:spLocks noGrp="1"/>
          </p:cNvSpPr>
          <p:nvPr>
            <p:ph type="body" sz="quarter" idx="14" hasCustomPrompt="1"/>
          </p:nvPr>
        </p:nvSpPr>
        <p:spPr>
          <a:xfrm>
            <a:off x="628652" y="3519453"/>
            <a:ext cx="2489019" cy="1241391"/>
          </a:xfrm>
          <a:prstGeom prst="rect">
            <a:avLst/>
          </a:prstGeom>
        </p:spPr>
        <p:txBody>
          <a:bodyPr lIns="182880" tIns="0" rIns="182880" bIns="0">
            <a:noAutofit/>
          </a:bodyPr>
          <a:lstStyle>
            <a:lvl1pPr marL="0" indent="0" algn="ctr">
              <a:lnSpc>
                <a:spcPct val="100000"/>
              </a:lnSpc>
              <a:spcBef>
                <a:spcPts val="0"/>
              </a:spcBef>
              <a:buNone/>
              <a:defRPr sz="1700" b="0" i="0">
                <a:latin typeface="+mn-lt"/>
                <a:ea typeface="PS TT Commons Light" charset="0"/>
                <a:cs typeface="PS TT Commons Light" charset="0"/>
              </a:defRPr>
            </a:lvl1pPr>
            <a:lvl2pPr>
              <a:defRPr/>
            </a:lvl2pPr>
          </a:lstStyle>
          <a:p>
            <a:pPr lvl="0"/>
            <a:r>
              <a:rPr lang="en-US"/>
              <a:t>Add text here</a:t>
            </a:r>
          </a:p>
        </p:txBody>
      </p:sp>
      <p:sp>
        <p:nvSpPr>
          <p:cNvPr id="9" name="Content Placeholder 11"/>
          <p:cNvSpPr>
            <a:spLocks noGrp="1"/>
          </p:cNvSpPr>
          <p:nvPr>
            <p:ph sz="quarter" idx="15" hasCustomPrompt="1"/>
          </p:nvPr>
        </p:nvSpPr>
        <p:spPr>
          <a:xfrm>
            <a:off x="6026332" y="1515291"/>
            <a:ext cx="2489019" cy="1828800"/>
          </a:xfrm>
          <a:prstGeom prst="rect">
            <a:avLst/>
          </a:prstGeom>
        </p:spPr>
        <p:txBody>
          <a:bodyPr lIns="182880" tIns="0" rIns="182880" bIns="0" anchor="ctr">
            <a:normAutofit/>
          </a:bodyPr>
          <a:lstStyle>
            <a:lvl1pPr marL="0" indent="0" algn="ctr">
              <a:buNone/>
              <a:defRPr sz="1400" b="0" i="0" baseline="0">
                <a:latin typeface="PS TT Commons Light" charset="0"/>
                <a:ea typeface="PS TT Commons Light" charset="0"/>
                <a:cs typeface="PS TT Commons Light" charset="0"/>
              </a:defRPr>
            </a:lvl1pPr>
            <a:lvl2pPr marL="297065" indent="0" algn="l">
              <a:buNone/>
              <a:defRPr sz="2200"/>
            </a:lvl2pPr>
            <a:lvl3pPr marL="596161" indent="0" algn="l">
              <a:buNone/>
              <a:defRPr sz="2200"/>
            </a:lvl3pPr>
            <a:lvl4pPr marL="883054" indent="0" algn="l">
              <a:buNone/>
              <a:defRPr sz="2200"/>
            </a:lvl4pPr>
            <a:lvl5pPr marL="1096694" indent="0" algn="l">
              <a:buNone/>
              <a:defRPr sz="2200"/>
            </a:lvl5pPr>
          </a:lstStyle>
          <a:p>
            <a:pPr lvl="0"/>
            <a:r>
              <a:rPr lang="en-US"/>
              <a:t>To add image or icon, click the image icon or paste in</a:t>
            </a:r>
          </a:p>
        </p:txBody>
      </p:sp>
      <p:sp>
        <p:nvSpPr>
          <p:cNvPr id="10" name="Text Placeholder 3"/>
          <p:cNvSpPr>
            <a:spLocks noGrp="1"/>
          </p:cNvSpPr>
          <p:nvPr>
            <p:ph type="body" sz="quarter" idx="16" hasCustomPrompt="1"/>
          </p:nvPr>
        </p:nvSpPr>
        <p:spPr>
          <a:xfrm>
            <a:off x="6026333" y="3519453"/>
            <a:ext cx="2489019" cy="1241391"/>
          </a:xfrm>
          <a:prstGeom prst="rect">
            <a:avLst/>
          </a:prstGeom>
        </p:spPr>
        <p:txBody>
          <a:bodyPr lIns="182880" tIns="0" rIns="182880" bIns="0">
            <a:noAutofit/>
          </a:bodyPr>
          <a:lstStyle>
            <a:lvl1pPr marL="0" indent="0" algn="ctr">
              <a:lnSpc>
                <a:spcPct val="100000"/>
              </a:lnSpc>
              <a:spcBef>
                <a:spcPts val="0"/>
              </a:spcBef>
              <a:buNone/>
              <a:defRPr sz="1700" b="0" i="0">
                <a:latin typeface="+mn-lt"/>
                <a:ea typeface="PS TT Commons Light" charset="0"/>
                <a:cs typeface="PS TT Commons Light" charset="0"/>
              </a:defRPr>
            </a:lvl1pPr>
            <a:lvl2pPr>
              <a:defRPr/>
            </a:lvl2pPr>
          </a:lstStyle>
          <a:p>
            <a:pPr lvl="0"/>
            <a:r>
              <a:rPr lang="en-US"/>
              <a:t>Add text here</a:t>
            </a:r>
          </a:p>
        </p:txBody>
      </p:sp>
      <p:sp>
        <p:nvSpPr>
          <p:cNvPr id="11" name="Content Placeholder 11"/>
          <p:cNvSpPr>
            <a:spLocks noGrp="1"/>
          </p:cNvSpPr>
          <p:nvPr>
            <p:ph sz="quarter" idx="17" hasCustomPrompt="1"/>
          </p:nvPr>
        </p:nvSpPr>
        <p:spPr>
          <a:xfrm>
            <a:off x="3327492" y="1515291"/>
            <a:ext cx="2489019" cy="1828800"/>
          </a:xfrm>
          <a:prstGeom prst="rect">
            <a:avLst/>
          </a:prstGeom>
        </p:spPr>
        <p:txBody>
          <a:bodyPr lIns="182880" tIns="0" rIns="182880" bIns="0" anchor="ctr">
            <a:normAutofit/>
          </a:bodyPr>
          <a:lstStyle>
            <a:lvl1pPr marL="0" indent="0" algn="ctr">
              <a:buNone/>
              <a:defRPr sz="1400" b="0" i="0" baseline="0">
                <a:latin typeface="PS TT Commons Light" charset="0"/>
                <a:ea typeface="PS TT Commons Light" charset="0"/>
                <a:cs typeface="PS TT Commons Light" charset="0"/>
              </a:defRPr>
            </a:lvl1pPr>
            <a:lvl2pPr marL="297065" indent="0" algn="l">
              <a:buNone/>
              <a:defRPr sz="2200"/>
            </a:lvl2pPr>
            <a:lvl3pPr marL="596161" indent="0" algn="l">
              <a:buNone/>
              <a:defRPr sz="2200"/>
            </a:lvl3pPr>
            <a:lvl4pPr marL="883054" indent="0" algn="l">
              <a:buNone/>
              <a:defRPr sz="2200"/>
            </a:lvl4pPr>
            <a:lvl5pPr marL="1096694" indent="0" algn="l">
              <a:buNone/>
              <a:defRPr sz="2200"/>
            </a:lvl5pPr>
          </a:lstStyle>
          <a:p>
            <a:pPr lvl="0"/>
            <a:r>
              <a:rPr lang="en-US"/>
              <a:t>To add image or icon, click the image icon or paste in</a:t>
            </a:r>
          </a:p>
        </p:txBody>
      </p:sp>
      <p:sp>
        <p:nvSpPr>
          <p:cNvPr id="12" name="Text Placeholder 3"/>
          <p:cNvSpPr>
            <a:spLocks noGrp="1"/>
          </p:cNvSpPr>
          <p:nvPr>
            <p:ph type="body" sz="quarter" idx="18" hasCustomPrompt="1"/>
          </p:nvPr>
        </p:nvSpPr>
        <p:spPr>
          <a:xfrm>
            <a:off x="3327492" y="3519453"/>
            <a:ext cx="2489019" cy="1241391"/>
          </a:xfrm>
          <a:prstGeom prst="rect">
            <a:avLst/>
          </a:prstGeom>
        </p:spPr>
        <p:txBody>
          <a:bodyPr lIns="182880" tIns="0" rIns="182880" bIns="0">
            <a:noAutofit/>
          </a:bodyPr>
          <a:lstStyle>
            <a:lvl1pPr marL="0" indent="0" algn="ctr">
              <a:lnSpc>
                <a:spcPct val="100000"/>
              </a:lnSpc>
              <a:spcBef>
                <a:spcPts val="0"/>
              </a:spcBef>
              <a:buNone/>
              <a:defRPr sz="1700" b="0" i="0">
                <a:latin typeface="+mn-lt"/>
                <a:ea typeface="PS TT Commons Light" charset="0"/>
                <a:cs typeface="PS TT Commons Light" charset="0"/>
              </a:defRPr>
            </a:lvl1pPr>
            <a:lvl2pPr>
              <a:defRPr/>
            </a:lvl2pPr>
          </a:lstStyle>
          <a:p>
            <a:pPr lvl="0"/>
            <a:r>
              <a:rPr lang="en-US"/>
              <a:t>Add text here</a:t>
            </a:r>
          </a:p>
        </p:txBody>
      </p:sp>
    </p:spTree>
    <p:extLst>
      <p:ext uri="{BB962C8B-B14F-4D97-AF65-F5344CB8AC3E}">
        <p14:creationId xmlns:p14="http://schemas.microsoft.com/office/powerpoint/2010/main" val="69230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1 Headlin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82368"/>
            <a:ext cx="9144000" cy="346248"/>
          </a:xfrm>
          <a:prstGeom prst="rect">
            <a:avLst/>
          </a:prstGeom>
        </p:spPr>
        <p:txBody>
          <a:bodyPr lIns="0" tIns="0" rIns="0" bIns="0" anchor="t" anchorCtr="0">
            <a:spAutoFit/>
          </a:bodyPr>
          <a:lstStyle>
            <a:lvl1pPr>
              <a:defRPr sz="2250" b="1">
                <a:solidFill>
                  <a:schemeClr val="accent3"/>
                </a:solidFill>
              </a:defRPr>
            </a:lvl1pPr>
          </a:lstStyle>
          <a:p>
            <a:r>
              <a:rPr lang="en-US"/>
              <a:t>Main headline here</a:t>
            </a:r>
          </a:p>
        </p:txBody>
      </p:sp>
    </p:spTree>
    <p:extLst>
      <p:ext uri="{BB962C8B-B14F-4D97-AF65-F5344CB8AC3E}">
        <p14:creationId xmlns:p14="http://schemas.microsoft.com/office/powerpoint/2010/main" val="22020292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ext Chunking: Four Item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 in Title Case</a:t>
            </a:r>
          </a:p>
        </p:txBody>
      </p:sp>
      <p:sp>
        <p:nvSpPr>
          <p:cNvPr id="4" name="Content Placeholder 10"/>
          <p:cNvSpPr>
            <a:spLocks noGrp="1"/>
          </p:cNvSpPr>
          <p:nvPr>
            <p:ph sz="quarter" idx="11" hasCustomPrompt="1"/>
          </p:nvPr>
        </p:nvSpPr>
        <p:spPr>
          <a:xfrm>
            <a:off x="4662616" y="1532239"/>
            <a:ext cx="3852734" cy="1268627"/>
          </a:xfrm>
          <a:prstGeom prst="rect">
            <a:avLst/>
          </a:prstGeom>
          <a:solidFill>
            <a:schemeClr val="bg2"/>
          </a:solidFill>
        </p:spPr>
        <p:txBody>
          <a:bodyPr lIns="274320" tIns="274320" rIns="274320" bIns="274320" anchor="ctr">
            <a:noAutofit/>
          </a:bodyPr>
          <a:lstStyle>
            <a:lvl1pPr marL="0" indent="0" algn="ctr">
              <a:buNone/>
              <a:defRPr sz="1800" b="0" i="0">
                <a:latin typeface="+mn-lt"/>
                <a:ea typeface="PS TT Commons Light" charset="0"/>
                <a:cs typeface="PS TT Commons Light" charset="0"/>
              </a:defRPr>
            </a:lvl1pPr>
          </a:lstStyle>
          <a:p>
            <a:pPr lvl="0"/>
            <a:r>
              <a:rPr lang="en-US"/>
              <a:t>Click to add text</a:t>
            </a:r>
          </a:p>
        </p:txBody>
      </p:sp>
      <p:sp>
        <p:nvSpPr>
          <p:cNvPr id="5" name="Content Placeholder 10"/>
          <p:cNvSpPr>
            <a:spLocks noGrp="1"/>
          </p:cNvSpPr>
          <p:nvPr>
            <p:ph sz="quarter" idx="10" hasCustomPrompt="1"/>
          </p:nvPr>
        </p:nvSpPr>
        <p:spPr>
          <a:xfrm>
            <a:off x="628650" y="1532239"/>
            <a:ext cx="3852734" cy="1268627"/>
          </a:xfrm>
          <a:prstGeom prst="rect">
            <a:avLst/>
          </a:prstGeom>
          <a:solidFill>
            <a:schemeClr val="bg2"/>
          </a:solidFill>
        </p:spPr>
        <p:txBody>
          <a:bodyPr lIns="274320" tIns="274320" rIns="274320" bIns="274320" anchor="ctr">
            <a:noAutofit/>
          </a:bodyPr>
          <a:lstStyle>
            <a:lvl1pPr marL="0" indent="0" algn="ctr">
              <a:buNone/>
              <a:defRPr sz="1800" b="0" i="0">
                <a:latin typeface="+mn-lt"/>
                <a:ea typeface="PS TT Commons Light" charset="0"/>
                <a:cs typeface="PS TT Commons Light" charset="0"/>
              </a:defRPr>
            </a:lvl1pPr>
          </a:lstStyle>
          <a:p>
            <a:pPr lvl="0"/>
            <a:r>
              <a:rPr lang="en-US"/>
              <a:t>Click to add text</a:t>
            </a:r>
          </a:p>
        </p:txBody>
      </p:sp>
      <p:sp>
        <p:nvSpPr>
          <p:cNvPr id="6" name="Content Placeholder 10"/>
          <p:cNvSpPr>
            <a:spLocks noGrp="1"/>
          </p:cNvSpPr>
          <p:nvPr>
            <p:ph sz="quarter" idx="12" hasCustomPrompt="1"/>
          </p:nvPr>
        </p:nvSpPr>
        <p:spPr>
          <a:xfrm>
            <a:off x="4662616" y="2994454"/>
            <a:ext cx="3852734" cy="1268627"/>
          </a:xfrm>
          <a:prstGeom prst="rect">
            <a:avLst/>
          </a:prstGeom>
          <a:solidFill>
            <a:schemeClr val="bg2"/>
          </a:solidFill>
        </p:spPr>
        <p:txBody>
          <a:bodyPr lIns="274320" tIns="274320" rIns="274320" bIns="274320" anchor="ctr">
            <a:noAutofit/>
          </a:bodyPr>
          <a:lstStyle>
            <a:lvl1pPr marL="0" indent="0" algn="ctr">
              <a:buNone/>
              <a:defRPr sz="1800" b="0" i="0">
                <a:latin typeface="+mn-lt"/>
                <a:ea typeface="PS TT Commons Light" charset="0"/>
                <a:cs typeface="PS TT Commons Light" charset="0"/>
              </a:defRPr>
            </a:lvl1pPr>
          </a:lstStyle>
          <a:p>
            <a:pPr lvl="0"/>
            <a:r>
              <a:rPr lang="en-US"/>
              <a:t>Click to add text</a:t>
            </a:r>
          </a:p>
        </p:txBody>
      </p:sp>
      <p:sp>
        <p:nvSpPr>
          <p:cNvPr id="7" name="Content Placeholder 10"/>
          <p:cNvSpPr>
            <a:spLocks noGrp="1"/>
          </p:cNvSpPr>
          <p:nvPr>
            <p:ph sz="quarter" idx="13" hasCustomPrompt="1"/>
          </p:nvPr>
        </p:nvSpPr>
        <p:spPr>
          <a:xfrm>
            <a:off x="628650" y="2994454"/>
            <a:ext cx="3852734" cy="1268627"/>
          </a:xfrm>
          <a:prstGeom prst="rect">
            <a:avLst/>
          </a:prstGeom>
          <a:solidFill>
            <a:schemeClr val="bg2"/>
          </a:solidFill>
        </p:spPr>
        <p:txBody>
          <a:bodyPr lIns="274320" tIns="274320" rIns="274320" bIns="274320" anchor="ctr">
            <a:noAutofit/>
          </a:bodyPr>
          <a:lstStyle>
            <a:lvl1pPr marL="0" indent="0" algn="ctr">
              <a:buNone/>
              <a:defRPr sz="1800" b="0" i="0">
                <a:latin typeface="+mn-lt"/>
                <a:ea typeface="PS TT Commons Light" charset="0"/>
                <a:cs typeface="PS TT Commons Light" charset="0"/>
              </a:defRPr>
            </a:lvl1pPr>
          </a:lstStyle>
          <a:p>
            <a:pPr lvl="0"/>
            <a:r>
              <a:rPr lang="en-US"/>
              <a:t>Click to add text</a:t>
            </a:r>
          </a:p>
        </p:txBody>
      </p:sp>
    </p:spTree>
    <p:extLst>
      <p:ext uri="{BB962C8B-B14F-4D97-AF65-F5344CB8AC3E}">
        <p14:creationId xmlns:p14="http://schemas.microsoft.com/office/powerpoint/2010/main" val="122150892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tags" Target="../tags/tag4.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5" Type="http://schemas.openxmlformats.org/officeDocument/2006/relationships/image" Target="../media/image1.emf"/><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04294" y="274639"/>
            <a:ext cx="8106305" cy="811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45720" rIns="0" bIns="45720" numCol="1" anchor="t" anchorCtr="0" compatLnSpc="1">
            <a:prstTxWarp prst="textNoShape">
              <a:avLst/>
            </a:prstTxWarp>
          </a:bodyPr>
          <a:lstStyle/>
          <a:p>
            <a:pPr lvl="0"/>
            <a:r>
              <a:rPr lang="en-US"/>
              <a:t>Click to edit Master title style</a:t>
            </a:r>
          </a:p>
        </p:txBody>
      </p:sp>
      <p:sp>
        <p:nvSpPr>
          <p:cNvPr id="3" name="Text Placeholder 2"/>
          <p:cNvSpPr>
            <a:spLocks noGrp="1"/>
          </p:cNvSpPr>
          <p:nvPr>
            <p:ph type="body" idx="1"/>
          </p:nvPr>
        </p:nvSpPr>
        <p:spPr>
          <a:xfrm>
            <a:off x="504295" y="1202373"/>
            <a:ext cx="8106304" cy="3100387"/>
          </a:xfrm>
          <a:prstGeom prst="rect">
            <a:avLst/>
          </a:prstGeom>
        </p:spPr>
        <p:txBody>
          <a:bodyPr vert="horz" lIns="0" tIns="45720" rIns="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GS Doctop Placeholder" hidden="1"/>
          <p:cNvSpPr txBox="1"/>
          <p:nvPr userDrawn="1"/>
        </p:nvSpPr>
        <p:spPr>
          <a:xfrm>
            <a:off x="546100" y="0"/>
            <a:ext cx="5651500" cy="338554"/>
          </a:xfrm>
          <a:prstGeom prst="rect">
            <a:avLst/>
          </a:prstGeom>
          <a:noFill/>
        </p:spPr>
        <p:txBody>
          <a:bodyPr vert="horz" rtlCol="0">
            <a:spAutoFit/>
          </a:bodyPr>
          <a:lstStyle/>
          <a:p>
            <a:pPr algn="l"/>
            <a:r>
              <a:rPr lang="en-US" sz="800" b="0" i="0">
                <a:latin typeface="Arial" charset="0"/>
                <a:ea typeface="Arial" charset="0"/>
                <a:cs typeface="Arial" charset="0"/>
              </a:rPr>
              <a:t>IBDROOT\PROJECTS\IBD-NY\OPERAND2015\583992_1\Presentations\2016-01-25 Analyst Day\Project Elysium - Analyst Day Presentation (Updated 20150121).</a:t>
            </a:r>
            <a:r>
              <a:rPr lang="en-US" sz="800" b="0" i="0" err="1">
                <a:latin typeface="Arial" charset="0"/>
                <a:ea typeface="Arial" charset="0"/>
                <a:cs typeface="Arial" charset="0"/>
              </a:rPr>
              <a:t>pptx</a:t>
            </a:r>
            <a:endParaRPr lang="en-US" sz="800" b="0" i="0">
              <a:latin typeface="Arial" charset="0"/>
              <a:ea typeface="Arial" charset="0"/>
              <a:cs typeface="Arial" charset="0"/>
            </a:endParaRPr>
          </a:p>
        </p:txBody>
      </p:sp>
      <p:sp>
        <p:nvSpPr>
          <p:cNvPr id="5" name="TextBox 4">
            <a:extLst>
              <a:ext uri="{FF2B5EF4-FFF2-40B4-BE49-F238E27FC236}">
                <a16:creationId xmlns:a16="http://schemas.microsoft.com/office/drawing/2014/main" id="{82C41016-A479-5292-1AB2-6DFEF43BDC0A}"/>
              </a:ext>
            </a:extLst>
          </p:cNvPr>
          <p:cNvSpPr txBox="1"/>
          <p:nvPr userDrawn="1">
            <p:extLst>
              <p:ext uri="{1162E1C5-73C7-4A58-AE30-91384D911F3F}">
                <p184:classification xmlns:p184="http://schemas.microsoft.com/office/powerpoint/2018/4/main" val="ftr"/>
              </p:ext>
            </p:extLst>
          </p:nvPr>
        </p:nvSpPr>
        <p:spPr>
          <a:xfrm>
            <a:off x="3863150" y="4927600"/>
            <a:ext cx="1446212"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Vanguard Internal Use Only</a:t>
            </a:r>
          </a:p>
        </p:txBody>
      </p:sp>
    </p:spTree>
    <p:custDataLst>
      <p:tags r:id="rId4"/>
    </p:custDataLst>
  </p:cSld>
  <p:clrMap bg1="lt1" tx1="dk1" bg2="lt2" tx2="dk2" accent1="accent1" accent2="accent2" accent3="accent3" accent4="accent4" accent5="accent5" accent6="accent6" hlink="hlink" folHlink="folHlink"/>
  <p:sldLayoutIdLst>
    <p:sldLayoutId id="2147483941" r:id="rId1"/>
    <p:sldLayoutId id="2147484311" r:id="rId2"/>
  </p:sldLayoutIdLst>
  <p:hf hdr="0" dt="0"/>
  <p:txStyles>
    <p:titleStyle>
      <a:lvl1pPr algn="l" defTabSz="685800" rtl="0" eaLnBrk="1" fontAlgn="base" hangingPunct="1">
        <a:lnSpc>
          <a:spcPct val="90000"/>
        </a:lnSpc>
        <a:spcBef>
          <a:spcPct val="0"/>
        </a:spcBef>
        <a:spcAft>
          <a:spcPct val="0"/>
        </a:spcAft>
        <a:defRPr sz="2800" b="1" i="0" kern="1200">
          <a:solidFill>
            <a:schemeClr val="tx1"/>
          </a:solidFill>
          <a:latin typeface="Arial" charset="0"/>
          <a:ea typeface="Arial" charset="0"/>
          <a:cs typeface="Arial" charset="0"/>
        </a:defRPr>
      </a:lvl1pPr>
      <a:lvl2pPr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2pPr>
      <a:lvl3pPr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3pPr>
      <a:lvl4pPr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4pPr>
      <a:lvl5pPr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5pPr>
      <a:lvl6pPr marL="457200"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6pPr>
      <a:lvl7pPr marL="914400"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7pPr>
      <a:lvl8pPr marL="1371600"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8pPr>
      <a:lvl9pPr marL="1828800"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9pPr>
    </p:titleStyle>
    <p:body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tx1"/>
          </a:solidFill>
          <a:latin typeface="Arial" charset="0"/>
          <a:ea typeface="Arial" charset="0"/>
          <a:cs typeface="Arial" charset="0"/>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tx1"/>
          </a:solidFill>
          <a:latin typeface="Arial" charset="0"/>
          <a:ea typeface="Arial" charset="0"/>
          <a:cs typeface="Arial" charset="0"/>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tx1"/>
          </a:solidFill>
          <a:latin typeface="Arial" charset="0"/>
          <a:ea typeface="Arial" charset="0"/>
          <a:cs typeface="Arial" charset="0"/>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charset="0"/>
          <a:ea typeface="Arial" charset="0"/>
          <a:cs typeface="Arial" charset="0"/>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charset="0"/>
          <a:ea typeface="Arial" charset="0"/>
          <a:cs typeface="Arial"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84">
          <p15:clr>
            <a:srgbClr val="F26B43"/>
          </p15:clr>
        </p15:guide>
        <p15:guide id="2" pos="312">
          <p15:clr>
            <a:srgbClr val="F26B43"/>
          </p15:clr>
        </p15:guide>
        <p15:guide id="3" orient="horz" pos="3036">
          <p15:clr>
            <a:srgbClr val="F26B43"/>
          </p15:clr>
        </p15:guide>
        <p15:guide id="4" orient="horz" pos="147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3"/>
            </p:custDataLst>
            <p:extLst>
              <p:ext uri="{D42A27DB-BD31-4B8C-83A1-F6EECF244321}">
                <p14:modId xmlns:p14="http://schemas.microsoft.com/office/powerpoint/2010/main" val="1495757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251" imgH="226" progId="TCLayout.ActiveDocument.1">
                  <p:embed/>
                </p:oleObj>
              </mc:Choice>
              <mc:Fallback>
                <p:oleObj name="think-cell Slide" r:id="rId14" imgW="251" imgH="226" progId="TCLayout.ActiveDocument.1">
                  <p:embed/>
                  <p:pic>
                    <p:nvPicPr>
                      <p:cNvPr id="5" name="Object 4" hidden="1"/>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026" name="Title Placeholder 1"/>
          <p:cNvSpPr>
            <a:spLocks noGrp="1"/>
          </p:cNvSpPr>
          <p:nvPr>
            <p:ph type="title"/>
          </p:nvPr>
        </p:nvSpPr>
        <p:spPr bwMode="auto">
          <a:xfrm>
            <a:off x="504294" y="274639"/>
            <a:ext cx="8106305" cy="44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45720" rIns="0" bIns="45720" numCol="1" anchor="t" anchorCtr="0" compatLnSpc="1">
            <a:prstTxWarp prst="textNoShape">
              <a:avLst/>
            </a:prstTxWarp>
          </a:bodyPr>
          <a:lstStyle/>
          <a:p>
            <a:pPr lvl="0"/>
            <a:r>
              <a:rPr lang="en-US"/>
              <a:t>Click to edit Master title style</a:t>
            </a:r>
          </a:p>
        </p:txBody>
      </p:sp>
      <p:sp>
        <p:nvSpPr>
          <p:cNvPr id="3" name="Text Placeholder 2"/>
          <p:cNvSpPr>
            <a:spLocks noGrp="1"/>
          </p:cNvSpPr>
          <p:nvPr>
            <p:ph type="body" idx="1"/>
          </p:nvPr>
        </p:nvSpPr>
        <p:spPr>
          <a:xfrm>
            <a:off x="504295" y="1021556"/>
            <a:ext cx="8106304" cy="3100387"/>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GS Doctop Placeholder" hidden="1"/>
          <p:cNvSpPr txBox="1"/>
          <p:nvPr/>
        </p:nvSpPr>
        <p:spPr>
          <a:xfrm>
            <a:off x="546100" y="0"/>
            <a:ext cx="5651500" cy="215444"/>
          </a:xfrm>
          <a:prstGeom prst="rect">
            <a:avLst/>
          </a:prstGeom>
          <a:noFill/>
        </p:spPr>
        <p:txBody>
          <a:bodyPr vert="horz" rtlCol="0">
            <a:spAutoFit/>
          </a:bodyPr>
          <a:lstStyle/>
          <a:p>
            <a:pPr algn="l" rtl="0"/>
            <a:r>
              <a:rPr lang="en-US" sz="800" b="0" i="0">
                <a:latin typeface="Arial" panose="020B0604020202020204" pitchFamily="34" charset="0"/>
                <a:ea typeface="Arial" charset="0"/>
                <a:cs typeface="Arial" panose="020B0604020202020204" pitchFamily="34" charset="0"/>
                <a:sym typeface="Arial" panose="020B0604020202020204" pitchFamily="34" charset="0"/>
              </a:rPr>
              <a:t>ibdroot\projects\IBD-NY\quilted2021\681345_1\01. PPT\2022.01.31 TTW\Management Presentation v76.pptx</a:t>
            </a:r>
          </a:p>
        </p:txBody>
      </p:sp>
      <p:sp>
        <p:nvSpPr>
          <p:cNvPr id="6" name="GS Doctop Placeholder" hidden="1">
            <a:extLst>
              <a:ext uri="{FF2B5EF4-FFF2-40B4-BE49-F238E27FC236}">
                <a16:creationId xmlns:a16="http://schemas.microsoft.com/office/drawing/2014/main" id="{78FFD7DC-7979-1A42-8E53-C9E70A66DBE5}"/>
              </a:ext>
            </a:extLst>
          </p:cNvPr>
          <p:cNvSpPr txBox="1"/>
          <p:nvPr userDrawn="1"/>
        </p:nvSpPr>
        <p:spPr>
          <a:xfrm>
            <a:off x="546100" y="0"/>
            <a:ext cx="5651500" cy="338554"/>
          </a:xfrm>
          <a:prstGeom prst="rect">
            <a:avLst/>
          </a:prstGeom>
          <a:noFill/>
        </p:spPr>
        <p:txBody>
          <a:bodyPr vert="horz" rtlCol="0">
            <a:spAutoFit/>
          </a:bodyPr>
          <a:lstStyle/>
          <a:p>
            <a:pPr algn="l"/>
            <a:r>
              <a:rPr lang="en-US" sz="800" b="0" i="0">
                <a:latin typeface="Arial" charset="0"/>
                <a:ea typeface="Arial" charset="0"/>
                <a:cs typeface="Arial" charset="0"/>
              </a:rPr>
              <a:t>IBDROOT\PROJECTS\IBD-NY\OPERAND2015\583992_1\Presentations\2016-01-25 Analyst Day\Project Elysium - Analyst Day Presentation (Updated 20150121).</a:t>
            </a:r>
            <a:r>
              <a:rPr lang="en-US" sz="800" b="0" i="0" err="1">
                <a:latin typeface="Arial" charset="0"/>
                <a:ea typeface="Arial" charset="0"/>
                <a:cs typeface="Arial" charset="0"/>
              </a:rPr>
              <a:t>pptx</a:t>
            </a:r>
            <a:endParaRPr lang="en-US" sz="800" b="0" i="0">
              <a:latin typeface="Arial" charset="0"/>
              <a:ea typeface="Arial" charset="0"/>
              <a:cs typeface="Arial" charset="0"/>
            </a:endParaRPr>
          </a:p>
        </p:txBody>
      </p:sp>
      <p:sp>
        <p:nvSpPr>
          <p:cNvPr id="7" name="TextBox 6">
            <a:extLst>
              <a:ext uri="{FF2B5EF4-FFF2-40B4-BE49-F238E27FC236}">
                <a16:creationId xmlns:a16="http://schemas.microsoft.com/office/drawing/2014/main" id="{C21EEC0D-E7B2-6E98-1370-E7813E975641}"/>
              </a:ext>
            </a:extLst>
          </p:cNvPr>
          <p:cNvSpPr txBox="1"/>
          <p:nvPr userDrawn="1">
            <p:extLst>
              <p:ext uri="{1162E1C5-73C7-4A58-AE30-91384D911F3F}">
                <p184:classification xmlns:p184="http://schemas.microsoft.com/office/powerpoint/2018/4/main" val="ftr"/>
              </p:ext>
            </p:extLst>
          </p:nvPr>
        </p:nvSpPr>
        <p:spPr>
          <a:xfrm>
            <a:off x="3863150" y="4927600"/>
            <a:ext cx="1446212"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Vanguard Internal Use Only</a:t>
            </a:r>
          </a:p>
        </p:txBody>
      </p:sp>
    </p:spTree>
    <p:extLst>
      <p:ext uri="{BB962C8B-B14F-4D97-AF65-F5344CB8AC3E}">
        <p14:creationId xmlns:p14="http://schemas.microsoft.com/office/powerpoint/2010/main" val="2034624827"/>
      </p:ext>
    </p:extLst>
  </p:cSld>
  <p:clrMap bg1="lt1" tx1="dk1" bg2="lt2" tx2="dk2" accent1="accent1" accent2="accent2" accent3="accent3" accent4="accent4" accent5="accent5" accent6="accent6" hlink="hlink" folHlink="folHlink"/>
  <p:sldLayoutIdLst>
    <p:sldLayoutId id="2147484169" r:id="rId1"/>
    <p:sldLayoutId id="2147484170" r:id="rId2"/>
    <p:sldLayoutId id="2147484175" r:id="rId3"/>
    <p:sldLayoutId id="2147484490" r:id="rId4"/>
    <p:sldLayoutId id="2147484196" r:id="rId5"/>
    <p:sldLayoutId id="2147484199" r:id="rId6"/>
    <p:sldLayoutId id="2147484201" r:id="rId7"/>
    <p:sldLayoutId id="2147484202" r:id="rId8"/>
    <p:sldLayoutId id="2147484203" r:id="rId9"/>
    <p:sldLayoutId id="2147484359" r:id="rId10"/>
    <p:sldLayoutId id="2147484491" r:id="rId11"/>
  </p:sldLayoutIdLst>
  <p:hf hdr="0" dt="0"/>
  <p:txStyles>
    <p:titleStyle>
      <a:lvl1pPr algn="l" defTabSz="685800" rtl="0" eaLnBrk="1" fontAlgn="base" hangingPunct="1">
        <a:lnSpc>
          <a:spcPct val="90000"/>
        </a:lnSpc>
        <a:spcBef>
          <a:spcPct val="0"/>
        </a:spcBef>
        <a:spcAft>
          <a:spcPct val="0"/>
        </a:spcAft>
        <a:defRPr sz="2800" b="1"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2pPr>
      <a:lvl3pPr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3pPr>
      <a:lvl4pPr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4pPr>
      <a:lvl5pPr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5pPr>
      <a:lvl6pPr marL="457200"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6pPr>
      <a:lvl7pPr marL="914400"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7pPr>
      <a:lvl8pPr marL="1371600"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8pPr>
      <a:lvl9pPr marL="1828800"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9pPr>
    </p:titleStyle>
    <p:body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3084">
          <p15:clr>
            <a:srgbClr val="F26B43"/>
          </p15:clr>
        </p15:guide>
        <p15:guide id="6" pos="312">
          <p15:clr>
            <a:srgbClr val="F26B43"/>
          </p15:clr>
        </p15:guide>
        <p15:guide id="7" orient="horz" pos="3036">
          <p15:clr>
            <a:srgbClr val="F26B43"/>
          </p15:clr>
        </p15:guide>
        <p15:guide id="8" orient="horz" pos="147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CB2775-04B1-042D-9E53-D0E611B5F8DA}"/>
              </a:ext>
            </a:extLst>
          </p:cNvPr>
          <p:cNvSpPr>
            <a:spLocks noGrp="1"/>
          </p:cNvSpPr>
          <p:nvPr>
            <p:ph type="body" idx="1"/>
          </p:nvPr>
        </p:nvSpPr>
        <p:spPr>
          <a:xfrm>
            <a:off x="530654" y="1385680"/>
            <a:ext cx="8082692" cy="308154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C75C6EB-E1EF-941D-4DCC-85515B9FC007}"/>
              </a:ext>
            </a:extLst>
          </p:cNvPr>
          <p:cNvSpPr>
            <a:spLocks noGrp="1"/>
          </p:cNvSpPr>
          <p:nvPr>
            <p:ph type="sldNum" sz="quarter" idx="4"/>
          </p:nvPr>
        </p:nvSpPr>
        <p:spPr>
          <a:xfrm>
            <a:off x="6748670" y="4642485"/>
            <a:ext cx="2057400" cy="273844"/>
          </a:xfrm>
          <a:prstGeom prst="rect">
            <a:avLst/>
          </a:prstGeom>
        </p:spPr>
        <p:txBody>
          <a:bodyPr vert="horz" lIns="91440" tIns="45720" rIns="91440" bIns="45720" rtlCol="0" anchor="ctr"/>
          <a:lstStyle>
            <a:lvl1pPr algn="r">
              <a:defRPr sz="900" b="0" i="0">
                <a:solidFill>
                  <a:schemeClr val="accent6"/>
                </a:solidFill>
                <a:latin typeface="Inter" panose="02000503000000020004" pitchFamily="2" charset="0"/>
                <a:ea typeface="Inter" panose="02000503000000020004" pitchFamily="2" charset="0"/>
              </a:defRPr>
            </a:lvl1pPr>
          </a:lstStyle>
          <a:p>
            <a:fld id="{93BFCDF7-B76A-EE4A-9647-B0AB61850522}" type="slidenum">
              <a:rPr lang="en-US" smtClean="0"/>
              <a:pPr/>
              <a:t>‹#›</a:t>
            </a:fld>
            <a:endParaRPr lang="en-US"/>
          </a:p>
        </p:txBody>
      </p:sp>
      <p:sp>
        <p:nvSpPr>
          <p:cNvPr id="4" name="Title Placeholder 3">
            <a:extLst>
              <a:ext uri="{FF2B5EF4-FFF2-40B4-BE49-F238E27FC236}">
                <a16:creationId xmlns:a16="http://schemas.microsoft.com/office/drawing/2014/main" id="{E8039E6F-BAB9-860A-05B9-20EE9032C4F3}"/>
              </a:ext>
            </a:extLst>
          </p:cNvPr>
          <p:cNvSpPr>
            <a:spLocks noGrp="1"/>
          </p:cNvSpPr>
          <p:nvPr>
            <p:ph type="title"/>
          </p:nvPr>
        </p:nvSpPr>
        <p:spPr>
          <a:xfrm>
            <a:off x="530654" y="273844"/>
            <a:ext cx="8082692" cy="994172"/>
          </a:xfrm>
          <a:prstGeom prst="rect">
            <a:avLst/>
          </a:prstGeom>
        </p:spPr>
        <p:txBody>
          <a:bodyPr vert="horz" lIns="91440" tIns="45720" rIns="91440" bIns="45720" rtlCol="0" anchor="ctr">
            <a:normAutofit/>
          </a:bodyPr>
          <a:lstStyle/>
          <a:p>
            <a:r>
              <a:rPr lang="en-US"/>
              <a:t>Click to edit Master title style</a:t>
            </a:r>
          </a:p>
        </p:txBody>
      </p:sp>
      <p:sp>
        <p:nvSpPr>
          <p:cNvPr id="5" name="TextBox 4">
            <a:extLst>
              <a:ext uri="{FF2B5EF4-FFF2-40B4-BE49-F238E27FC236}">
                <a16:creationId xmlns:a16="http://schemas.microsoft.com/office/drawing/2014/main" id="{C12FD840-9322-429D-68E1-476B95AF9096}"/>
              </a:ext>
            </a:extLst>
          </p:cNvPr>
          <p:cNvSpPr txBox="1"/>
          <p:nvPr userDrawn="1">
            <p:extLst>
              <p:ext uri="{1162E1C5-73C7-4A58-AE30-91384D911F3F}">
                <p184:classification xmlns:p184="http://schemas.microsoft.com/office/powerpoint/2018/4/main" val="ftr"/>
              </p:ext>
            </p:extLst>
          </p:nvPr>
        </p:nvSpPr>
        <p:spPr>
          <a:xfrm>
            <a:off x="3863150" y="4927600"/>
            <a:ext cx="1446212"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Vanguard Internal Use Only</a:t>
            </a:r>
          </a:p>
        </p:txBody>
      </p:sp>
    </p:spTree>
    <p:extLst>
      <p:ext uri="{BB962C8B-B14F-4D97-AF65-F5344CB8AC3E}">
        <p14:creationId xmlns:p14="http://schemas.microsoft.com/office/powerpoint/2010/main" val="2751247254"/>
      </p:ext>
    </p:extLst>
  </p:cSld>
  <p:clrMap bg1="lt1" tx1="dk1" bg2="lt2" tx2="dk2" accent1="accent1" accent2="accent2" accent3="accent3" accent4="accent4" accent5="accent5" accent6="accent6" hlink="hlink" folHlink="folHlink"/>
  <p:sldLayoutIdLst>
    <p:sldLayoutId id="2147484370" r:id="rId1"/>
    <p:sldLayoutId id="2147484371" r:id="rId2"/>
  </p:sldLayoutIdLst>
  <p:hf hdr="0" dt="0"/>
  <p:txStyles>
    <p:titleStyle>
      <a:lvl1pPr algn="l" defTabSz="685800" rtl="0" eaLnBrk="1" latinLnBrk="0" hangingPunct="1">
        <a:lnSpc>
          <a:spcPct val="90000"/>
        </a:lnSpc>
        <a:spcBef>
          <a:spcPct val="0"/>
        </a:spcBef>
        <a:buNone/>
        <a:defRPr sz="3000" b="1" i="0" kern="1200">
          <a:solidFill>
            <a:schemeClr val="tx1"/>
          </a:solidFill>
          <a:latin typeface="Inter SemiBold" panose="02000503000000020004" pitchFamily="2" charset="0"/>
          <a:ea typeface="Inter SemiBold" panose="02000503000000020004" pitchFamily="2" charset="0"/>
          <a:cs typeface="+mj-cs"/>
        </a:defRPr>
      </a:lvl1pPr>
    </p:titleStyle>
    <p:bodyStyle>
      <a:lvl1pPr marL="171450" indent="-171450" algn="l" defTabSz="685800" rtl="0" eaLnBrk="1" latinLnBrk="0" hangingPunct="1">
        <a:lnSpc>
          <a:spcPct val="90000"/>
        </a:lnSpc>
        <a:spcBef>
          <a:spcPts val="750"/>
        </a:spcBef>
        <a:buClr>
          <a:schemeClr val="accent1"/>
        </a:buClr>
        <a:buFont typeface="Arial" panose="020B0604020202020204" pitchFamily="34" charset="0"/>
        <a:buChar char="•"/>
        <a:defRPr sz="1650" kern="1200">
          <a:solidFill>
            <a:schemeClr val="tx1"/>
          </a:solidFill>
          <a:latin typeface="Inter" panose="02000503000000020004" pitchFamily="2" charset="0"/>
          <a:ea typeface="Inter" panose="02000503000000020004" pitchFamily="2" charset="0"/>
          <a:cs typeface="+mn-cs"/>
        </a:defRPr>
      </a:lvl1pPr>
      <a:lvl2pPr marL="514350" indent="-171450" algn="l" defTabSz="685800" rtl="0" eaLnBrk="1" latinLnBrk="0" hangingPunct="1">
        <a:lnSpc>
          <a:spcPct val="90000"/>
        </a:lnSpc>
        <a:spcBef>
          <a:spcPts val="375"/>
        </a:spcBef>
        <a:buClr>
          <a:schemeClr val="accent1"/>
        </a:buClr>
        <a:buFont typeface="Courier New" panose="02070309020205020404" pitchFamily="49" charset="0"/>
        <a:buChar char="o"/>
        <a:defRPr sz="1500" kern="1200">
          <a:solidFill>
            <a:schemeClr val="tx1"/>
          </a:solidFill>
          <a:latin typeface="Inter" panose="02000503000000020004" pitchFamily="2" charset="0"/>
          <a:ea typeface="Inter" panose="02000503000000020004" pitchFamily="2" charset="0"/>
          <a:cs typeface="+mn-cs"/>
        </a:defRPr>
      </a:lvl2pPr>
      <a:lvl3pPr marL="857250" indent="-171450"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Inter" panose="02000503000000020004" pitchFamily="2" charset="0"/>
          <a:ea typeface="Inter" panose="02000503000000020004" pitchFamily="2" charset="0"/>
          <a:cs typeface="+mn-cs"/>
        </a:defRPr>
      </a:lvl3pPr>
      <a:lvl4pPr marL="1200150" indent="-171450" algn="l" defTabSz="685800" rtl="0" eaLnBrk="1" latinLnBrk="0" hangingPunct="1">
        <a:lnSpc>
          <a:spcPct val="90000"/>
        </a:lnSpc>
        <a:spcBef>
          <a:spcPts val="375"/>
        </a:spcBef>
        <a:buClr>
          <a:schemeClr val="accent1"/>
        </a:buClr>
        <a:buFont typeface="Courier New" panose="02070309020205020404" pitchFamily="49" charset="0"/>
        <a:buChar char="o"/>
        <a:defRPr sz="1200" kern="1200">
          <a:solidFill>
            <a:schemeClr val="tx1"/>
          </a:solidFill>
          <a:latin typeface="Inter" panose="02000503000000020004" pitchFamily="2" charset="0"/>
          <a:ea typeface="Inter" panose="02000503000000020004" pitchFamily="2" charset="0"/>
          <a:cs typeface="+mn-cs"/>
        </a:defRPr>
      </a:lvl4pPr>
      <a:lvl5pPr marL="1543050" indent="-171450" algn="l" defTabSz="685800" rtl="0" eaLnBrk="1" latinLnBrk="0" hangingPunct="1">
        <a:lnSpc>
          <a:spcPct val="90000"/>
        </a:lnSpc>
        <a:spcBef>
          <a:spcPts val="375"/>
        </a:spcBef>
        <a:buClr>
          <a:schemeClr val="accent1"/>
        </a:buClr>
        <a:buFont typeface="Arial" panose="020B0604020202020204" pitchFamily="34" charset="0"/>
        <a:buChar char="•"/>
        <a:defRPr sz="1050" kern="1200">
          <a:solidFill>
            <a:schemeClr val="tx1"/>
          </a:solidFill>
          <a:latin typeface="Inter" panose="02000503000000020004" pitchFamily="2" charset="0"/>
          <a:ea typeface="Inter" panose="02000503000000020004" pitchFamily="2" charset="0"/>
          <a:cs typeface="+mn-cs"/>
        </a:defRPr>
      </a:lvl5pPr>
      <a:lvl6pPr marL="1885950" indent="-171450" algn="l" defTabSz="685800" rtl="0" eaLnBrk="1" latinLnBrk="0" hangingPunct="1">
        <a:lnSpc>
          <a:spcPct val="90000"/>
        </a:lnSpc>
        <a:spcBef>
          <a:spcPts val="375"/>
        </a:spcBef>
        <a:buClr>
          <a:schemeClr val="accent1"/>
        </a:buClr>
        <a:buFont typeface="Courier New" panose="02070309020205020404" pitchFamily="49" charset="0"/>
        <a:buChar char="o"/>
        <a:defRPr sz="9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Clr>
          <a:schemeClr val="accent1"/>
        </a:buClr>
        <a:buFont typeface="Arial" panose="020B0604020202020204" pitchFamily="34" charset="0"/>
        <a:buChar char="•"/>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9.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sv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38.png"/><Relationship Id="rId11" Type="http://schemas.openxmlformats.org/officeDocument/2006/relationships/image" Target="../media/image43.svg"/><Relationship Id="rId5" Type="http://schemas.openxmlformats.org/officeDocument/2006/relationships/image" Target="../media/image37.sv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6.xml"/><Relationship Id="rId1" Type="http://schemas.openxmlformats.org/officeDocument/2006/relationships/slideLayout" Target="../slideLayouts/slideLayout11.xml"/><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11.xml"/><Relationship Id="rId5" Type="http://schemas.openxmlformats.org/officeDocument/2006/relationships/image" Target="../media/image46.png"/><Relationship Id="rId4" Type="http://schemas.openxmlformats.org/officeDocument/2006/relationships/image" Target="../media/image45.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10.xml"/><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11.xml"/><Relationship Id="rId5" Type="http://schemas.openxmlformats.org/officeDocument/2006/relationships/image" Target="../media/image47.png"/><Relationship Id="rId4" Type="http://schemas.openxmlformats.org/officeDocument/2006/relationships/image" Target="../media/image45.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xml"/><Relationship Id="rId1" Type="http://schemas.openxmlformats.org/officeDocument/2006/relationships/tags" Target="../tags/tag13.xml"/></Relationships>
</file>

<file path=ppt/slides/_rels/slide2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sv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51.png"/><Relationship Id="rId5" Type="http://schemas.openxmlformats.org/officeDocument/2006/relationships/image" Target="../media/image50.svg"/><Relationship Id="rId4" Type="http://schemas.openxmlformats.org/officeDocument/2006/relationships/image" Target="../media/image49.png"/><Relationship Id="rId9" Type="http://schemas.openxmlformats.org/officeDocument/2006/relationships/image" Target="../media/image54.sv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xml"/><Relationship Id="rId1" Type="http://schemas.openxmlformats.org/officeDocument/2006/relationships/tags" Target="../tags/tag14.xml"/><Relationship Id="rId5" Type="http://schemas.openxmlformats.org/officeDocument/2006/relationships/image" Target="../media/image56.tiff"/><Relationship Id="rId4" Type="http://schemas.openxmlformats.org/officeDocument/2006/relationships/image" Target="../media/image55.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2.xml"/><Relationship Id="rId1" Type="http://schemas.openxmlformats.org/officeDocument/2006/relationships/tags" Target="../tags/tag15.xml"/><Relationship Id="rId4" Type="http://schemas.openxmlformats.org/officeDocument/2006/relationships/image" Target="../media/image57.gif"/></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61.png"/><Relationship Id="rId2" Type="http://schemas.openxmlformats.org/officeDocument/2006/relationships/slideLayout" Target="../slideLayouts/slideLayout8.xml"/><Relationship Id="rId1" Type="http://schemas.openxmlformats.org/officeDocument/2006/relationships/tags" Target="../tags/tag16.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61.png"/><Relationship Id="rId2" Type="http://schemas.openxmlformats.org/officeDocument/2006/relationships/slideLayout" Target="../slideLayouts/slideLayout8.xml"/><Relationship Id="rId1" Type="http://schemas.openxmlformats.org/officeDocument/2006/relationships/tags" Target="../tags/tag17.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8.xml.rels><?xml version="1.0" encoding="UTF-8" standalone="yes"?>
<Relationships xmlns="http://schemas.openxmlformats.org/package/2006/relationships"><Relationship Id="rId8" Type="http://schemas.openxmlformats.org/officeDocument/2006/relationships/image" Target="../media/image67.svg"/><Relationship Id="rId13" Type="http://schemas.openxmlformats.org/officeDocument/2006/relationships/image" Target="../media/image72.sv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notesSlide" Target="../notesSlides/notesSlide25.xml"/><Relationship Id="rId1" Type="http://schemas.openxmlformats.org/officeDocument/2006/relationships/slideLayout" Target="../slideLayouts/slideLayout10.xml"/><Relationship Id="rId6" Type="http://schemas.openxmlformats.org/officeDocument/2006/relationships/image" Target="../media/image65.svg"/><Relationship Id="rId11" Type="http://schemas.openxmlformats.org/officeDocument/2006/relationships/image" Target="../media/image70.png"/><Relationship Id="rId5" Type="http://schemas.openxmlformats.org/officeDocument/2006/relationships/image" Target="../media/image64.png"/><Relationship Id="rId10" Type="http://schemas.openxmlformats.org/officeDocument/2006/relationships/image" Target="../media/image69.svg"/><Relationship Id="rId4" Type="http://schemas.openxmlformats.org/officeDocument/2006/relationships/image" Target="../media/image63.svg"/><Relationship Id="rId9" Type="http://schemas.openxmlformats.org/officeDocument/2006/relationships/image" Target="../media/image68.png"/></Relationships>
</file>

<file path=ppt/slides/_rels/slide29.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notesSlide" Target="../notesSlides/notesSlide26.xml"/><Relationship Id="rId1" Type="http://schemas.openxmlformats.org/officeDocument/2006/relationships/slideLayout" Target="../slideLayouts/slideLayout12.xml"/><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74.sv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11.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18.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19.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20.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21.xml"/><Relationship Id="rId4" Type="http://schemas.openxmlformats.org/officeDocument/2006/relationships/image" Target="../media/image79.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22.xml"/><Relationship Id="rId5" Type="http://schemas.openxmlformats.org/officeDocument/2006/relationships/image" Target="../media/image81.png"/><Relationship Id="rId4" Type="http://schemas.openxmlformats.org/officeDocument/2006/relationships/image" Target="../media/image80.png"/></Relationships>
</file>

<file path=ppt/slides/_rels/slide35.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svg"/><Relationship Id="rId3" Type="http://schemas.openxmlformats.org/officeDocument/2006/relationships/image" Target="../media/image82.png"/><Relationship Id="rId7" Type="http://schemas.openxmlformats.org/officeDocument/2006/relationships/image" Target="../media/image86.svg"/><Relationship Id="rId12" Type="http://schemas.openxmlformats.org/officeDocument/2006/relationships/image" Target="../media/image91.png"/><Relationship Id="rId2" Type="http://schemas.openxmlformats.org/officeDocument/2006/relationships/notesSlide" Target="../notesSlides/notesSlide32.xml"/><Relationship Id="rId1" Type="http://schemas.openxmlformats.org/officeDocument/2006/relationships/slideLayout" Target="../slideLayouts/slideLayout10.xml"/><Relationship Id="rId6" Type="http://schemas.openxmlformats.org/officeDocument/2006/relationships/image" Target="../media/image85.png"/><Relationship Id="rId11" Type="http://schemas.openxmlformats.org/officeDocument/2006/relationships/image" Target="../media/image90.svg"/><Relationship Id="rId5" Type="http://schemas.openxmlformats.org/officeDocument/2006/relationships/image" Target="../media/image84.svg"/><Relationship Id="rId10" Type="http://schemas.openxmlformats.org/officeDocument/2006/relationships/image" Target="../media/image89.png"/><Relationship Id="rId4" Type="http://schemas.openxmlformats.org/officeDocument/2006/relationships/image" Target="../media/image83.png"/><Relationship Id="rId9" Type="http://schemas.openxmlformats.org/officeDocument/2006/relationships/image" Target="../media/image88.sv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5.xml"/><Relationship Id="rId1" Type="http://schemas.openxmlformats.org/officeDocument/2006/relationships/tags" Target="../tags/tag23.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xml"/><Relationship Id="rId1" Type="http://schemas.openxmlformats.org/officeDocument/2006/relationships/tags" Target="../tags/tag24.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3.xml"/><Relationship Id="rId1" Type="http://schemas.openxmlformats.org/officeDocument/2006/relationships/tags" Target="../tags/tag25.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3.xml"/><Relationship Id="rId1" Type="http://schemas.openxmlformats.org/officeDocument/2006/relationships/tags" Target="../tags/tag2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12.xml"/></Relationships>
</file>

<file path=ppt/slides/_rels/slide40.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image" Target="../media/image96.svg"/><Relationship Id="rId5" Type="http://schemas.openxmlformats.org/officeDocument/2006/relationships/image" Target="../media/image95.png"/><Relationship Id="rId4" Type="http://schemas.openxmlformats.org/officeDocument/2006/relationships/image" Target="../media/image94.sv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3.xml"/><Relationship Id="rId1" Type="http://schemas.openxmlformats.org/officeDocument/2006/relationships/tags" Target="../tags/tag27.xml"/><Relationship Id="rId4" Type="http://schemas.openxmlformats.org/officeDocument/2006/relationships/image" Target="../media/image98.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3.xml"/><Relationship Id="rId1" Type="http://schemas.openxmlformats.org/officeDocument/2006/relationships/tags" Target="../tags/tag28.xml"/><Relationship Id="rId4" Type="http://schemas.openxmlformats.org/officeDocument/2006/relationships/image" Target="../media/image99.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3.xml"/><Relationship Id="rId1" Type="http://schemas.openxmlformats.org/officeDocument/2006/relationships/tags" Target="../tags/tag29.xml"/><Relationship Id="rId4" Type="http://schemas.openxmlformats.org/officeDocument/2006/relationships/image" Target="../media/image100.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3.xml"/><Relationship Id="rId1" Type="http://schemas.openxmlformats.org/officeDocument/2006/relationships/tags" Target="../tags/tag30.xml"/><Relationship Id="rId4" Type="http://schemas.openxmlformats.org/officeDocument/2006/relationships/image" Target="../media/image101.png"/></Relationships>
</file>

<file path=ppt/slides/_rels/slide45.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2.svg"/><Relationship Id="rId3" Type="http://schemas.openxmlformats.org/officeDocument/2006/relationships/image" Target="../media/image102.png"/><Relationship Id="rId7" Type="http://schemas.openxmlformats.org/officeDocument/2006/relationships/image" Target="../media/image106.svg"/><Relationship Id="rId12" Type="http://schemas.openxmlformats.org/officeDocument/2006/relationships/image" Target="../media/image111.png"/><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105.png"/><Relationship Id="rId11" Type="http://schemas.openxmlformats.org/officeDocument/2006/relationships/image" Target="../media/image110.svg"/><Relationship Id="rId5" Type="http://schemas.openxmlformats.org/officeDocument/2006/relationships/image" Target="../media/image104.svg"/><Relationship Id="rId10" Type="http://schemas.openxmlformats.org/officeDocument/2006/relationships/image" Target="../media/image109.png"/><Relationship Id="rId4" Type="http://schemas.openxmlformats.org/officeDocument/2006/relationships/image" Target="../media/image103.png"/><Relationship Id="rId9" Type="http://schemas.openxmlformats.org/officeDocument/2006/relationships/image" Target="../media/image108.svg"/></Relationships>
</file>

<file path=ppt/slides/_rels/slide46.xml.rels><?xml version="1.0" encoding="UTF-8" standalone="yes"?>
<Relationships xmlns="http://schemas.openxmlformats.org/package/2006/relationships"><Relationship Id="rId8" Type="http://schemas.openxmlformats.org/officeDocument/2006/relationships/image" Target="../media/image88.sv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image" Target="../media/image113.png"/><Relationship Id="rId1" Type="http://schemas.openxmlformats.org/officeDocument/2006/relationships/slideLayout" Target="../slideLayouts/slideLayout3.xml"/><Relationship Id="rId6" Type="http://schemas.openxmlformats.org/officeDocument/2006/relationships/image" Target="../media/image86.svg"/><Relationship Id="rId5" Type="http://schemas.openxmlformats.org/officeDocument/2006/relationships/image" Target="../media/image85.png"/><Relationship Id="rId4" Type="http://schemas.openxmlformats.org/officeDocument/2006/relationships/image" Target="../media/image84.svg"/></Relationships>
</file>

<file path=ppt/slides/_rels/slide47.xml.rels><?xml version="1.0" encoding="UTF-8" standalone="yes"?>
<Relationships xmlns="http://schemas.openxmlformats.org/package/2006/relationships"><Relationship Id="rId8" Type="http://schemas.openxmlformats.org/officeDocument/2006/relationships/image" Target="../media/image119.svg"/><Relationship Id="rId3" Type="http://schemas.openxmlformats.org/officeDocument/2006/relationships/image" Target="../media/image114.png"/><Relationship Id="rId7" Type="http://schemas.openxmlformats.org/officeDocument/2006/relationships/image" Target="../media/image118.png"/><Relationship Id="rId2" Type="http://schemas.openxmlformats.org/officeDocument/2006/relationships/notesSlide" Target="../notesSlides/notesSlide43.xml"/><Relationship Id="rId1" Type="http://schemas.openxmlformats.org/officeDocument/2006/relationships/slideLayout" Target="../slideLayouts/slideLayout3.xml"/><Relationship Id="rId6" Type="http://schemas.openxmlformats.org/officeDocument/2006/relationships/image" Target="../media/image117.svg"/><Relationship Id="rId5" Type="http://schemas.openxmlformats.org/officeDocument/2006/relationships/image" Target="../media/image116.png"/><Relationship Id="rId10" Type="http://schemas.openxmlformats.org/officeDocument/2006/relationships/image" Target="../media/image121.svg"/><Relationship Id="rId4" Type="http://schemas.openxmlformats.org/officeDocument/2006/relationships/image" Target="../media/image115.svg"/><Relationship Id="rId9" Type="http://schemas.openxmlformats.org/officeDocument/2006/relationships/image" Target="../media/image120.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5.xml"/><Relationship Id="rId5" Type="http://schemas.openxmlformats.org/officeDocument/2006/relationships/image" Target="../media/image11.sv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5.xml"/><Relationship Id="rId5" Type="http://schemas.openxmlformats.org/officeDocument/2006/relationships/image" Target="../media/image11.svg"/><Relationship Id="rId4" Type="http://schemas.openxmlformats.org/officeDocument/2006/relationships/image" Target="../media/image10.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5.xml"/><Relationship Id="rId4" Type="http://schemas.openxmlformats.org/officeDocument/2006/relationships/image" Target="../media/image124.png"/></Relationships>
</file>

<file path=ppt/slides/_rels/slide5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5.xml"/><Relationship Id="rId4" Type="http://schemas.openxmlformats.org/officeDocument/2006/relationships/image" Target="../media/image12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sv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svg"/><Relationship Id="rId9" Type="http://schemas.openxmlformats.org/officeDocument/2006/relationships/image" Target="../media/image18.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18" Type="http://schemas.openxmlformats.org/officeDocument/2006/relationships/image" Target="../media/image34.sv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svg"/><Relationship Id="rId17" Type="http://schemas.openxmlformats.org/officeDocument/2006/relationships/image" Target="../media/image33.png"/><Relationship Id="rId2" Type="http://schemas.openxmlformats.org/officeDocument/2006/relationships/notesSlide" Target="../notesSlides/notesSlide7.xml"/><Relationship Id="rId16" Type="http://schemas.openxmlformats.org/officeDocument/2006/relationships/image" Target="../media/image32.svg"/><Relationship Id="rId1" Type="http://schemas.openxmlformats.org/officeDocument/2006/relationships/slideLayout" Target="../slideLayouts/slideLayout9.xml"/><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 Id="rId14" Type="http://schemas.openxmlformats.org/officeDocument/2006/relationships/image" Target="../media/image3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9B0482F-6736-1141-A0BC-194E10BD5C49}"/>
              </a:ext>
            </a:extLst>
          </p:cNvPr>
          <p:cNvSpPr>
            <a:spLocks noGrp="1"/>
          </p:cNvSpPr>
          <p:nvPr>
            <p:ph type="title"/>
          </p:nvPr>
        </p:nvSpPr>
        <p:spPr>
          <a:xfrm>
            <a:off x="504294" y="1100376"/>
            <a:ext cx="7838040" cy="1757287"/>
          </a:xfrm>
        </p:spPr>
        <p:txBody>
          <a:bodyPr/>
          <a:lstStyle/>
          <a:p>
            <a:r>
              <a:rPr lang="en-US" dirty="0"/>
              <a:t>Advancing Data Literacy: Senior Manager Training for M4s</a:t>
            </a:r>
          </a:p>
        </p:txBody>
      </p:sp>
      <p:sp>
        <p:nvSpPr>
          <p:cNvPr id="11" name="Text Placeholder 10">
            <a:extLst>
              <a:ext uri="{FF2B5EF4-FFF2-40B4-BE49-F238E27FC236}">
                <a16:creationId xmlns:a16="http://schemas.microsoft.com/office/drawing/2014/main" id="{C91D473B-5FA4-414A-B446-33D171C64A82}"/>
              </a:ext>
            </a:extLst>
          </p:cNvPr>
          <p:cNvSpPr>
            <a:spLocks noGrp="1"/>
          </p:cNvSpPr>
          <p:nvPr>
            <p:ph type="body" sz="quarter" idx="11"/>
          </p:nvPr>
        </p:nvSpPr>
        <p:spPr>
          <a:xfrm>
            <a:off x="495300" y="3266225"/>
            <a:ext cx="4070303" cy="854178"/>
          </a:xfrm>
        </p:spPr>
        <p:txBody>
          <a:bodyPr/>
          <a:lstStyle/>
          <a:p>
            <a:r>
              <a:rPr lang="en-US" sz="1600"/>
              <a:t>Kevin Hanegan	</a:t>
            </a:r>
          </a:p>
        </p:txBody>
      </p:sp>
      <p:pic>
        <p:nvPicPr>
          <p:cNvPr id="2" name="Picture 1" descr="A black background with white letters&#10;&#10;Description automatically generated">
            <a:extLst>
              <a:ext uri="{FF2B5EF4-FFF2-40B4-BE49-F238E27FC236}">
                <a16:creationId xmlns:a16="http://schemas.microsoft.com/office/drawing/2014/main" id="{E834049A-ADA2-9F86-83E2-8CA0DB478833}"/>
              </a:ext>
            </a:extLst>
          </p:cNvPr>
          <p:cNvPicPr>
            <a:picLocks noChangeAspect="1"/>
          </p:cNvPicPr>
          <p:nvPr/>
        </p:nvPicPr>
        <p:blipFill>
          <a:blip r:embed="rId4"/>
          <a:stretch>
            <a:fillRect/>
          </a:stretch>
        </p:blipFill>
        <p:spPr>
          <a:xfrm>
            <a:off x="162212" y="4520353"/>
            <a:ext cx="2468880" cy="399374"/>
          </a:xfrm>
          <a:prstGeom prst="rect">
            <a:avLst/>
          </a:prstGeom>
        </p:spPr>
      </p:pic>
    </p:spTree>
    <p:custDataLst>
      <p:tags r:id="rId1"/>
    </p:custDataLst>
    <p:extLst>
      <p:ext uri="{BB962C8B-B14F-4D97-AF65-F5344CB8AC3E}">
        <p14:creationId xmlns:p14="http://schemas.microsoft.com/office/powerpoint/2010/main" val="16072429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97659"/>
            <a:ext cx="8690912" cy="443818"/>
          </a:xfrm>
        </p:spPr>
        <p:txBody>
          <a:bodyPr/>
          <a:lstStyle/>
          <a:p>
            <a:r>
              <a:rPr lang="en-US" sz="2100"/>
              <a:t>Convert Business Questions into Data Questions</a:t>
            </a:r>
          </a:p>
        </p:txBody>
      </p:sp>
      <p:sp>
        <p:nvSpPr>
          <p:cNvPr id="9" name="Freeform 30">
            <a:extLst>
              <a:ext uri="{FF2B5EF4-FFF2-40B4-BE49-F238E27FC236}">
                <a16:creationId xmlns:a16="http://schemas.microsoft.com/office/drawing/2014/main" id="{83BEC172-4F84-35ED-D8B0-7550F969E76B}"/>
              </a:ext>
            </a:extLst>
          </p:cNvPr>
          <p:cNvSpPr/>
          <p:nvPr/>
        </p:nvSpPr>
        <p:spPr>
          <a:xfrm>
            <a:off x="6286329" y="1101034"/>
            <a:ext cx="2257596" cy="1140760"/>
          </a:xfrm>
          <a:prstGeom prst="notchedRightArrow">
            <a:avLst/>
          </a:prstGeom>
          <a:solidFill>
            <a:srgbClr val="FFFFFF"/>
          </a:solidFill>
          <a:ln w="12700" cap="flat" cmpd="sng" algn="ctr">
            <a:noFill/>
            <a:prstDash val="solid"/>
            <a:miter lim="800000"/>
          </a:ln>
          <a:effectLst>
            <a:outerShdw blurRad="25400" dist="12700" dir="2700000" algn="tl" rotWithShape="0">
              <a:prstClr val="black">
                <a:alpha val="20000"/>
              </a:prstClr>
            </a:outerShdw>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cs typeface="+mn-cs"/>
            </a:endParaRPr>
          </a:p>
        </p:txBody>
      </p:sp>
      <p:sp>
        <p:nvSpPr>
          <p:cNvPr id="18" name="Freeform 28">
            <a:extLst>
              <a:ext uri="{FF2B5EF4-FFF2-40B4-BE49-F238E27FC236}">
                <a16:creationId xmlns:a16="http://schemas.microsoft.com/office/drawing/2014/main" id="{C05825CC-C381-CE29-F743-92DB2FB7AD16}"/>
              </a:ext>
            </a:extLst>
          </p:cNvPr>
          <p:cNvSpPr/>
          <p:nvPr/>
        </p:nvSpPr>
        <p:spPr>
          <a:xfrm>
            <a:off x="6296212" y="1192580"/>
            <a:ext cx="2174810" cy="957704"/>
          </a:xfrm>
          <a:prstGeom prst="notchedRightArrow">
            <a:avLst/>
          </a:prstGeom>
          <a:solidFill>
            <a:schemeClr val="bg2">
              <a:lumMod val="60000"/>
              <a:lumOff val="40000"/>
            </a:schemeClr>
          </a:solidFill>
          <a:ln w="12700" cap="flat" cmpd="sng" algn="ctr">
            <a:noFill/>
            <a:prstDash val="solid"/>
            <a:miter lim="800000"/>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cs typeface="+mn-cs"/>
            </a:endParaRPr>
          </a:p>
        </p:txBody>
      </p:sp>
      <p:sp>
        <p:nvSpPr>
          <p:cNvPr id="19" name="TextBox 18">
            <a:extLst>
              <a:ext uri="{FF2B5EF4-FFF2-40B4-BE49-F238E27FC236}">
                <a16:creationId xmlns:a16="http://schemas.microsoft.com/office/drawing/2014/main" id="{8C29C897-BA8B-97F1-C352-25F44452A1DF}"/>
              </a:ext>
            </a:extLst>
          </p:cNvPr>
          <p:cNvSpPr txBox="1"/>
          <p:nvPr/>
        </p:nvSpPr>
        <p:spPr>
          <a:xfrm>
            <a:off x="6747624" y="1471361"/>
            <a:ext cx="1293756" cy="400110"/>
          </a:xfrm>
          <a:prstGeom prst="rect">
            <a:avLst/>
          </a:prstGeom>
          <a:noFill/>
        </p:spPr>
        <p:txBody>
          <a:bodyPr wrap="square" rtlCol="0" anchor="ctr">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rPr>
              <a:t>Ensuring Clarity and Precision</a:t>
            </a:r>
          </a:p>
        </p:txBody>
      </p:sp>
      <p:sp>
        <p:nvSpPr>
          <p:cNvPr id="20" name="Freeform 30">
            <a:extLst>
              <a:ext uri="{FF2B5EF4-FFF2-40B4-BE49-F238E27FC236}">
                <a16:creationId xmlns:a16="http://schemas.microsoft.com/office/drawing/2014/main" id="{121B236E-B58C-D026-AFF6-877762DBE7BF}"/>
              </a:ext>
            </a:extLst>
          </p:cNvPr>
          <p:cNvSpPr/>
          <p:nvPr/>
        </p:nvSpPr>
        <p:spPr>
          <a:xfrm>
            <a:off x="4384359" y="1101032"/>
            <a:ext cx="2240459" cy="1140758"/>
          </a:xfrm>
          <a:prstGeom prst="notchedRightArrow">
            <a:avLst/>
          </a:prstGeom>
          <a:solidFill>
            <a:srgbClr val="FFFFFF"/>
          </a:solidFill>
          <a:ln w="12700" cap="flat" cmpd="sng" algn="ctr">
            <a:noFill/>
            <a:prstDash val="solid"/>
            <a:miter lim="800000"/>
          </a:ln>
          <a:effectLst>
            <a:outerShdw blurRad="25400" dist="12700" dir="2700000" algn="tl" rotWithShape="0">
              <a:prstClr val="black">
                <a:alpha val="20000"/>
              </a:prstClr>
            </a:outerShdw>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cs typeface="+mn-cs"/>
            </a:endParaRPr>
          </a:p>
        </p:txBody>
      </p:sp>
      <p:sp>
        <p:nvSpPr>
          <p:cNvPr id="21" name="Freeform 28">
            <a:extLst>
              <a:ext uri="{FF2B5EF4-FFF2-40B4-BE49-F238E27FC236}">
                <a16:creationId xmlns:a16="http://schemas.microsoft.com/office/drawing/2014/main" id="{0A7D71E7-945F-AEEB-1E5B-EB3CC9B8A7B8}"/>
              </a:ext>
            </a:extLst>
          </p:cNvPr>
          <p:cNvSpPr/>
          <p:nvPr/>
        </p:nvSpPr>
        <p:spPr>
          <a:xfrm>
            <a:off x="4384359" y="1192573"/>
            <a:ext cx="2174811" cy="957704"/>
          </a:xfrm>
          <a:prstGeom prst="notchedRightArrow">
            <a:avLst/>
          </a:prstGeom>
          <a:solidFill>
            <a:srgbClr val="0070C0"/>
          </a:solidFill>
          <a:ln w="12700" cap="flat" cmpd="sng" algn="ctr">
            <a:noFill/>
            <a:prstDash val="solid"/>
            <a:miter lim="800000"/>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cs typeface="+mn-cs"/>
            </a:endParaRPr>
          </a:p>
        </p:txBody>
      </p:sp>
      <p:sp>
        <p:nvSpPr>
          <p:cNvPr id="22" name="TextBox 21">
            <a:extLst>
              <a:ext uri="{FF2B5EF4-FFF2-40B4-BE49-F238E27FC236}">
                <a16:creationId xmlns:a16="http://schemas.microsoft.com/office/drawing/2014/main" id="{FFF368DE-CBAC-057E-7901-9ABEA054D88D}"/>
              </a:ext>
            </a:extLst>
          </p:cNvPr>
          <p:cNvSpPr txBox="1"/>
          <p:nvPr/>
        </p:nvSpPr>
        <p:spPr>
          <a:xfrm>
            <a:off x="4848693" y="1471360"/>
            <a:ext cx="1293755" cy="400110"/>
          </a:xfrm>
          <a:prstGeom prst="rect">
            <a:avLst/>
          </a:prstGeom>
          <a:noFill/>
        </p:spPr>
        <p:txBody>
          <a:bodyPr wrap="square" rtlCol="0" anchor="ctr">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rPr>
              <a:t>Translate into Data Questions</a:t>
            </a:r>
          </a:p>
        </p:txBody>
      </p:sp>
      <p:sp>
        <p:nvSpPr>
          <p:cNvPr id="23" name="Freeform 30">
            <a:extLst>
              <a:ext uri="{FF2B5EF4-FFF2-40B4-BE49-F238E27FC236}">
                <a16:creationId xmlns:a16="http://schemas.microsoft.com/office/drawing/2014/main" id="{FE81A7B7-BEA5-A847-1DDF-066041252B2C}"/>
              </a:ext>
            </a:extLst>
          </p:cNvPr>
          <p:cNvSpPr/>
          <p:nvPr/>
        </p:nvSpPr>
        <p:spPr>
          <a:xfrm>
            <a:off x="2471393" y="1101034"/>
            <a:ext cx="2240459" cy="1140758"/>
          </a:xfrm>
          <a:prstGeom prst="notchedRightArrow">
            <a:avLst/>
          </a:prstGeom>
          <a:solidFill>
            <a:srgbClr val="FFFFFF"/>
          </a:solidFill>
          <a:ln w="12700" cap="flat" cmpd="sng" algn="ctr">
            <a:noFill/>
            <a:prstDash val="solid"/>
            <a:miter lim="800000"/>
          </a:ln>
          <a:effectLst>
            <a:outerShdw blurRad="25400" dist="12700" dir="2700000" algn="tl" rotWithShape="0">
              <a:prstClr val="black">
                <a:alpha val="20000"/>
              </a:prstClr>
            </a:outerShdw>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cs typeface="+mn-cs"/>
            </a:endParaRPr>
          </a:p>
        </p:txBody>
      </p:sp>
      <p:sp>
        <p:nvSpPr>
          <p:cNvPr id="24" name="Freeform 28">
            <a:extLst>
              <a:ext uri="{FF2B5EF4-FFF2-40B4-BE49-F238E27FC236}">
                <a16:creationId xmlns:a16="http://schemas.microsoft.com/office/drawing/2014/main" id="{95301A97-9AB2-0FF2-DC51-9D66B80875AA}"/>
              </a:ext>
            </a:extLst>
          </p:cNvPr>
          <p:cNvSpPr/>
          <p:nvPr/>
        </p:nvSpPr>
        <p:spPr>
          <a:xfrm>
            <a:off x="2471393" y="1191483"/>
            <a:ext cx="2174811" cy="957706"/>
          </a:xfrm>
          <a:prstGeom prst="notchedRightArrow">
            <a:avLst/>
          </a:prstGeom>
          <a:solidFill>
            <a:srgbClr val="1C345E"/>
          </a:solidFill>
          <a:ln w="12700" cap="flat" cmpd="sng" algn="ctr">
            <a:noFill/>
            <a:prstDash val="solid"/>
            <a:miter lim="800000"/>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Calibri" panose="020F0502020204030204"/>
              <a:cs typeface="+mn-cs"/>
            </a:endParaRPr>
          </a:p>
        </p:txBody>
      </p:sp>
      <p:sp>
        <p:nvSpPr>
          <p:cNvPr id="25" name="TextBox 24">
            <a:extLst>
              <a:ext uri="{FF2B5EF4-FFF2-40B4-BE49-F238E27FC236}">
                <a16:creationId xmlns:a16="http://schemas.microsoft.com/office/drawing/2014/main" id="{D075FABD-6AEE-C4A0-D2FD-DD35308672C3}"/>
              </a:ext>
            </a:extLst>
          </p:cNvPr>
          <p:cNvSpPr txBox="1"/>
          <p:nvPr/>
        </p:nvSpPr>
        <p:spPr>
          <a:xfrm>
            <a:off x="2781440" y="1470281"/>
            <a:ext cx="1635640" cy="400110"/>
          </a:xfrm>
          <a:prstGeom prst="rect">
            <a:avLst/>
          </a:prstGeom>
          <a:noFill/>
        </p:spPr>
        <p:txBody>
          <a:bodyPr wrap="square" rtlCol="0" anchor="ctr">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rPr>
              <a:t>Break Down the Business Question</a:t>
            </a:r>
          </a:p>
        </p:txBody>
      </p:sp>
      <p:sp>
        <p:nvSpPr>
          <p:cNvPr id="26" name="Freeform 30">
            <a:extLst>
              <a:ext uri="{FF2B5EF4-FFF2-40B4-BE49-F238E27FC236}">
                <a16:creationId xmlns:a16="http://schemas.microsoft.com/office/drawing/2014/main" id="{FCAA2075-8864-885D-62C8-2B69E59DEB7D}"/>
              </a:ext>
            </a:extLst>
          </p:cNvPr>
          <p:cNvSpPr/>
          <p:nvPr/>
        </p:nvSpPr>
        <p:spPr>
          <a:xfrm>
            <a:off x="606627" y="1101026"/>
            <a:ext cx="2240460" cy="1140758"/>
          </a:xfrm>
          <a:prstGeom prst="notchedRightArrow">
            <a:avLst/>
          </a:prstGeom>
          <a:solidFill>
            <a:srgbClr val="FFFFFF"/>
          </a:solidFill>
          <a:ln w="12700" cap="flat" cmpd="sng" algn="ctr">
            <a:noFill/>
            <a:prstDash val="solid"/>
            <a:miter lim="800000"/>
          </a:ln>
          <a:effectLst>
            <a:outerShdw blurRad="25400" dist="12700" dir="2700000" algn="tl" rotWithShape="0">
              <a:prstClr val="black">
                <a:alpha val="20000"/>
              </a:prstClr>
            </a:outerShdw>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cs typeface="+mn-cs"/>
            </a:endParaRPr>
          </a:p>
        </p:txBody>
      </p:sp>
      <p:sp>
        <p:nvSpPr>
          <p:cNvPr id="27" name="Freeform 28">
            <a:extLst>
              <a:ext uri="{FF2B5EF4-FFF2-40B4-BE49-F238E27FC236}">
                <a16:creationId xmlns:a16="http://schemas.microsoft.com/office/drawing/2014/main" id="{956CB1FB-5581-D5A4-621A-693881F2D14A}"/>
              </a:ext>
            </a:extLst>
          </p:cNvPr>
          <p:cNvSpPr/>
          <p:nvPr/>
        </p:nvSpPr>
        <p:spPr>
          <a:xfrm>
            <a:off x="606628" y="1192561"/>
            <a:ext cx="2174811" cy="957705"/>
          </a:xfrm>
          <a:prstGeom prst="notchedRightArrow">
            <a:avLst/>
          </a:prstGeom>
          <a:solidFill>
            <a:schemeClr val="bg2">
              <a:lumMod val="75000"/>
            </a:schemeClr>
          </a:solidFill>
          <a:ln w="12700" cap="flat" cmpd="sng" algn="ctr">
            <a:noFill/>
            <a:prstDash val="solid"/>
            <a:miter lim="800000"/>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Calibri" panose="020F0502020204030204"/>
              <a:cs typeface="+mn-cs"/>
            </a:endParaRPr>
          </a:p>
        </p:txBody>
      </p:sp>
      <p:sp>
        <p:nvSpPr>
          <p:cNvPr id="28" name="TextBox 27">
            <a:extLst>
              <a:ext uri="{FF2B5EF4-FFF2-40B4-BE49-F238E27FC236}">
                <a16:creationId xmlns:a16="http://schemas.microsoft.com/office/drawing/2014/main" id="{B7D83F84-8EAC-630A-6175-28A889F1FFFA}"/>
              </a:ext>
            </a:extLst>
          </p:cNvPr>
          <p:cNvSpPr txBox="1"/>
          <p:nvPr/>
        </p:nvSpPr>
        <p:spPr>
          <a:xfrm>
            <a:off x="921593" y="1471357"/>
            <a:ext cx="1293755" cy="400110"/>
          </a:xfrm>
          <a:prstGeom prst="rect">
            <a:avLst/>
          </a:prstGeom>
          <a:noFill/>
        </p:spPr>
        <p:txBody>
          <a:bodyPr wrap="square" rtlCol="0" anchor="ctr">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rPr>
              <a:t>Clarify the </a:t>
            </a:r>
            <a:r>
              <a:rPr kumimoji="0" lang="en-US" sz="1000" b="1" i="0" u="none" strike="noStrike" kern="0" cap="none" spc="0" normalizeH="0" baseline="0" noProof="0" err="1">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rPr>
              <a:t>Busines</a:t>
            </a:r>
            <a:r>
              <a:rPr lang="en-US" sz="1000" b="1" kern="0">
                <a:solidFill>
                  <a:srgbClr val="FFFFFF"/>
                </a:solidFill>
                <a:effectLst>
                  <a:outerShdw blurRad="38100" dist="38100" dir="2700000" algn="tl">
                    <a:srgbClr val="000000">
                      <a:alpha val="43137"/>
                    </a:srgbClr>
                  </a:outerShdw>
                </a:effectLst>
                <a:latin typeface="Century Gothic" panose="020B0502020202020204" pitchFamily="34" charset="0"/>
                <a:cs typeface="Arial" panose="020B0604020202020204" pitchFamily="34" charset="0"/>
              </a:rPr>
              <a:t>s Goal</a:t>
            </a:r>
            <a:endParaRPr kumimoji="0" lang="en-US" sz="10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EF9800C1-9AD2-A0C4-43DE-EE09492AAF47}"/>
              </a:ext>
            </a:extLst>
          </p:cNvPr>
          <p:cNvSpPr/>
          <p:nvPr/>
        </p:nvSpPr>
        <p:spPr>
          <a:xfrm rot="5400000" flipH="1">
            <a:off x="1356449" y="897314"/>
            <a:ext cx="611928" cy="611927"/>
          </a:xfrm>
          <a:prstGeom prst="rect">
            <a:avLst/>
          </a:prstGeom>
          <a:solidFill>
            <a:srgbClr val="152746"/>
          </a:solidFill>
          <a:ln w="6350" cap="flat" cmpd="sng" algn="ctr">
            <a:solidFill>
              <a:srgbClr val="152746"/>
            </a:solid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1122F934-6EA6-771B-D0D6-0C5101C0DC3E}"/>
              </a:ext>
            </a:extLst>
          </p:cNvPr>
          <p:cNvSpPr/>
          <p:nvPr/>
        </p:nvSpPr>
        <p:spPr>
          <a:xfrm rot="5400000" flipH="1">
            <a:off x="3279047" y="897314"/>
            <a:ext cx="611928" cy="611927"/>
          </a:xfrm>
          <a:prstGeom prst="rect">
            <a:avLst/>
          </a:prstGeom>
          <a:solidFill>
            <a:srgbClr val="1C345E"/>
          </a:solidFill>
          <a:ln w="6350" cap="flat" cmpd="sng" algn="ctr">
            <a:solidFill>
              <a:srgbClr val="1C345E"/>
            </a:solid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5D8CAE5B-63D9-D44F-4454-5B5066CE5861}"/>
              </a:ext>
            </a:extLst>
          </p:cNvPr>
          <p:cNvSpPr/>
          <p:nvPr/>
        </p:nvSpPr>
        <p:spPr>
          <a:xfrm rot="5400000" flipH="1">
            <a:off x="5201644" y="897314"/>
            <a:ext cx="611928" cy="611927"/>
          </a:xfrm>
          <a:prstGeom prst="rect">
            <a:avLst/>
          </a:prstGeom>
          <a:solidFill>
            <a:srgbClr val="0070C0"/>
          </a:solidFill>
          <a:ln w="6350" cap="flat" cmpd="sng" algn="ctr">
            <a:solidFill>
              <a:srgbClr val="0070C0"/>
            </a:solid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A9B2D3A2-D3E7-B068-36E5-7D4B5F60B43A}"/>
              </a:ext>
            </a:extLst>
          </p:cNvPr>
          <p:cNvSpPr/>
          <p:nvPr/>
        </p:nvSpPr>
        <p:spPr>
          <a:xfrm rot="5400000" flipH="1">
            <a:off x="7124241" y="897314"/>
            <a:ext cx="611928" cy="611927"/>
          </a:xfrm>
          <a:prstGeom prst="rect">
            <a:avLst/>
          </a:prstGeom>
          <a:solidFill>
            <a:schemeClr val="bg2">
              <a:lumMod val="60000"/>
              <a:lumOff val="40000"/>
            </a:schemeClr>
          </a:solidFill>
          <a:ln w="6350" cap="flat" cmpd="sng" algn="ctr">
            <a:solidFill>
              <a:srgbClr val="4C79CA"/>
            </a:solid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nvGrpSpPr>
          <p:cNvPr id="34" name="Group 33">
            <a:extLst>
              <a:ext uri="{FF2B5EF4-FFF2-40B4-BE49-F238E27FC236}">
                <a16:creationId xmlns:a16="http://schemas.microsoft.com/office/drawing/2014/main" id="{8A5BB20C-7C98-D7EE-E788-1DB532F58EF5}"/>
              </a:ext>
            </a:extLst>
          </p:cNvPr>
          <p:cNvGrpSpPr/>
          <p:nvPr/>
        </p:nvGrpSpPr>
        <p:grpSpPr>
          <a:xfrm>
            <a:off x="683382" y="1924267"/>
            <a:ext cx="1852691" cy="2194648"/>
            <a:chOff x="911176" y="3283957"/>
            <a:chExt cx="2470254" cy="2926201"/>
          </a:xfrm>
        </p:grpSpPr>
        <p:cxnSp>
          <p:nvCxnSpPr>
            <p:cNvPr id="53" name="Straight Connector 52">
              <a:extLst>
                <a:ext uri="{FF2B5EF4-FFF2-40B4-BE49-F238E27FC236}">
                  <a16:creationId xmlns:a16="http://schemas.microsoft.com/office/drawing/2014/main" id="{D91A4448-349C-8F3A-4274-39D2EA2422C3}"/>
                </a:ext>
              </a:extLst>
            </p:cNvPr>
            <p:cNvCxnSpPr>
              <a:cxnSpLocks/>
            </p:cNvCxnSpPr>
            <p:nvPr/>
          </p:nvCxnSpPr>
          <p:spPr>
            <a:xfrm>
              <a:off x="2146297" y="3283957"/>
              <a:ext cx="2" cy="638184"/>
            </a:xfrm>
            <a:prstGeom prst="line">
              <a:avLst/>
            </a:prstGeom>
            <a:noFill/>
            <a:ln w="6350" cap="flat" cmpd="sng" algn="ctr">
              <a:solidFill>
                <a:srgbClr val="152746"/>
              </a:solidFill>
              <a:prstDash val="solid"/>
              <a:miter lim="800000"/>
            </a:ln>
            <a:effectLst/>
          </p:spPr>
        </p:cxnSp>
        <p:sp>
          <p:nvSpPr>
            <p:cNvPr id="54" name="Rectangle: Rounded Corners 53">
              <a:extLst>
                <a:ext uri="{FF2B5EF4-FFF2-40B4-BE49-F238E27FC236}">
                  <a16:creationId xmlns:a16="http://schemas.microsoft.com/office/drawing/2014/main" id="{102EF6EB-9A16-8D50-EFC7-596FE3EB1CEE}"/>
                </a:ext>
              </a:extLst>
            </p:cNvPr>
            <p:cNvSpPr/>
            <p:nvPr/>
          </p:nvSpPr>
          <p:spPr>
            <a:xfrm>
              <a:off x="911176" y="3609967"/>
              <a:ext cx="2470254" cy="2600191"/>
            </a:xfrm>
            <a:prstGeom prst="roundRect">
              <a:avLst>
                <a:gd name="adj" fmla="val 2224"/>
              </a:avLst>
            </a:prstGeom>
            <a:solidFill>
              <a:srgbClr val="FFFFFF"/>
            </a:solidFill>
            <a:ln w="6350" cap="flat" cmpd="sng" algn="ctr">
              <a:solidFill>
                <a:srgbClr val="152746"/>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 name="Rectangle 54" hidden="1">
              <a:extLst>
                <a:ext uri="{FF2B5EF4-FFF2-40B4-BE49-F238E27FC236}">
                  <a16:creationId xmlns:a16="http://schemas.microsoft.com/office/drawing/2014/main" id="{28C3F18D-53B3-1D95-2E06-4AECA63D464B}"/>
                </a:ext>
              </a:extLst>
            </p:cNvPr>
            <p:cNvSpPr/>
            <p:nvPr/>
          </p:nvSpPr>
          <p:spPr>
            <a:xfrm>
              <a:off x="2108988" y="3926421"/>
              <a:ext cx="74618" cy="74618"/>
            </a:xfrm>
            <a:prstGeom prst="rect">
              <a:avLst/>
            </a:prstGeom>
            <a:solidFill>
              <a:srgbClr val="FFFFFF"/>
            </a:solidFill>
            <a:ln w="6350" cap="flat" cmpd="sng" algn="ctr">
              <a:solidFill>
                <a:schemeClr val="tx2"/>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 name="Rectangle 55">
              <a:extLst>
                <a:ext uri="{FF2B5EF4-FFF2-40B4-BE49-F238E27FC236}">
                  <a16:creationId xmlns:a16="http://schemas.microsoft.com/office/drawing/2014/main" id="{F3FC1E58-E6F3-0FAA-0A05-D0D6DE0EBD1D}"/>
                </a:ext>
              </a:extLst>
            </p:cNvPr>
            <p:cNvSpPr/>
            <p:nvPr/>
          </p:nvSpPr>
          <p:spPr>
            <a:xfrm>
              <a:off x="2108988" y="3283957"/>
              <a:ext cx="74618" cy="74618"/>
            </a:xfrm>
            <a:prstGeom prst="rect">
              <a:avLst/>
            </a:prstGeom>
            <a:solidFill>
              <a:srgbClr val="FFFFFF"/>
            </a:solidFill>
            <a:ln w="6350" cap="flat" cmpd="sng" algn="ctr">
              <a:solidFill>
                <a:srgbClr val="152746"/>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57" name="TextBox 56">
              <a:extLst>
                <a:ext uri="{FF2B5EF4-FFF2-40B4-BE49-F238E27FC236}">
                  <a16:creationId xmlns:a16="http://schemas.microsoft.com/office/drawing/2014/main" id="{C78900CF-ECE1-D1ED-B122-2EBE1B33C5B7}"/>
                </a:ext>
              </a:extLst>
            </p:cNvPr>
            <p:cNvSpPr txBox="1"/>
            <p:nvPr/>
          </p:nvSpPr>
          <p:spPr>
            <a:xfrm>
              <a:off x="984823" y="3748251"/>
              <a:ext cx="2350363" cy="2339104"/>
            </a:xfrm>
            <a:prstGeom prst="rect">
              <a:avLst/>
            </a:prstGeom>
            <a:noFill/>
          </p:spPr>
          <p:txBody>
            <a:bodyPr wrap="square" rtlCol="0" anchor="ctr">
              <a:spAutoFit/>
            </a:bodyPr>
            <a:lstStyle/>
            <a:p>
              <a:pPr algn="ctr"/>
              <a:r>
                <a:rPr lang="en-US" sz="1200">
                  <a:latin typeface="Calibri" panose="020F0502020204030204" pitchFamily="34" charset="0"/>
                  <a:cs typeface="Calibri" panose="020F0502020204030204" pitchFamily="34" charset="0"/>
                </a:rPr>
                <a:t>Identify the aim or intent behind the business question</a:t>
              </a:r>
            </a:p>
            <a:p>
              <a:pPr algn="ctr"/>
              <a:endParaRPr lang="en-US" sz="1200" i="0">
                <a:effectLst/>
                <a:latin typeface="Calibri" panose="020F0502020204030204" pitchFamily="34" charset="0"/>
                <a:cs typeface="Calibri" panose="020F0502020204030204" pitchFamily="34" charset="0"/>
              </a:endParaRPr>
            </a:p>
            <a:p>
              <a:pPr algn="ctr"/>
              <a:r>
                <a:rPr lang="en-US" sz="1200">
                  <a:latin typeface="Calibri" panose="020F0502020204030204" pitchFamily="34" charset="0"/>
                  <a:cs typeface="Calibri" panose="020F0502020204030204" pitchFamily="34" charset="0"/>
                </a:rPr>
                <a:t>Ask questions to understand the context, dimensions, clarify terminology and definitions</a:t>
              </a:r>
              <a:endParaRPr lang="en-US" sz="1200" i="0">
                <a:effectLst/>
                <a:latin typeface="Calibri" panose="020F0502020204030204" pitchFamily="34" charset="0"/>
                <a:cs typeface="Calibri" panose="020F0502020204030204" pitchFamily="34" charset="0"/>
              </a:endParaRPr>
            </a:p>
          </p:txBody>
        </p:sp>
      </p:grpSp>
      <p:grpSp>
        <p:nvGrpSpPr>
          <p:cNvPr id="35" name="Group 34">
            <a:extLst>
              <a:ext uri="{FF2B5EF4-FFF2-40B4-BE49-F238E27FC236}">
                <a16:creationId xmlns:a16="http://schemas.microsoft.com/office/drawing/2014/main" id="{33BFD086-E62A-7413-BC7A-C24F3C65277E}"/>
              </a:ext>
            </a:extLst>
          </p:cNvPr>
          <p:cNvGrpSpPr/>
          <p:nvPr/>
        </p:nvGrpSpPr>
        <p:grpSpPr>
          <a:xfrm>
            <a:off x="2616602" y="1924267"/>
            <a:ext cx="1889137" cy="2194648"/>
            <a:chOff x="3488803" y="3283957"/>
            <a:chExt cx="2518849" cy="2926201"/>
          </a:xfrm>
        </p:grpSpPr>
        <p:cxnSp>
          <p:nvCxnSpPr>
            <p:cNvPr id="48" name="Straight Connector 47">
              <a:extLst>
                <a:ext uri="{FF2B5EF4-FFF2-40B4-BE49-F238E27FC236}">
                  <a16:creationId xmlns:a16="http://schemas.microsoft.com/office/drawing/2014/main" id="{2604CDFE-75B6-518A-195F-BC0A60F2ADB3}"/>
                </a:ext>
              </a:extLst>
            </p:cNvPr>
            <p:cNvCxnSpPr>
              <a:cxnSpLocks/>
            </p:cNvCxnSpPr>
            <p:nvPr/>
          </p:nvCxnSpPr>
          <p:spPr>
            <a:xfrm>
              <a:off x="4723924" y="3283957"/>
              <a:ext cx="2" cy="638184"/>
            </a:xfrm>
            <a:prstGeom prst="line">
              <a:avLst/>
            </a:prstGeom>
            <a:noFill/>
            <a:ln w="6350" cap="flat" cmpd="sng" algn="ctr">
              <a:solidFill>
                <a:srgbClr val="1C345E"/>
              </a:solidFill>
              <a:prstDash val="solid"/>
              <a:miter lim="800000"/>
            </a:ln>
            <a:effectLst/>
          </p:spPr>
        </p:cxnSp>
        <p:sp>
          <p:nvSpPr>
            <p:cNvPr id="49" name="Rectangle: Rounded Corners 48">
              <a:extLst>
                <a:ext uri="{FF2B5EF4-FFF2-40B4-BE49-F238E27FC236}">
                  <a16:creationId xmlns:a16="http://schemas.microsoft.com/office/drawing/2014/main" id="{8F7C6F5C-1A68-8B13-1129-84D7A24E0DD4}"/>
                </a:ext>
              </a:extLst>
            </p:cNvPr>
            <p:cNvSpPr/>
            <p:nvPr/>
          </p:nvSpPr>
          <p:spPr>
            <a:xfrm>
              <a:off x="3488803" y="3609967"/>
              <a:ext cx="2470254" cy="2600191"/>
            </a:xfrm>
            <a:prstGeom prst="roundRect">
              <a:avLst>
                <a:gd name="adj" fmla="val 1528"/>
              </a:avLst>
            </a:prstGeom>
            <a:solidFill>
              <a:srgbClr val="FFFFFF"/>
            </a:solidFill>
            <a:ln w="6350" cap="flat" cmpd="sng" algn="ctr">
              <a:solidFill>
                <a:srgbClr val="1C345E"/>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50" name="Rectangle 49" hidden="1">
              <a:extLst>
                <a:ext uri="{FF2B5EF4-FFF2-40B4-BE49-F238E27FC236}">
                  <a16:creationId xmlns:a16="http://schemas.microsoft.com/office/drawing/2014/main" id="{9BE79A7C-0FA5-7A3E-C9E4-2ACF620D31F5}"/>
                </a:ext>
              </a:extLst>
            </p:cNvPr>
            <p:cNvSpPr/>
            <p:nvPr/>
          </p:nvSpPr>
          <p:spPr>
            <a:xfrm>
              <a:off x="4686615" y="3926421"/>
              <a:ext cx="74618" cy="74618"/>
            </a:xfrm>
            <a:prstGeom prst="rect">
              <a:avLst/>
            </a:prstGeom>
            <a:solidFill>
              <a:srgbClr val="FFFFFF"/>
            </a:solidFill>
            <a:ln w="6350" cap="flat" cmpd="sng" algn="ctr">
              <a:solidFill>
                <a:schemeClr val="accent2"/>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42628C51-3E3F-32D7-4F3C-13D7ADC1792A}"/>
                </a:ext>
              </a:extLst>
            </p:cNvPr>
            <p:cNvSpPr/>
            <p:nvPr/>
          </p:nvSpPr>
          <p:spPr>
            <a:xfrm>
              <a:off x="4686615" y="3283957"/>
              <a:ext cx="74618" cy="74618"/>
            </a:xfrm>
            <a:prstGeom prst="rect">
              <a:avLst/>
            </a:prstGeom>
            <a:solidFill>
              <a:srgbClr val="FFFFFF"/>
            </a:solidFill>
            <a:ln w="6350" cap="flat" cmpd="sng" algn="ctr">
              <a:solidFill>
                <a:srgbClr val="1C345E"/>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52" name="TextBox 51">
              <a:extLst>
                <a:ext uri="{FF2B5EF4-FFF2-40B4-BE49-F238E27FC236}">
                  <a16:creationId xmlns:a16="http://schemas.microsoft.com/office/drawing/2014/main" id="{451CF777-A838-F39D-9BFC-D7BC8C6412A2}"/>
                </a:ext>
              </a:extLst>
            </p:cNvPr>
            <p:cNvSpPr txBox="1"/>
            <p:nvPr/>
          </p:nvSpPr>
          <p:spPr>
            <a:xfrm>
              <a:off x="3548750" y="3781863"/>
              <a:ext cx="2458902" cy="1600441"/>
            </a:xfrm>
            <a:prstGeom prst="rect">
              <a:avLst/>
            </a:prstGeom>
            <a:noFill/>
          </p:spPr>
          <p:txBody>
            <a:bodyPr wrap="square" rtlCol="0" anchor="ctr">
              <a:spAutoFit/>
            </a:bodyPr>
            <a:lstStyle/>
            <a:p>
              <a:pPr algn="ctr"/>
              <a:r>
                <a:rPr lang="en-US" sz="1200">
                  <a:latin typeface="Calibri" panose="020F0502020204030204" pitchFamily="34" charset="0"/>
                  <a:cs typeface="Calibri" panose="020F0502020204030204" pitchFamily="34" charset="0"/>
                </a:rPr>
                <a:t>Break down the business question into key components (subjects, actions, objectives)</a:t>
              </a:r>
            </a:p>
            <a:p>
              <a:pPr algn="ctr"/>
              <a:r>
                <a:rPr lang="en-US" sz="1200">
                  <a:latin typeface="Calibri" panose="020F0502020204030204" pitchFamily="34" charset="0"/>
                  <a:cs typeface="Calibri" panose="020F0502020204030204" pitchFamily="34" charset="0"/>
                </a:rPr>
                <a:t>Identify the variables involved</a:t>
              </a:r>
            </a:p>
          </p:txBody>
        </p:sp>
      </p:grpSp>
      <p:grpSp>
        <p:nvGrpSpPr>
          <p:cNvPr id="36" name="Group 35">
            <a:extLst>
              <a:ext uri="{FF2B5EF4-FFF2-40B4-BE49-F238E27FC236}">
                <a16:creationId xmlns:a16="http://schemas.microsoft.com/office/drawing/2014/main" id="{0703B18B-9F2E-436F-CA9B-F6DEF22BF351}"/>
              </a:ext>
            </a:extLst>
          </p:cNvPr>
          <p:cNvGrpSpPr/>
          <p:nvPr/>
        </p:nvGrpSpPr>
        <p:grpSpPr>
          <a:xfrm>
            <a:off x="4549823" y="1924267"/>
            <a:ext cx="1852691" cy="2209396"/>
            <a:chOff x="6066430" y="3283957"/>
            <a:chExt cx="2470254" cy="2945865"/>
          </a:xfrm>
        </p:grpSpPr>
        <p:cxnSp>
          <p:nvCxnSpPr>
            <p:cNvPr id="43" name="Straight Connector 42">
              <a:extLst>
                <a:ext uri="{FF2B5EF4-FFF2-40B4-BE49-F238E27FC236}">
                  <a16:creationId xmlns:a16="http://schemas.microsoft.com/office/drawing/2014/main" id="{946FF72D-D6A9-4122-92E0-88E8AB36DAD4}"/>
                </a:ext>
              </a:extLst>
            </p:cNvPr>
            <p:cNvCxnSpPr>
              <a:cxnSpLocks/>
            </p:cNvCxnSpPr>
            <p:nvPr/>
          </p:nvCxnSpPr>
          <p:spPr>
            <a:xfrm>
              <a:off x="7301551" y="3283957"/>
              <a:ext cx="2" cy="638184"/>
            </a:xfrm>
            <a:prstGeom prst="line">
              <a:avLst/>
            </a:prstGeom>
            <a:noFill/>
            <a:ln w="6350" cap="flat" cmpd="sng" algn="ctr">
              <a:solidFill>
                <a:srgbClr val="0070C0"/>
              </a:solidFill>
              <a:prstDash val="solid"/>
              <a:miter lim="800000"/>
            </a:ln>
            <a:effectLst/>
          </p:spPr>
        </p:cxnSp>
        <p:sp>
          <p:nvSpPr>
            <p:cNvPr id="44" name="Rectangle: Rounded Corners 43">
              <a:extLst>
                <a:ext uri="{FF2B5EF4-FFF2-40B4-BE49-F238E27FC236}">
                  <a16:creationId xmlns:a16="http://schemas.microsoft.com/office/drawing/2014/main" id="{F0D3C9D8-C0F9-8E55-114A-8686B5B7F2C3}"/>
                </a:ext>
              </a:extLst>
            </p:cNvPr>
            <p:cNvSpPr/>
            <p:nvPr/>
          </p:nvSpPr>
          <p:spPr>
            <a:xfrm>
              <a:off x="6066430" y="3603519"/>
              <a:ext cx="2470254" cy="2626303"/>
            </a:xfrm>
            <a:prstGeom prst="roundRect">
              <a:avLst>
                <a:gd name="adj" fmla="val 1920"/>
              </a:avLst>
            </a:prstGeom>
            <a:solidFill>
              <a:srgbClr val="FFFFFF"/>
            </a:solidFill>
            <a:ln w="6350" cap="flat" cmpd="sng" algn="ctr">
              <a:solidFill>
                <a:srgbClr val="0070C0"/>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 name="Rectangle 44" hidden="1">
              <a:extLst>
                <a:ext uri="{FF2B5EF4-FFF2-40B4-BE49-F238E27FC236}">
                  <a16:creationId xmlns:a16="http://schemas.microsoft.com/office/drawing/2014/main" id="{573BB434-EC54-4A38-BC7B-916C317E8D28}"/>
                </a:ext>
              </a:extLst>
            </p:cNvPr>
            <p:cNvSpPr/>
            <p:nvPr/>
          </p:nvSpPr>
          <p:spPr>
            <a:xfrm>
              <a:off x="7264242" y="3926421"/>
              <a:ext cx="74618" cy="74618"/>
            </a:xfrm>
            <a:prstGeom prst="rect">
              <a:avLst/>
            </a:prstGeom>
            <a:solidFill>
              <a:srgbClr val="FFFFFF"/>
            </a:solidFill>
            <a:ln w="6350" cap="flat" cmpd="sng" algn="ctr">
              <a:solidFill>
                <a:schemeClr val="accent4"/>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 name="Rectangle 45">
              <a:extLst>
                <a:ext uri="{FF2B5EF4-FFF2-40B4-BE49-F238E27FC236}">
                  <a16:creationId xmlns:a16="http://schemas.microsoft.com/office/drawing/2014/main" id="{BDA280AE-FFC4-6242-47B0-37C90F1CB8CA}"/>
                </a:ext>
              </a:extLst>
            </p:cNvPr>
            <p:cNvSpPr/>
            <p:nvPr/>
          </p:nvSpPr>
          <p:spPr>
            <a:xfrm>
              <a:off x="7264242" y="3283957"/>
              <a:ext cx="74618" cy="74618"/>
            </a:xfrm>
            <a:prstGeom prst="rect">
              <a:avLst/>
            </a:prstGeom>
            <a:solidFill>
              <a:srgbClr val="FFFFFF"/>
            </a:solidFill>
            <a:ln w="6350" cap="flat" cmpd="sng" algn="ctr">
              <a:solidFill>
                <a:srgbClr val="0070C0"/>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47" name="TextBox 46">
              <a:extLst>
                <a:ext uri="{FF2B5EF4-FFF2-40B4-BE49-F238E27FC236}">
                  <a16:creationId xmlns:a16="http://schemas.microsoft.com/office/drawing/2014/main" id="{C2096384-E744-6842-AF65-2AD6402D93F7}"/>
                </a:ext>
              </a:extLst>
            </p:cNvPr>
            <p:cNvSpPr txBox="1"/>
            <p:nvPr/>
          </p:nvSpPr>
          <p:spPr>
            <a:xfrm>
              <a:off x="6092894" y="3838786"/>
              <a:ext cx="2350363" cy="1846662"/>
            </a:xfrm>
            <a:prstGeom prst="rect">
              <a:avLst/>
            </a:prstGeom>
            <a:noFill/>
          </p:spPr>
          <p:txBody>
            <a:bodyPr wrap="square" rtlCol="0" anchor="ctr">
              <a:spAutoFit/>
            </a:bodyPr>
            <a:lstStyle/>
            <a:p>
              <a:pPr algn="ctr"/>
              <a:r>
                <a:rPr lang="en-US" sz="1200">
                  <a:latin typeface="Calibri" panose="020F0502020204030204" pitchFamily="34" charset="0"/>
                  <a:cs typeface="Calibri" panose="020F0502020204030204" pitchFamily="34" charset="0"/>
                </a:rPr>
                <a:t>Translate business question into multiple data-centric questions</a:t>
              </a:r>
            </a:p>
            <a:p>
              <a:pPr algn="ctr"/>
              <a:endParaRPr lang="en-US" sz="1200">
                <a:latin typeface="Calibri" panose="020F0502020204030204" pitchFamily="34" charset="0"/>
                <a:cs typeface="Calibri" panose="020F0502020204030204" pitchFamily="34" charset="0"/>
              </a:endParaRPr>
            </a:p>
            <a:p>
              <a:pPr algn="ctr"/>
              <a:r>
                <a:rPr lang="en-US" sz="1200">
                  <a:latin typeface="Calibri" panose="020F0502020204030204" pitchFamily="34" charset="0"/>
                  <a:cs typeface="Calibri" panose="020F0502020204030204" pitchFamily="34" charset="0"/>
                </a:rPr>
                <a:t>Define KPIs or measures that will quantify the variables</a:t>
              </a:r>
            </a:p>
          </p:txBody>
        </p:sp>
      </p:grpSp>
      <p:grpSp>
        <p:nvGrpSpPr>
          <p:cNvPr id="37" name="Group 36">
            <a:extLst>
              <a:ext uri="{FF2B5EF4-FFF2-40B4-BE49-F238E27FC236}">
                <a16:creationId xmlns:a16="http://schemas.microsoft.com/office/drawing/2014/main" id="{6DF10B6E-9194-346C-896D-6BF9830E6F86}"/>
              </a:ext>
            </a:extLst>
          </p:cNvPr>
          <p:cNvGrpSpPr/>
          <p:nvPr/>
        </p:nvGrpSpPr>
        <p:grpSpPr>
          <a:xfrm>
            <a:off x="6464553" y="1924267"/>
            <a:ext cx="1871180" cy="2209396"/>
            <a:chOff x="8619404" y="3283957"/>
            <a:chExt cx="2494906" cy="2945865"/>
          </a:xfrm>
        </p:grpSpPr>
        <p:cxnSp>
          <p:nvCxnSpPr>
            <p:cNvPr id="38" name="Straight Connector 37">
              <a:extLst>
                <a:ext uri="{FF2B5EF4-FFF2-40B4-BE49-F238E27FC236}">
                  <a16:creationId xmlns:a16="http://schemas.microsoft.com/office/drawing/2014/main" id="{FE7E4B88-668C-EFC9-6A09-6F685BF973A6}"/>
                </a:ext>
              </a:extLst>
            </p:cNvPr>
            <p:cNvCxnSpPr>
              <a:cxnSpLocks/>
            </p:cNvCxnSpPr>
            <p:nvPr/>
          </p:nvCxnSpPr>
          <p:spPr>
            <a:xfrm>
              <a:off x="9879177" y="3283957"/>
              <a:ext cx="2" cy="638184"/>
            </a:xfrm>
            <a:prstGeom prst="line">
              <a:avLst/>
            </a:prstGeom>
            <a:noFill/>
            <a:ln w="6350" cap="flat" cmpd="sng" algn="ctr">
              <a:solidFill>
                <a:srgbClr val="4C79CA"/>
              </a:solidFill>
              <a:prstDash val="solid"/>
              <a:miter lim="800000"/>
            </a:ln>
            <a:effectLst/>
          </p:spPr>
        </p:cxnSp>
        <p:sp>
          <p:nvSpPr>
            <p:cNvPr id="39" name="Rectangle: Rounded Corners 38">
              <a:extLst>
                <a:ext uri="{FF2B5EF4-FFF2-40B4-BE49-F238E27FC236}">
                  <a16:creationId xmlns:a16="http://schemas.microsoft.com/office/drawing/2014/main" id="{93B1A0C0-2F03-7455-9B25-BF7C5DBD737D}"/>
                </a:ext>
              </a:extLst>
            </p:cNvPr>
            <p:cNvSpPr/>
            <p:nvPr/>
          </p:nvSpPr>
          <p:spPr>
            <a:xfrm>
              <a:off x="8644056" y="3603519"/>
              <a:ext cx="2470254" cy="2626303"/>
            </a:xfrm>
            <a:prstGeom prst="roundRect">
              <a:avLst>
                <a:gd name="adj" fmla="val 2885"/>
              </a:avLst>
            </a:prstGeom>
            <a:solidFill>
              <a:srgbClr val="FFFFFF"/>
            </a:solidFill>
            <a:ln w="6350" cap="flat" cmpd="sng" algn="ctr">
              <a:solidFill>
                <a:srgbClr val="4C79CA"/>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40" name="Rectangle 39" hidden="1">
              <a:extLst>
                <a:ext uri="{FF2B5EF4-FFF2-40B4-BE49-F238E27FC236}">
                  <a16:creationId xmlns:a16="http://schemas.microsoft.com/office/drawing/2014/main" id="{55850E3B-77FB-4FCD-B603-4E399FE96C10}"/>
                </a:ext>
              </a:extLst>
            </p:cNvPr>
            <p:cNvSpPr/>
            <p:nvPr/>
          </p:nvSpPr>
          <p:spPr>
            <a:xfrm>
              <a:off x="9841868" y="3926421"/>
              <a:ext cx="74618" cy="74618"/>
            </a:xfrm>
            <a:prstGeom prst="rect">
              <a:avLst/>
            </a:prstGeom>
            <a:solidFill>
              <a:srgbClr val="FFFFFF"/>
            </a:solidFill>
            <a:ln w="6350" cap="flat" cmpd="sng" algn="ctr">
              <a:solidFill>
                <a:schemeClr val="accent6"/>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A136EA68-A17E-269C-0EDF-5EDF4478C516}"/>
                </a:ext>
              </a:extLst>
            </p:cNvPr>
            <p:cNvSpPr/>
            <p:nvPr/>
          </p:nvSpPr>
          <p:spPr>
            <a:xfrm>
              <a:off x="9841868" y="3283957"/>
              <a:ext cx="74618" cy="74618"/>
            </a:xfrm>
            <a:prstGeom prst="rect">
              <a:avLst/>
            </a:prstGeom>
            <a:solidFill>
              <a:srgbClr val="FFFFFF"/>
            </a:solidFill>
            <a:ln w="6350" cap="flat" cmpd="sng" algn="ctr">
              <a:solidFill>
                <a:srgbClr val="4C79CA"/>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2" name="TextBox 41">
              <a:extLst>
                <a:ext uri="{FF2B5EF4-FFF2-40B4-BE49-F238E27FC236}">
                  <a16:creationId xmlns:a16="http://schemas.microsoft.com/office/drawing/2014/main" id="{91409E97-E30A-0E96-FEC2-BA288563E38B}"/>
                </a:ext>
              </a:extLst>
            </p:cNvPr>
            <p:cNvSpPr txBox="1"/>
            <p:nvPr/>
          </p:nvSpPr>
          <p:spPr>
            <a:xfrm>
              <a:off x="8619404" y="3855818"/>
              <a:ext cx="2375478" cy="1107997"/>
            </a:xfrm>
            <a:prstGeom prst="rect">
              <a:avLst/>
            </a:prstGeom>
            <a:noFill/>
          </p:spPr>
          <p:txBody>
            <a:bodyPr wrap="square" rtlCol="0" anchor="ctr">
              <a:spAutoFit/>
            </a:bodyPr>
            <a:lstStyle/>
            <a:p>
              <a:pPr algn="ctr"/>
              <a:r>
                <a:rPr lang="en-US" sz="1200">
                  <a:latin typeface="Calibri" panose="020F0502020204030204" pitchFamily="34" charset="0"/>
                  <a:cs typeface="Calibri" panose="020F0502020204030204" pitchFamily="34" charset="0"/>
                </a:rPr>
                <a:t>Refine the questions to ensure they are clear, specific, scoped, data-oriented, and answerable</a:t>
              </a:r>
            </a:p>
          </p:txBody>
        </p:sp>
      </p:grpSp>
      <p:sp>
        <p:nvSpPr>
          <p:cNvPr id="58" name="Rectangle 57">
            <a:extLst>
              <a:ext uri="{FF2B5EF4-FFF2-40B4-BE49-F238E27FC236}">
                <a16:creationId xmlns:a16="http://schemas.microsoft.com/office/drawing/2014/main" id="{C4CD804E-1320-6761-B54F-E3D47C97A130}"/>
              </a:ext>
            </a:extLst>
          </p:cNvPr>
          <p:cNvSpPr/>
          <p:nvPr/>
        </p:nvSpPr>
        <p:spPr>
          <a:xfrm flipH="1">
            <a:off x="1402505" y="943369"/>
            <a:ext cx="519817" cy="519815"/>
          </a:xfrm>
          <a:prstGeom prst="rect">
            <a:avLst/>
          </a:prstGeom>
          <a:solidFill>
            <a:srgbClr val="FFFFFF"/>
          </a:solidFill>
          <a:ln w="6350" cap="flat" cmpd="sng" algn="ctr">
            <a:solidFill>
              <a:srgbClr val="152746"/>
            </a:solidFill>
            <a:prstDash val="solid"/>
            <a:miter lim="800000"/>
          </a:ln>
          <a:effectLst>
            <a:outerShdw blurRad="63500" sx="102000" sy="102000" algn="ctr" rotWithShape="0">
              <a:prstClr val="black">
                <a:alpha val="10000"/>
              </a:prstClr>
            </a:outerShdw>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 name="Freeform: Shape 59">
            <a:extLst>
              <a:ext uri="{FF2B5EF4-FFF2-40B4-BE49-F238E27FC236}">
                <a16:creationId xmlns:a16="http://schemas.microsoft.com/office/drawing/2014/main" id="{F1DA4FC8-670F-37F4-6766-9CBDA972BB27}"/>
              </a:ext>
            </a:extLst>
          </p:cNvPr>
          <p:cNvSpPr/>
          <p:nvPr/>
        </p:nvSpPr>
        <p:spPr>
          <a:xfrm>
            <a:off x="1521535" y="1062399"/>
            <a:ext cx="281757" cy="281757"/>
          </a:xfrm>
          <a:custGeom>
            <a:avLst/>
            <a:gdLst>
              <a:gd name="connsiteX0" fmla="*/ 1679376 w 5486401"/>
              <a:gd name="connsiteY0" fmla="*/ 2261882 h 5486400"/>
              <a:gd name="connsiteX1" fmla="*/ 3479601 w 5486401"/>
              <a:gd name="connsiteY1" fmla="*/ 2261882 h 5486400"/>
              <a:gd name="connsiteX2" fmla="*/ 3479601 w 5486401"/>
              <a:gd name="connsiteY2" fmla="*/ 2604782 h 5486400"/>
              <a:gd name="connsiteX3" fmla="*/ 1679376 w 5486401"/>
              <a:gd name="connsiteY3" fmla="*/ 2604782 h 5486400"/>
              <a:gd name="connsiteX4" fmla="*/ 4250356 w 5486401"/>
              <a:gd name="connsiteY4" fmla="*/ 1513966 h 5486400"/>
              <a:gd name="connsiteX5" fmla="*/ 4655047 w 5486401"/>
              <a:gd name="connsiteY5" fmla="*/ 1513966 h 5486400"/>
              <a:gd name="connsiteX6" fmla="*/ 4655047 w 5486401"/>
              <a:gd name="connsiteY6" fmla="*/ 1853471 h 5486400"/>
              <a:gd name="connsiteX7" fmla="*/ 4250356 w 5486401"/>
              <a:gd name="connsiteY7" fmla="*/ 1853471 h 5486400"/>
              <a:gd name="connsiteX8" fmla="*/ 3749946 w 5486401"/>
              <a:gd name="connsiteY8" fmla="*/ 1513966 h 5486400"/>
              <a:gd name="connsiteX9" fmla="*/ 4154637 w 5486401"/>
              <a:gd name="connsiteY9" fmla="*/ 1513966 h 5486400"/>
              <a:gd name="connsiteX10" fmla="*/ 4154637 w 5486401"/>
              <a:gd name="connsiteY10" fmla="*/ 1853471 h 5486400"/>
              <a:gd name="connsiteX11" fmla="*/ 3749946 w 5486401"/>
              <a:gd name="connsiteY11" fmla="*/ 1853471 h 5486400"/>
              <a:gd name="connsiteX12" fmla="*/ 1748373 w 5486401"/>
              <a:gd name="connsiteY12" fmla="*/ 1512292 h 5486400"/>
              <a:gd name="connsiteX13" fmla="*/ 3548598 w 5486401"/>
              <a:gd name="connsiteY13" fmla="*/ 1512292 h 5486400"/>
              <a:gd name="connsiteX14" fmla="*/ 3548598 w 5486401"/>
              <a:gd name="connsiteY14" fmla="*/ 1855193 h 5486400"/>
              <a:gd name="connsiteX15" fmla="*/ 1748373 w 5486401"/>
              <a:gd name="connsiteY15" fmla="*/ 1855193 h 5486400"/>
              <a:gd name="connsiteX16" fmla="*/ 1817369 w 5486401"/>
              <a:gd name="connsiteY16" fmla="*/ 771525 h 5486400"/>
              <a:gd name="connsiteX17" fmla="*/ 4629149 w 5486401"/>
              <a:gd name="connsiteY17" fmla="*/ 771525 h 5486400"/>
              <a:gd name="connsiteX18" fmla="*/ 4629149 w 5486401"/>
              <a:gd name="connsiteY18" fmla="*/ 1114426 h 5486400"/>
              <a:gd name="connsiteX19" fmla="*/ 1817369 w 5486401"/>
              <a:gd name="connsiteY19" fmla="*/ 1114426 h 5486400"/>
              <a:gd name="connsiteX20" fmla="*/ 1200150 w 5486401"/>
              <a:gd name="connsiteY20" fmla="*/ 342900 h 5486400"/>
              <a:gd name="connsiteX21" fmla="*/ 1244453 w 5486401"/>
              <a:gd name="connsiteY21" fmla="*/ 445670 h 5486400"/>
              <a:gd name="connsiteX22" fmla="*/ 1256018 w 5486401"/>
              <a:gd name="connsiteY22" fmla="*/ 507858 h 5486400"/>
              <a:gd name="connsiteX23" fmla="*/ 1256241 w 5486401"/>
              <a:gd name="connsiteY23" fmla="*/ 508657 h 5486400"/>
              <a:gd name="connsiteX24" fmla="*/ 1256326 w 5486401"/>
              <a:gd name="connsiteY24" fmla="*/ 509513 h 5486400"/>
              <a:gd name="connsiteX25" fmla="*/ 1265247 w 5486401"/>
              <a:gd name="connsiteY25" fmla="*/ 557480 h 5486400"/>
              <a:gd name="connsiteX26" fmla="*/ 1268729 w 5486401"/>
              <a:gd name="connsiteY26" fmla="*/ 634346 h 5486400"/>
              <a:gd name="connsiteX27" fmla="*/ 1268730 w 5486401"/>
              <a:gd name="connsiteY27" fmla="*/ 634365 h 5486400"/>
              <a:gd name="connsiteX28" fmla="*/ 1268730 w 5486401"/>
              <a:gd name="connsiteY28" fmla="*/ 2023112 h 5486400"/>
              <a:gd name="connsiteX29" fmla="*/ 1268730 w 5486401"/>
              <a:gd name="connsiteY29" fmla="*/ 5143500 h 5486400"/>
              <a:gd name="connsiteX30" fmla="*/ 1285875 w 5486401"/>
              <a:gd name="connsiteY30" fmla="*/ 5143500 h 5486400"/>
              <a:gd name="connsiteX31" fmla="*/ 5143501 w 5486401"/>
              <a:gd name="connsiteY31" fmla="*/ 5143500 h 5486400"/>
              <a:gd name="connsiteX32" fmla="*/ 5143501 w 5486401"/>
              <a:gd name="connsiteY32" fmla="*/ 634365 h 5486400"/>
              <a:gd name="connsiteX33" fmla="*/ 4852036 w 5486401"/>
              <a:gd name="connsiteY33" fmla="*/ 342900 h 5486400"/>
              <a:gd name="connsiteX34" fmla="*/ 651511 w 5486401"/>
              <a:gd name="connsiteY34" fmla="*/ 342900 h 5486400"/>
              <a:gd name="connsiteX35" fmla="*/ 589025 w 5486401"/>
              <a:gd name="connsiteY35" fmla="*/ 349096 h 5486400"/>
              <a:gd name="connsiteX36" fmla="*/ 342900 w 5486401"/>
              <a:gd name="connsiteY36" fmla="*/ 634365 h 5486400"/>
              <a:gd name="connsiteX37" fmla="*/ 342900 w 5486401"/>
              <a:gd name="connsiteY37" fmla="*/ 1680212 h 5486400"/>
              <a:gd name="connsiteX38" fmla="*/ 942975 w 5486401"/>
              <a:gd name="connsiteY38" fmla="*/ 1680212 h 5486400"/>
              <a:gd name="connsiteX39" fmla="*/ 942976 w 5486401"/>
              <a:gd name="connsiteY39" fmla="*/ 1680212 h 5486400"/>
              <a:gd name="connsiteX40" fmla="*/ 942976 w 5486401"/>
              <a:gd name="connsiteY40" fmla="*/ 634365 h 5486400"/>
              <a:gd name="connsiteX41" fmla="*/ 651511 w 5486401"/>
              <a:gd name="connsiteY41" fmla="*/ 342900 h 5486400"/>
              <a:gd name="connsiteX42" fmla="*/ 634366 w 5486401"/>
              <a:gd name="connsiteY42" fmla="*/ 0 h 5486400"/>
              <a:gd name="connsiteX43" fmla="*/ 651510 w 5486401"/>
              <a:gd name="connsiteY43" fmla="*/ 1733 h 5486400"/>
              <a:gd name="connsiteX44" fmla="*/ 764996 w 5486401"/>
              <a:gd name="connsiteY44" fmla="*/ 13195 h 5486400"/>
              <a:gd name="connsiteX45" fmla="*/ 1145556 w 5486401"/>
              <a:gd name="connsiteY45" fmla="*/ 258015 h 5486400"/>
              <a:gd name="connsiteX46" fmla="*/ 764996 w 5486401"/>
              <a:gd name="connsiteY46" fmla="*/ 13194 h 5486400"/>
              <a:gd name="connsiteX47" fmla="*/ 651510 w 5486401"/>
              <a:gd name="connsiteY47" fmla="*/ 1733 h 5486400"/>
              <a:gd name="connsiteX48" fmla="*/ 651510 w 5486401"/>
              <a:gd name="connsiteY48" fmla="*/ 0 h 5486400"/>
              <a:gd name="connsiteX49" fmla="*/ 4852036 w 5486401"/>
              <a:gd name="connsiteY49" fmla="*/ 0 h 5486400"/>
              <a:gd name="connsiteX50" fmla="*/ 5486401 w 5486401"/>
              <a:gd name="connsiteY50" fmla="*/ 634365 h 5486400"/>
              <a:gd name="connsiteX51" fmla="*/ 5486401 w 5486401"/>
              <a:gd name="connsiteY51" fmla="*/ 5486400 h 5486400"/>
              <a:gd name="connsiteX52" fmla="*/ 942975 w 5486401"/>
              <a:gd name="connsiteY52" fmla="*/ 5486400 h 5486400"/>
              <a:gd name="connsiteX53" fmla="*/ 942975 w 5486401"/>
              <a:gd name="connsiteY53" fmla="*/ 2023112 h 5486400"/>
              <a:gd name="connsiteX54" fmla="*/ 0 w 5486401"/>
              <a:gd name="connsiteY54" fmla="*/ 2023112 h 5486400"/>
              <a:gd name="connsiteX55" fmla="*/ 0 w 5486401"/>
              <a:gd name="connsiteY55" fmla="*/ 634365 h 5486400"/>
              <a:gd name="connsiteX56" fmla="*/ 634366 w 5486401"/>
              <a:gd name="connsiteY56" fmla="*/ 0 h 5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486401" h="5486400">
                <a:moveTo>
                  <a:pt x="1679376" y="2261882"/>
                </a:moveTo>
                <a:lnTo>
                  <a:pt x="3479601" y="2261882"/>
                </a:lnTo>
                <a:lnTo>
                  <a:pt x="3479601" y="2604782"/>
                </a:lnTo>
                <a:lnTo>
                  <a:pt x="1679376" y="2604782"/>
                </a:lnTo>
                <a:close/>
                <a:moveTo>
                  <a:pt x="4250356" y="1513966"/>
                </a:moveTo>
                <a:lnTo>
                  <a:pt x="4655047" y="1513966"/>
                </a:lnTo>
                <a:lnTo>
                  <a:pt x="4655047" y="1853471"/>
                </a:lnTo>
                <a:lnTo>
                  <a:pt x="4250356" y="1853471"/>
                </a:lnTo>
                <a:close/>
                <a:moveTo>
                  <a:pt x="3749946" y="1513966"/>
                </a:moveTo>
                <a:lnTo>
                  <a:pt x="4154637" y="1513966"/>
                </a:lnTo>
                <a:lnTo>
                  <a:pt x="4154637" y="1853471"/>
                </a:lnTo>
                <a:lnTo>
                  <a:pt x="3749946" y="1853471"/>
                </a:lnTo>
                <a:close/>
                <a:moveTo>
                  <a:pt x="1748373" y="1512292"/>
                </a:moveTo>
                <a:lnTo>
                  <a:pt x="3548598" y="1512292"/>
                </a:lnTo>
                <a:lnTo>
                  <a:pt x="3548598" y="1855193"/>
                </a:lnTo>
                <a:lnTo>
                  <a:pt x="1748373" y="1855193"/>
                </a:lnTo>
                <a:close/>
                <a:moveTo>
                  <a:pt x="1817369" y="771525"/>
                </a:moveTo>
                <a:lnTo>
                  <a:pt x="4629149" y="771525"/>
                </a:lnTo>
                <a:lnTo>
                  <a:pt x="4629149" y="1114426"/>
                </a:lnTo>
                <a:lnTo>
                  <a:pt x="1817369" y="1114426"/>
                </a:lnTo>
                <a:close/>
                <a:moveTo>
                  <a:pt x="1200150" y="342900"/>
                </a:moveTo>
                <a:cubicBezTo>
                  <a:pt x="1219438" y="375048"/>
                  <a:pt x="1233905" y="409605"/>
                  <a:pt x="1244453" y="445670"/>
                </a:cubicBezTo>
                <a:lnTo>
                  <a:pt x="1256018" y="507858"/>
                </a:lnTo>
                <a:lnTo>
                  <a:pt x="1256241" y="508657"/>
                </a:lnTo>
                <a:lnTo>
                  <a:pt x="1256326" y="509513"/>
                </a:lnTo>
                <a:lnTo>
                  <a:pt x="1265247" y="557480"/>
                </a:lnTo>
                <a:lnTo>
                  <a:pt x="1268729" y="634346"/>
                </a:lnTo>
                <a:lnTo>
                  <a:pt x="1268730" y="634365"/>
                </a:lnTo>
                <a:lnTo>
                  <a:pt x="1268730" y="2023112"/>
                </a:lnTo>
                <a:lnTo>
                  <a:pt x="1268730" y="5143500"/>
                </a:lnTo>
                <a:lnTo>
                  <a:pt x="1285875" y="5143500"/>
                </a:lnTo>
                <a:lnTo>
                  <a:pt x="5143501" y="5143500"/>
                </a:lnTo>
                <a:lnTo>
                  <a:pt x="5143501" y="634365"/>
                </a:lnTo>
                <a:cubicBezTo>
                  <a:pt x="5143501" y="462915"/>
                  <a:pt x="5006341" y="342900"/>
                  <a:pt x="4852036" y="342900"/>
                </a:cubicBezTo>
                <a:close/>
                <a:moveTo>
                  <a:pt x="651511" y="342900"/>
                </a:moveTo>
                <a:lnTo>
                  <a:pt x="589025" y="349096"/>
                </a:lnTo>
                <a:cubicBezTo>
                  <a:pt x="447914" y="377459"/>
                  <a:pt x="342900" y="499348"/>
                  <a:pt x="342900" y="634365"/>
                </a:cubicBezTo>
                <a:lnTo>
                  <a:pt x="342900" y="1680212"/>
                </a:lnTo>
                <a:lnTo>
                  <a:pt x="942975" y="1680212"/>
                </a:lnTo>
                <a:lnTo>
                  <a:pt x="942976" y="1680212"/>
                </a:lnTo>
                <a:lnTo>
                  <a:pt x="942976" y="634365"/>
                </a:lnTo>
                <a:cubicBezTo>
                  <a:pt x="942976" y="462916"/>
                  <a:pt x="805816" y="342900"/>
                  <a:pt x="651511" y="342900"/>
                </a:cubicBezTo>
                <a:close/>
                <a:moveTo>
                  <a:pt x="634366" y="0"/>
                </a:moveTo>
                <a:lnTo>
                  <a:pt x="651510" y="1733"/>
                </a:lnTo>
                <a:lnTo>
                  <a:pt x="764996" y="13195"/>
                </a:lnTo>
                <a:cubicBezTo>
                  <a:pt x="922341" y="45592"/>
                  <a:pt x="1055669" y="135440"/>
                  <a:pt x="1145556" y="258015"/>
                </a:cubicBezTo>
                <a:cubicBezTo>
                  <a:pt x="1055669" y="135440"/>
                  <a:pt x="922341" y="45592"/>
                  <a:pt x="764996" y="13194"/>
                </a:cubicBezTo>
                <a:lnTo>
                  <a:pt x="651510" y="1733"/>
                </a:lnTo>
                <a:lnTo>
                  <a:pt x="651510" y="0"/>
                </a:lnTo>
                <a:lnTo>
                  <a:pt x="4852036" y="0"/>
                </a:lnTo>
                <a:cubicBezTo>
                  <a:pt x="5194936" y="0"/>
                  <a:pt x="5486401" y="291465"/>
                  <a:pt x="5486401" y="634365"/>
                </a:cubicBezTo>
                <a:lnTo>
                  <a:pt x="5486401" y="5486400"/>
                </a:lnTo>
                <a:lnTo>
                  <a:pt x="942975" y="5486400"/>
                </a:lnTo>
                <a:lnTo>
                  <a:pt x="942975" y="2023112"/>
                </a:lnTo>
                <a:lnTo>
                  <a:pt x="0" y="2023112"/>
                </a:lnTo>
                <a:lnTo>
                  <a:pt x="0" y="634365"/>
                </a:lnTo>
                <a:cubicBezTo>
                  <a:pt x="0" y="291466"/>
                  <a:pt x="291465" y="0"/>
                  <a:pt x="634366" y="0"/>
                </a:cubicBezTo>
                <a:close/>
              </a:path>
            </a:pathLst>
          </a:custGeom>
          <a:solidFill>
            <a:srgbClr val="152746"/>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 name="Freeform: Shape 60">
            <a:extLst>
              <a:ext uri="{FF2B5EF4-FFF2-40B4-BE49-F238E27FC236}">
                <a16:creationId xmlns:a16="http://schemas.microsoft.com/office/drawing/2014/main" id="{3B0F6746-391F-3199-A3A5-CAA94EB434C5}"/>
              </a:ext>
            </a:extLst>
          </p:cNvPr>
          <p:cNvSpPr/>
          <p:nvPr/>
        </p:nvSpPr>
        <p:spPr>
          <a:xfrm>
            <a:off x="1539145" y="1080009"/>
            <a:ext cx="219242" cy="228928"/>
          </a:xfrm>
          <a:custGeom>
            <a:avLst/>
            <a:gdLst>
              <a:gd name="connsiteX0" fmla="*/ 1457325 w 4269105"/>
              <a:gd name="connsiteY0" fmla="*/ 3240405 h 4457701"/>
              <a:gd name="connsiteX1" fmla="*/ 1800225 w 4269105"/>
              <a:gd name="connsiteY1" fmla="*/ 3240405 h 4457701"/>
              <a:gd name="connsiteX2" fmla="*/ 1800225 w 4269105"/>
              <a:gd name="connsiteY2" fmla="*/ 4457701 h 4457701"/>
              <a:gd name="connsiteX3" fmla="*/ 1457325 w 4269105"/>
              <a:gd name="connsiteY3" fmla="*/ 4457701 h 4457701"/>
              <a:gd name="connsiteX4" fmla="*/ 2280285 w 4269105"/>
              <a:gd name="connsiteY4" fmla="*/ 3034665 h 4457701"/>
              <a:gd name="connsiteX5" fmla="*/ 2623185 w 4269105"/>
              <a:gd name="connsiteY5" fmla="*/ 3034665 h 4457701"/>
              <a:gd name="connsiteX6" fmla="*/ 2623185 w 4269105"/>
              <a:gd name="connsiteY6" fmla="*/ 4440556 h 4457701"/>
              <a:gd name="connsiteX7" fmla="*/ 2280285 w 4269105"/>
              <a:gd name="connsiteY7" fmla="*/ 4440556 h 4457701"/>
              <a:gd name="connsiteX8" fmla="*/ 3103245 w 4269105"/>
              <a:gd name="connsiteY8" fmla="*/ 2657475 h 4457701"/>
              <a:gd name="connsiteX9" fmla="*/ 3446145 w 4269105"/>
              <a:gd name="connsiteY9" fmla="*/ 2657475 h 4457701"/>
              <a:gd name="connsiteX10" fmla="*/ 3446145 w 4269105"/>
              <a:gd name="connsiteY10" fmla="*/ 4440555 h 4457701"/>
              <a:gd name="connsiteX11" fmla="*/ 3103245 w 4269105"/>
              <a:gd name="connsiteY11" fmla="*/ 4440555 h 4457701"/>
              <a:gd name="connsiteX12" fmla="*/ 3926205 w 4269105"/>
              <a:gd name="connsiteY12" fmla="*/ 2280285 h 4457701"/>
              <a:gd name="connsiteX13" fmla="*/ 4269105 w 4269105"/>
              <a:gd name="connsiteY13" fmla="*/ 2280285 h 4457701"/>
              <a:gd name="connsiteX14" fmla="*/ 4269105 w 4269105"/>
              <a:gd name="connsiteY14" fmla="*/ 4440556 h 4457701"/>
              <a:gd name="connsiteX15" fmla="*/ 3926205 w 4269105"/>
              <a:gd name="connsiteY15" fmla="*/ 4440556 h 4457701"/>
              <a:gd name="connsiteX16" fmla="*/ 308611 w 4269105"/>
              <a:gd name="connsiteY16" fmla="*/ 0 h 4457701"/>
              <a:gd name="connsiteX17" fmla="*/ 365436 w 4269105"/>
              <a:gd name="connsiteY17" fmla="*/ 5492 h 4457701"/>
              <a:gd name="connsiteX18" fmla="*/ 600075 w 4269105"/>
              <a:gd name="connsiteY18" fmla="*/ 291465 h 4457701"/>
              <a:gd name="connsiteX19" fmla="*/ 600075 w 4269105"/>
              <a:gd name="connsiteY19" fmla="*/ 1337311 h 4457701"/>
              <a:gd name="connsiteX20" fmla="*/ 0 w 4269105"/>
              <a:gd name="connsiteY20" fmla="*/ 1337311 h 4457701"/>
              <a:gd name="connsiteX21" fmla="*/ 0 w 4269105"/>
              <a:gd name="connsiteY21" fmla="*/ 291465 h 4457701"/>
              <a:gd name="connsiteX22" fmla="*/ 246125 w 4269105"/>
              <a:gd name="connsiteY22" fmla="*/ 6195 h 445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69105" h="4457701">
                <a:moveTo>
                  <a:pt x="1457325" y="3240405"/>
                </a:moveTo>
                <a:lnTo>
                  <a:pt x="1800225" y="3240405"/>
                </a:lnTo>
                <a:lnTo>
                  <a:pt x="1800225" y="4457701"/>
                </a:lnTo>
                <a:lnTo>
                  <a:pt x="1457325" y="4457701"/>
                </a:lnTo>
                <a:close/>
                <a:moveTo>
                  <a:pt x="2280285" y="3034665"/>
                </a:moveTo>
                <a:lnTo>
                  <a:pt x="2623185" y="3034665"/>
                </a:lnTo>
                <a:lnTo>
                  <a:pt x="2623185" y="4440556"/>
                </a:lnTo>
                <a:lnTo>
                  <a:pt x="2280285" y="4440556"/>
                </a:lnTo>
                <a:close/>
                <a:moveTo>
                  <a:pt x="3103245" y="2657475"/>
                </a:moveTo>
                <a:lnTo>
                  <a:pt x="3446145" y="2657475"/>
                </a:lnTo>
                <a:lnTo>
                  <a:pt x="3446145" y="4440555"/>
                </a:lnTo>
                <a:lnTo>
                  <a:pt x="3103245" y="4440555"/>
                </a:lnTo>
                <a:close/>
                <a:moveTo>
                  <a:pt x="3926205" y="2280285"/>
                </a:moveTo>
                <a:lnTo>
                  <a:pt x="4269105" y="2280285"/>
                </a:lnTo>
                <a:lnTo>
                  <a:pt x="4269105" y="4440556"/>
                </a:lnTo>
                <a:lnTo>
                  <a:pt x="3926205" y="4440556"/>
                </a:lnTo>
                <a:close/>
                <a:moveTo>
                  <a:pt x="308611" y="0"/>
                </a:moveTo>
                <a:lnTo>
                  <a:pt x="365436" y="5492"/>
                </a:lnTo>
                <a:cubicBezTo>
                  <a:pt x="495062" y="30807"/>
                  <a:pt x="600075" y="141446"/>
                  <a:pt x="600075" y="291465"/>
                </a:cubicBezTo>
                <a:lnTo>
                  <a:pt x="600075" y="1337311"/>
                </a:lnTo>
                <a:lnTo>
                  <a:pt x="0" y="1337311"/>
                </a:lnTo>
                <a:lnTo>
                  <a:pt x="0" y="291465"/>
                </a:lnTo>
                <a:cubicBezTo>
                  <a:pt x="0" y="156448"/>
                  <a:pt x="105014" y="34558"/>
                  <a:pt x="246125" y="6195"/>
                </a:cubicBezTo>
                <a:close/>
              </a:path>
            </a:pathLst>
          </a:custGeom>
          <a:solidFill>
            <a:srgbClr val="142644"/>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 name="Rectangle 61">
            <a:extLst>
              <a:ext uri="{FF2B5EF4-FFF2-40B4-BE49-F238E27FC236}">
                <a16:creationId xmlns:a16="http://schemas.microsoft.com/office/drawing/2014/main" id="{001F5B04-8FA0-D6F1-21E6-9AD2ABAFC380}"/>
              </a:ext>
            </a:extLst>
          </p:cNvPr>
          <p:cNvSpPr/>
          <p:nvPr/>
        </p:nvSpPr>
        <p:spPr>
          <a:xfrm flipH="1">
            <a:off x="3325102" y="943369"/>
            <a:ext cx="519817" cy="519815"/>
          </a:xfrm>
          <a:prstGeom prst="rect">
            <a:avLst/>
          </a:prstGeom>
          <a:solidFill>
            <a:srgbClr val="FFFFFF"/>
          </a:solidFill>
          <a:ln w="6350" cap="flat" cmpd="sng" algn="ctr">
            <a:solidFill>
              <a:srgbClr val="1C345E"/>
            </a:solidFill>
            <a:prstDash val="solid"/>
            <a:miter lim="800000"/>
          </a:ln>
          <a:effectLst>
            <a:outerShdw blurRad="63500" sx="102000" sy="102000" algn="ctr" rotWithShape="0">
              <a:prstClr val="black">
                <a:alpha val="10000"/>
              </a:prstClr>
            </a:outerShdw>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 name="Freeform: Shape 63">
            <a:extLst>
              <a:ext uri="{FF2B5EF4-FFF2-40B4-BE49-F238E27FC236}">
                <a16:creationId xmlns:a16="http://schemas.microsoft.com/office/drawing/2014/main" id="{D5FCB7B7-8FAE-30A3-89E5-354694B34828}"/>
              </a:ext>
            </a:extLst>
          </p:cNvPr>
          <p:cNvSpPr/>
          <p:nvPr/>
        </p:nvSpPr>
        <p:spPr>
          <a:xfrm>
            <a:off x="3475797" y="1023121"/>
            <a:ext cx="218435" cy="167630"/>
          </a:xfrm>
          <a:custGeom>
            <a:avLst/>
            <a:gdLst>
              <a:gd name="connsiteX0" fmla="*/ 77650 w 3123639"/>
              <a:gd name="connsiteY0" fmla="*/ 1949367 h 2397124"/>
              <a:gd name="connsiteX1" fmla="*/ 3045989 w 3123639"/>
              <a:gd name="connsiteY1" fmla="*/ 1949367 h 2397124"/>
              <a:gd name="connsiteX2" fmla="*/ 3123639 w 3123639"/>
              <a:gd name="connsiteY2" fmla="*/ 2027017 h 2397124"/>
              <a:gd name="connsiteX3" fmla="*/ 3123601 w 3123639"/>
              <a:gd name="connsiteY3" fmla="*/ 2397124 h 2397124"/>
              <a:gd name="connsiteX4" fmla="*/ 0 w 3123639"/>
              <a:gd name="connsiteY4" fmla="*/ 2397124 h 2397124"/>
              <a:gd name="connsiteX5" fmla="*/ 0 w 3123639"/>
              <a:gd name="connsiteY5" fmla="*/ 2027017 h 2397124"/>
              <a:gd name="connsiteX6" fmla="*/ 77650 w 3123639"/>
              <a:gd name="connsiteY6" fmla="*/ 1949367 h 2397124"/>
              <a:gd name="connsiteX7" fmla="*/ 363671 w 3123639"/>
              <a:gd name="connsiteY7" fmla="*/ 577180 h 2397124"/>
              <a:gd name="connsiteX8" fmla="*/ 507258 w 3123639"/>
              <a:gd name="connsiteY8" fmla="*/ 720728 h 2397124"/>
              <a:gd name="connsiteX9" fmla="*/ 507258 w 3123639"/>
              <a:gd name="connsiteY9" fmla="*/ 1059690 h 2397124"/>
              <a:gd name="connsiteX10" fmla="*/ 363671 w 3123639"/>
              <a:gd name="connsiteY10" fmla="*/ 1203355 h 2397124"/>
              <a:gd name="connsiteX11" fmla="*/ 220084 w 3123639"/>
              <a:gd name="connsiteY11" fmla="*/ 1059690 h 2397124"/>
              <a:gd name="connsiteX12" fmla="*/ 220084 w 3123639"/>
              <a:gd name="connsiteY12" fmla="*/ 720728 h 2397124"/>
              <a:gd name="connsiteX13" fmla="*/ 363671 w 3123639"/>
              <a:gd name="connsiteY13" fmla="*/ 577180 h 2397124"/>
              <a:gd name="connsiteX14" fmla="*/ 1961096 w 3123639"/>
              <a:gd name="connsiteY14" fmla="*/ 0 h 2397124"/>
              <a:gd name="connsiteX15" fmla="*/ 2104683 w 3123639"/>
              <a:gd name="connsiteY15" fmla="*/ 143665 h 2397124"/>
              <a:gd name="connsiteX16" fmla="*/ 2104683 w 3123639"/>
              <a:gd name="connsiteY16" fmla="*/ 1274647 h 2397124"/>
              <a:gd name="connsiteX17" fmla="*/ 1961096 w 3123639"/>
              <a:gd name="connsiteY17" fmla="*/ 1418312 h 2397124"/>
              <a:gd name="connsiteX18" fmla="*/ 1817509 w 3123639"/>
              <a:gd name="connsiteY18" fmla="*/ 1274647 h 2397124"/>
              <a:gd name="connsiteX19" fmla="*/ 1817509 w 3123639"/>
              <a:gd name="connsiteY19" fmla="*/ 143665 h 2397124"/>
              <a:gd name="connsiteX20" fmla="*/ 1961096 w 3123639"/>
              <a:gd name="connsiteY20" fmla="*/ 0 h 2397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23639" h="2397124">
                <a:moveTo>
                  <a:pt x="77650" y="1949367"/>
                </a:moveTo>
                <a:lnTo>
                  <a:pt x="3045989" y="1949367"/>
                </a:lnTo>
                <a:cubicBezTo>
                  <a:pt x="3088813" y="1949367"/>
                  <a:pt x="3123639" y="1984231"/>
                  <a:pt x="3123639" y="2027017"/>
                </a:cubicBezTo>
                <a:lnTo>
                  <a:pt x="3123601" y="2397124"/>
                </a:lnTo>
                <a:lnTo>
                  <a:pt x="0" y="2397124"/>
                </a:lnTo>
                <a:lnTo>
                  <a:pt x="0" y="2027017"/>
                </a:lnTo>
                <a:cubicBezTo>
                  <a:pt x="0" y="1984269"/>
                  <a:pt x="34826" y="1949367"/>
                  <a:pt x="77650" y="1949367"/>
                </a:cubicBezTo>
                <a:close/>
                <a:moveTo>
                  <a:pt x="363671" y="577180"/>
                </a:moveTo>
                <a:cubicBezTo>
                  <a:pt x="442890" y="577180"/>
                  <a:pt x="507258" y="641588"/>
                  <a:pt x="507258" y="720728"/>
                </a:cubicBezTo>
                <a:lnTo>
                  <a:pt x="507258" y="1059690"/>
                </a:lnTo>
                <a:cubicBezTo>
                  <a:pt x="507258" y="1138947"/>
                  <a:pt x="442850" y="1203355"/>
                  <a:pt x="363671" y="1203355"/>
                </a:cubicBezTo>
                <a:cubicBezTo>
                  <a:pt x="284452" y="1203355"/>
                  <a:pt x="220084" y="1138947"/>
                  <a:pt x="220084" y="1059690"/>
                </a:cubicBezTo>
                <a:lnTo>
                  <a:pt x="220084" y="720728"/>
                </a:lnTo>
                <a:cubicBezTo>
                  <a:pt x="220084" y="641585"/>
                  <a:pt x="284493" y="577180"/>
                  <a:pt x="363671" y="577180"/>
                </a:cubicBezTo>
                <a:close/>
                <a:moveTo>
                  <a:pt x="1961096" y="0"/>
                </a:moveTo>
                <a:cubicBezTo>
                  <a:pt x="2040315" y="0"/>
                  <a:pt x="2104683" y="64408"/>
                  <a:pt x="2104683" y="143665"/>
                </a:cubicBezTo>
                <a:lnTo>
                  <a:pt x="2104683" y="1274647"/>
                </a:lnTo>
                <a:cubicBezTo>
                  <a:pt x="2104683" y="1353904"/>
                  <a:pt x="2040274" y="1418312"/>
                  <a:pt x="1961096" y="1418312"/>
                </a:cubicBezTo>
                <a:cubicBezTo>
                  <a:pt x="1881877" y="1418312"/>
                  <a:pt x="1817509" y="1353904"/>
                  <a:pt x="1817509" y="1274647"/>
                </a:cubicBezTo>
                <a:lnTo>
                  <a:pt x="1817509" y="143665"/>
                </a:lnTo>
                <a:cubicBezTo>
                  <a:pt x="1817509" y="64408"/>
                  <a:pt x="1881917" y="0"/>
                  <a:pt x="1961096" y="0"/>
                </a:cubicBezTo>
                <a:close/>
              </a:path>
            </a:pathLst>
          </a:custGeom>
          <a:solidFill>
            <a:srgbClr val="1C345E"/>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 name="Freeform: Shape 64">
            <a:extLst>
              <a:ext uri="{FF2B5EF4-FFF2-40B4-BE49-F238E27FC236}">
                <a16:creationId xmlns:a16="http://schemas.microsoft.com/office/drawing/2014/main" id="{A360EAA3-EC00-5753-9859-F27DBBEFBA8E}"/>
              </a:ext>
            </a:extLst>
          </p:cNvPr>
          <p:cNvSpPr/>
          <p:nvPr/>
        </p:nvSpPr>
        <p:spPr>
          <a:xfrm>
            <a:off x="3464936" y="1012262"/>
            <a:ext cx="240149" cy="382031"/>
          </a:xfrm>
          <a:custGeom>
            <a:avLst/>
            <a:gdLst>
              <a:gd name="connsiteX0" fmla="*/ 1725087 w 3434154"/>
              <a:gd name="connsiteY0" fmla="*/ 4108496 h 5463085"/>
              <a:gd name="connsiteX1" fmla="*/ 1794473 w 3434154"/>
              <a:gd name="connsiteY1" fmla="*/ 4145199 h 5463085"/>
              <a:gd name="connsiteX2" fmla="*/ 1794473 w 3434154"/>
              <a:gd name="connsiteY2" fmla="*/ 5337800 h 5463085"/>
              <a:gd name="connsiteX3" fmla="*/ 2060452 w 3434154"/>
              <a:gd name="connsiteY3" fmla="*/ 5197105 h 5463085"/>
              <a:gd name="connsiteX4" fmla="*/ 2058597 w 3434154"/>
              <a:gd name="connsiteY4" fmla="*/ 5197105 h 5463085"/>
              <a:gd name="connsiteX5" fmla="*/ 2156896 w 3434154"/>
              <a:gd name="connsiteY5" fmla="*/ 5197236 h 5463085"/>
              <a:gd name="connsiteX6" fmla="*/ 2156669 w 3434154"/>
              <a:gd name="connsiteY6" fmla="*/ 5249233 h 5463085"/>
              <a:gd name="connsiteX7" fmla="*/ 1772276 w 3434154"/>
              <a:gd name="connsiteY7" fmla="*/ 5452325 h 5463085"/>
              <a:gd name="connsiteX8" fmla="*/ 1749601 w 3434154"/>
              <a:gd name="connsiteY8" fmla="*/ 5460398 h 5463085"/>
              <a:gd name="connsiteX9" fmla="*/ 1698718 w 3434154"/>
              <a:gd name="connsiteY9" fmla="*/ 5460398 h 5463085"/>
              <a:gd name="connsiteX10" fmla="*/ 1676064 w 3434154"/>
              <a:gd name="connsiteY10" fmla="*/ 5452325 h 5463085"/>
              <a:gd name="connsiteX11" fmla="*/ 1676043 w 3434154"/>
              <a:gd name="connsiteY11" fmla="*/ 5452325 h 5463085"/>
              <a:gd name="connsiteX12" fmla="*/ 1291650 w 3434154"/>
              <a:gd name="connsiteY12" fmla="*/ 5249233 h 5463085"/>
              <a:gd name="connsiteX13" fmla="*/ 1291423 w 3434154"/>
              <a:gd name="connsiteY13" fmla="*/ 5197236 h 5463085"/>
              <a:gd name="connsiteX14" fmla="*/ 1389722 w 3434154"/>
              <a:gd name="connsiteY14" fmla="*/ 5197105 h 5463085"/>
              <a:gd name="connsiteX15" fmla="*/ 1655700 w 3434154"/>
              <a:gd name="connsiteY15" fmla="*/ 5337800 h 5463085"/>
              <a:gd name="connsiteX16" fmla="*/ 1655700 w 3434154"/>
              <a:gd name="connsiteY16" fmla="*/ 4145199 h 5463085"/>
              <a:gd name="connsiteX17" fmla="*/ 1725087 w 3434154"/>
              <a:gd name="connsiteY17" fmla="*/ 4108496 h 5463085"/>
              <a:gd name="connsiteX18" fmla="*/ 2420520 w 3434154"/>
              <a:gd name="connsiteY18" fmla="*/ 2966601 h 5463085"/>
              <a:gd name="connsiteX19" fmla="*/ 2476451 w 3434154"/>
              <a:gd name="connsiteY19" fmla="*/ 2986502 h 5463085"/>
              <a:gd name="connsiteX20" fmla="*/ 2476454 w 3434154"/>
              <a:gd name="connsiteY20" fmla="*/ 2986502 h 5463085"/>
              <a:gd name="connsiteX21" fmla="*/ 2482004 w 3434154"/>
              <a:gd name="connsiteY21" fmla="*/ 3096181 h 5463085"/>
              <a:gd name="connsiteX22" fmla="*/ 2093145 w 3434154"/>
              <a:gd name="connsiteY22" fmla="*/ 3526717 h 5463085"/>
              <a:gd name="connsiteX23" fmla="*/ 2035510 w 3434154"/>
              <a:gd name="connsiteY23" fmla="*/ 3552282 h 5463085"/>
              <a:gd name="connsiteX24" fmla="*/ 1983463 w 3434154"/>
              <a:gd name="connsiteY24" fmla="*/ 3532266 h 5463085"/>
              <a:gd name="connsiteX25" fmla="*/ 1977914 w 3434154"/>
              <a:gd name="connsiteY25" fmla="*/ 3422587 h 5463085"/>
              <a:gd name="connsiteX26" fmla="*/ 2366772 w 3434154"/>
              <a:gd name="connsiteY26" fmla="*/ 2992051 h 5463085"/>
              <a:gd name="connsiteX27" fmla="*/ 2420520 w 3434154"/>
              <a:gd name="connsiteY27" fmla="*/ 2966601 h 5463085"/>
              <a:gd name="connsiteX28" fmla="*/ 1013749 w 3434154"/>
              <a:gd name="connsiteY28" fmla="*/ 2966522 h 5463085"/>
              <a:gd name="connsiteX29" fmla="*/ 1067426 w 3434154"/>
              <a:gd name="connsiteY29" fmla="*/ 2992087 h 5463085"/>
              <a:gd name="connsiteX30" fmla="*/ 1456288 w 3434154"/>
              <a:gd name="connsiteY30" fmla="*/ 3422623 h 5463085"/>
              <a:gd name="connsiteX31" fmla="*/ 1450738 w 3434154"/>
              <a:gd name="connsiteY31" fmla="*/ 3532302 h 5463085"/>
              <a:gd name="connsiteX32" fmla="*/ 1398691 w 3434154"/>
              <a:gd name="connsiteY32" fmla="*/ 3552318 h 5463085"/>
              <a:gd name="connsiteX33" fmla="*/ 1341057 w 3434154"/>
              <a:gd name="connsiteY33" fmla="*/ 3526753 h 5463085"/>
              <a:gd name="connsiteX34" fmla="*/ 952198 w 3434154"/>
              <a:gd name="connsiteY34" fmla="*/ 3096217 h 5463085"/>
              <a:gd name="connsiteX35" fmla="*/ 957747 w 3434154"/>
              <a:gd name="connsiteY35" fmla="*/ 2986538 h 5463085"/>
              <a:gd name="connsiteX36" fmla="*/ 1013749 w 3434154"/>
              <a:gd name="connsiteY36" fmla="*/ 2966522 h 5463085"/>
              <a:gd name="connsiteX37" fmla="*/ 232961 w 3434154"/>
              <a:gd name="connsiteY37" fmla="*/ 2104650 h 5463085"/>
              <a:gd name="connsiteX38" fmla="*/ 155311 w 3434154"/>
              <a:gd name="connsiteY38" fmla="*/ 2182300 h 5463085"/>
              <a:gd name="connsiteX39" fmla="*/ 155311 w 3434154"/>
              <a:gd name="connsiteY39" fmla="*/ 2552407 h 5463085"/>
              <a:gd name="connsiteX40" fmla="*/ 3278912 w 3434154"/>
              <a:gd name="connsiteY40" fmla="*/ 2552407 h 5463085"/>
              <a:gd name="connsiteX41" fmla="*/ 3278950 w 3434154"/>
              <a:gd name="connsiteY41" fmla="*/ 2182300 h 5463085"/>
              <a:gd name="connsiteX42" fmla="*/ 3201300 w 3434154"/>
              <a:gd name="connsiteY42" fmla="*/ 2104650 h 5463085"/>
              <a:gd name="connsiteX43" fmla="*/ 232907 w 3434154"/>
              <a:gd name="connsiteY43" fmla="*/ 1949430 h 5463085"/>
              <a:gd name="connsiteX44" fmla="*/ 3201246 w 3434154"/>
              <a:gd name="connsiteY44" fmla="*/ 1949430 h 5463085"/>
              <a:gd name="connsiteX45" fmla="*/ 3434154 w 3434154"/>
              <a:gd name="connsiteY45" fmla="*/ 2182337 h 5463085"/>
              <a:gd name="connsiteX46" fmla="*/ 3434154 w 3434154"/>
              <a:gd name="connsiteY46" fmla="*/ 2630057 h 5463085"/>
              <a:gd name="connsiteX47" fmla="*/ 3433044 w 3434154"/>
              <a:gd name="connsiteY47" fmla="*/ 2635568 h 5463085"/>
              <a:gd name="connsiteX48" fmla="*/ 3433032 w 3434154"/>
              <a:gd name="connsiteY48" fmla="*/ 2635626 h 5463085"/>
              <a:gd name="connsiteX49" fmla="*/ 3429320 w 3434154"/>
              <a:gd name="connsiteY49" fmla="*/ 2653995 h 5463085"/>
              <a:gd name="connsiteX50" fmla="*/ 3426794 w 3434154"/>
              <a:gd name="connsiteY50" fmla="*/ 2662185 h 5463085"/>
              <a:gd name="connsiteX51" fmla="*/ 3413897 w 3434154"/>
              <a:gd name="connsiteY51" fmla="*/ 2682163 h 5463085"/>
              <a:gd name="connsiteX52" fmla="*/ 3411639 w 3434154"/>
              <a:gd name="connsiteY52" fmla="*/ 2684650 h 5463085"/>
              <a:gd name="connsiteX53" fmla="*/ 3411218 w 3434154"/>
              <a:gd name="connsiteY53" fmla="*/ 2685148 h 5463085"/>
              <a:gd name="connsiteX54" fmla="*/ 2400446 w 3434154"/>
              <a:gd name="connsiteY54" fmla="*/ 3804275 h 5463085"/>
              <a:gd name="connsiteX55" fmla="*/ 2252265 w 3434154"/>
              <a:gd name="connsiteY55" fmla="*/ 4189421 h 5463085"/>
              <a:gd name="connsiteX56" fmla="*/ 2252265 w 3434154"/>
              <a:gd name="connsiteY56" fmla="*/ 4839549 h 5463085"/>
              <a:gd name="connsiteX57" fmla="*/ 2174614 w 3434154"/>
              <a:gd name="connsiteY57" fmla="*/ 4917200 h 5463085"/>
              <a:gd name="connsiteX58" fmla="*/ 2096964 w 3434154"/>
              <a:gd name="connsiteY58" fmla="*/ 4839549 h 5463085"/>
              <a:gd name="connsiteX59" fmla="*/ 2096964 w 3434154"/>
              <a:gd name="connsiteY59" fmla="*/ 4189460 h 5463085"/>
              <a:gd name="connsiteX60" fmla="*/ 2285177 w 3434154"/>
              <a:gd name="connsiteY60" fmla="*/ 3700181 h 5463085"/>
              <a:gd name="connsiteX61" fmla="*/ 3181498 w 3434154"/>
              <a:gd name="connsiteY61" fmla="*/ 2707730 h 5463085"/>
              <a:gd name="connsiteX62" fmla="*/ 252642 w 3434154"/>
              <a:gd name="connsiteY62" fmla="*/ 2707730 h 5463085"/>
              <a:gd name="connsiteX63" fmla="*/ 1149003 w 3434154"/>
              <a:gd name="connsiteY63" fmla="*/ 3700083 h 5463085"/>
              <a:gd name="connsiteX64" fmla="*/ 1337215 w 3434154"/>
              <a:gd name="connsiteY64" fmla="*/ 4189362 h 5463085"/>
              <a:gd name="connsiteX65" fmla="*/ 1337215 w 3434154"/>
              <a:gd name="connsiteY65" fmla="*/ 4839490 h 5463085"/>
              <a:gd name="connsiteX66" fmla="*/ 1259565 w 3434154"/>
              <a:gd name="connsiteY66" fmla="*/ 4917140 h 5463085"/>
              <a:gd name="connsiteX67" fmla="*/ 1181915 w 3434154"/>
              <a:gd name="connsiteY67" fmla="*/ 4839490 h 5463085"/>
              <a:gd name="connsiteX68" fmla="*/ 1181877 w 3434154"/>
              <a:gd name="connsiteY68" fmla="*/ 4189401 h 5463085"/>
              <a:gd name="connsiteX69" fmla="*/ 1033695 w 3434154"/>
              <a:gd name="connsiteY69" fmla="*/ 3804256 h 5463085"/>
              <a:gd name="connsiteX70" fmla="*/ 22924 w 3434154"/>
              <a:gd name="connsiteY70" fmla="*/ 2685128 h 5463085"/>
              <a:gd name="connsiteX71" fmla="*/ 22503 w 3434154"/>
              <a:gd name="connsiteY71" fmla="*/ 2684630 h 5463085"/>
              <a:gd name="connsiteX72" fmla="*/ 20245 w 3434154"/>
              <a:gd name="connsiteY72" fmla="*/ 2682143 h 5463085"/>
              <a:gd name="connsiteX73" fmla="*/ 7348 w 3434154"/>
              <a:gd name="connsiteY73" fmla="*/ 2662166 h 5463085"/>
              <a:gd name="connsiteX74" fmla="*/ 4822 w 3434154"/>
              <a:gd name="connsiteY74" fmla="*/ 2653976 h 5463085"/>
              <a:gd name="connsiteX75" fmla="*/ 1110 w 3434154"/>
              <a:gd name="connsiteY75" fmla="*/ 2635568 h 5463085"/>
              <a:gd name="connsiteX76" fmla="*/ 0 w 3434154"/>
              <a:gd name="connsiteY76" fmla="*/ 2630057 h 5463085"/>
              <a:gd name="connsiteX77" fmla="*/ 0 w 3434154"/>
              <a:gd name="connsiteY77" fmla="*/ 2182337 h 5463085"/>
              <a:gd name="connsiteX78" fmla="*/ 232907 w 3434154"/>
              <a:gd name="connsiteY78" fmla="*/ 1949430 h 5463085"/>
              <a:gd name="connsiteX79" fmla="*/ 518983 w 3434154"/>
              <a:gd name="connsiteY79" fmla="*/ 732463 h 5463085"/>
              <a:gd name="connsiteX80" fmla="*/ 375396 w 3434154"/>
              <a:gd name="connsiteY80" fmla="*/ 876011 h 5463085"/>
              <a:gd name="connsiteX81" fmla="*/ 375396 w 3434154"/>
              <a:gd name="connsiteY81" fmla="*/ 1214973 h 5463085"/>
              <a:gd name="connsiteX82" fmla="*/ 518983 w 3434154"/>
              <a:gd name="connsiteY82" fmla="*/ 1358638 h 5463085"/>
              <a:gd name="connsiteX83" fmla="*/ 662570 w 3434154"/>
              <a:gd name="connsiteY83" fmla="*/ 1214973 h 5463085"/>
              <a:gd name="connsiteX84" fmla="*/ 662570 w 3434154"/>
              <a:gd name="connsiteY84" fmla="*/ 876011 h 5463085"/>
              <a:gd name="connsiteX85" fmla="*/ 518983 w 3434154"/>
              <a:gd name="connsiteY85" fmla="*/ 732463 h 5463085"/>
              <a:gd name="connsiteX86" fmla="*/ 2915130 w 3434154"/>
              <a:gd name="connsiteY86" fmla="*/ 662531 h 5463085"/>
              <a:gd name="connsiteX87" fmla="*/ 2771543 w 3434154"/>
              <a:gd name="connsiteY87" fmla="*/ 806196 h 5463085"/>
              <a:gd name="connsiteX88" fmla="*/ 2771543 w 3434154"/>
              <a:gd name="connsiteY88" fmla="*/ 1331569 h 5463085"/>
              <a:gd name="connsiteX89" fmla="*/ 2915130 w 3434154"/>
              <a:gd name="connsiteY89" fmla="*/ 1475117 h 5463085"/>
              <a:gd name="connsiteX90" fmla="*/ 3058717 w 3434154"/>
              <a:gd name="connsiteY90" fmla="*/ 1331569 h 5463085"/>
              <a:gd name="connsiteX91" fmla="*/ 3058717 w 3434154"/>
              <a:gd name="connsiteY91" fmla="*/ 806196 h 5463085"/>
              <a:gd name="connsiteX92" fmla="*/ 2915130 w 3434154"/>
              <a:gd name="connsiteY92" fmla="*/ 662531 h 5463085"/>
              <a:gd name="connsiteX93" fmla="*/ 518983 w 3434154"/>
              <a:gd name="connsiteY93" fmla="*/ 577188 h 5463085"/>
              <a:gd name="connsiteX94" fmla="*/ 817874 w 3434154"/>
              <a:gd name="connsiteY94" fmla="*/ 876001 h 5463085"/>
              <a:gd name="connsiteX95" fmla="*/ 817874 w 3434154"/>
              <a:gd name="connsiteY95" fmla="*/ 1214963 h 5463085"/>
              <a:gd name="connsiteX96" fmla="*/ 518983 w 3434154"/>
              <a:gd name="connsiteY96" fmla="*/ 1513894 h 5463085"/>
              <a:gd name="connsiteX97" fmla="*/ 220091 w 3434154"/>
              <a:gd name="connsiteY97" fmla="*/ 1214963 h 5463085"/>
              <a:gd name="connsiteX98" fmla="*/ 220091 w 3434154"/>
              <a:gd name="connsiteY98" fmla="*/ 876001 h 5463085"/>
              <a:gd name="connsiteX99" fmla="*/ 518983 w 3434154"/>
              <a:gd name="connsiteY99" fmla="*/ 577188 h 5463085"/>
              <a:gd name="connsiteX100" fmla="*/ 2915169 w 3434154"/>
              <a:gd name="connsiteY100" fmla="*/ 507266 h 5463085"/>
              <a:gd name="connsiteX101" fmla="*/ 3214060 w 3434154"/>
              <a:gd name="connsiteY101" fmla="*/ 806196 h 5463085"/>
              <a:gd name="connsiteX102" fmla="*/ 3214060 w 3434154"/>
              <a:gd name="connsiteY102" fmla="*/ 1331569 h 5463085"/>
              <a:gd name="connsiteX103" fmla="*/ 2915169 w 3434154"/>
              <a:gd name="connsiteY103" fmla="*/ 1630382 h 5463085"/>
              <a:gd name="connsiteX104" fmla="*/ 2616277 w 3434154"/>
              <a:gd name="connsiteY104" fmla="*/ 1331569 h 5463085"/>
              <a:gd name="connsiteX105" fmla="*/ 2616277 w 3434154"/>
              <a:gd name="connsiteY105" fmla="*/ 806196 h 5463085"/>
              <a:gd name="connsiteX106" fmla="*/ 2915169 w 3434154"/>
              <a:gd name="connsiteY106" fmla="*/ 507266 h 5463085"/>
              <a:gd name="connsiteX107" fmla="*/ 1317705 w 3434154"/>
              <a:gd name="connsiteY107" fmla="*/ 388338 h 5463085"/>
              <a:gd name="connsiteX108" fmla="*/ 1174118 w 3434154"/>
              <a:gd name="connsiteY108" fmla="*/ 531886 h 5463085"/>
              <a:gd name="connsiteX109" fmla="*/ 1174118 w 3434154"/>
              <a:gd name="connsiteY109" fmla="*/ 1033911 h 5463085"/>
              <a:gd name="connsiteX110" fmla="*/ 1317705 w 3434154"/>
              <a:gd name="connsiteY110" fmla="*/ 1177576 h 5463085"/>
              <a:gd name="connsiteX111" fmla="*/ 1461292 w 3434154"/>
              <a:gd name="connsiteY111" fmla="*/ 1033911 h 5463085"/>
              <a:gd name="connsiteX112" fmla="*/ 1461292 w 3434154"/>
              <a:gd name="connsiteY112" fmla="*/ 531886 h 5463085"/>
              <a:gd name="connsiteX113" fmla="*/ 1317705 w 3434154"/>
              <a:gd name="connsiteY113" fmla="*/ 388338 h 5463085"/>
              <a:gd name="connsiteX114" fmla="*/ 1317706 w 3434154"/>
              <a:gd name="connsiteY114" fmla="*/ 233073 h 5463085"/>
              <a:gd name="connsiteX115" fmla="*/ 1616597 w 3434154"/>
              <a:gd name="connsiteY115" fmla="*/ 531886 h 5463085"/>
              <a:gd name="connsiteX116" fmla="*/ 1616636 w 3434154"/>
              <a:gd name="connsiteY116" fmla="*/ 1033911 h 5463085"/>
              <a:gd name="connsiteX117" fmla="*/ 1377899 w 3434154"/>
              <a:gd name="connsiteY117" fmla="*/ 1326758 h 5463085"/>
              <a:gd name="connsiteX118" fmla="*/ 1317745 w 3434154"/>
              <a:gd name="connsiteY118" fmla="*/ 1332841 h 5463085"/>
              <a:gd name="connsiteX119" fmla="*/ 1257587 w 3434154"/>
              <a:gd name="connsiteY119" fmla="*/ 1326760 h 5463085"/>
              <a:gd name="connsiteX120" fmla="*/ 1018814 w 3434154"/>
              <a:gd name="connsiteY120" fmla="*/ 1033911 h 5463085"/>
              <a:gd name="connsiteX121" fmla="*/ 1018814 w 3434154"/>
              <a:gd name="connsiteY121" fmla="*/ 531886 h 5463085"/>
              <a:gd name="connsiteX122" fmla="*/ 1317706 w 3434154"/>
              <a:gd name="connsiteY122" fmla="*/ 233073 h 5463085"/>
              <a:gd name="connsiteX123" fmla="*/ 2116408 w 3434154"/>
              <a:gd name="connsiteY123" fmla="*/ 155285 h 5463085"/>
              <a:gd name="connsiteX124" fmla="*/ 1972821 w 3434154"/>
              <a:gd name="connsiteY124" fmla="*/ 298950 h 5463085"/>
              <a:gd name="connsiteX125" fmla="*/ 1972821 w 3434154"/>
              <a:gd name="connsiteY125" fmla="*/ 1429932 h 5463085"/>
              <a:gd name="connsiteX126" fmla="*/ 2116408 w 3434154"/>
              <a:gd name="connsiteY126" fmla="*/ 1573597 h 5463085"/>
              <a:gd name="connsiteX127" fmla="*/ 2259995 w 3434154"/>
              <a:gd name="connsiteY127" fmla="*/ 1429932 h 5463085"/>
              <a:gd name="connsiteX128" fmla="*/ 2259995 w 3434154"/>
              <a:gd name="connsiteY128" fmla="*/ 298950 h 5463085"/>
              <a:gd name="connsiteX129" fmla="*/ 2116408 w 3434154"/>
              <a:gd name="connsiteY129" fmla="*/ 155285 h 5463085"/>
              <a:gd name="connsiteX130" fmla="*/ 2116408 w 3434154"/>
              <a:gd name="connsiteY130" fmla="*/ 0 h 5463085"/>
              <a:gd name="connsiteX131" fmla="*/ 2415299 w 3434154"/>
              <a:gd name="connsiteY131" fmla="*/ 298930 h 5463085"/>
              <a:gd name="connsiteX132" fmla="*/ 2415299 w 3434154"/>
              <a:gd name="connsiteY132" fmla="*/ 1430010 h 5463085"/>
              <a:gd name="connsiteX133" fmla="*/ 2116408 w 3434154"/>
              <a:gd name="connsiteY133" fmla="*/ 1728941 h 5463085"/>
              <a:gd name="connsiteX134" fmla="*/ 2116408 w 3434154"/>
              <a:gd name="connsiteY134" fmla="*/ 1728882 h 5463085"/>
              <a:gd name="connsiteX135" fmla="*/ 1817516 w 3434154"/>
              <a:gd name="connsiteY135" fmla="*/ 1429913 h 5463085"/>
              <a:gd name="connsiteX136" fmla="*/ 1817516 w 3434154"/>
              <a:gd name="connsiteY136" fmla="*/ 298930 h 5463085"/>
              <a:gd name="connsiteX137" fmla="*/ 2116408 w 3434154"/>
              <a:gd name="connsiteY137" fmla="*/ 0 h 546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3434154" h="5463085">
                <a:moveTo>
                  <a:pt x="1725087" y="4108496"/>
                </a:moveTo>
                <a:cubicBezTo>
                  <a:pt x="1763415" y="4108496"/>
                  <a:pt x="1794473" y="4124925"/>
                  <a:pt x="1794473" y="4145199"/>
                </a:cubicBezTo>
                <a:lnTo>
                  <a:pt x="1794473" y="5337800"/>
                </a:lnTo>
                <a:lnTo>
                  <a:pt x="2060452" y="5197105"/>
                </a:lnTo>
                <a:lnTo>
                  <a:pt x="2058597" y="5197105"/>
                </a:lnTo>
                <a:cubicBezTo>
                  <a:pt x="2085818" y="5182784"/>
                  <a:pt x="2129822" y="5182839"/>
                  <a:pt x="2156896" y="5197236"/>
                </a:cubicBezTo>
                <a:cubicBezTo>
                  <a:pt x="2183990" y="5211624"/>
                  <a:pt x="2183886" y="5234901"/>
                  <a:pt x="2156669" y="5249233"/>
                </a:cubicBezTo>
                <a:lnTo>
                  <a:pt x="1772276" y="5452325"/>
                </a:lnTo>
                <a:cubicBezTo>
                  <a:pt x="1765791" y="5455777"/>
                  <a:pt x="1758089" y="5458519"/>
                  <a:pt x="1749601" y="5460398"/>
                </a:cubicBezTo>
                <a:cubicBezTo>
                  <a:pt x="1733329" y="5463981"/>
                  <a:pt x="1715011" y="5463981"/>
                  <a:pt x="1698718" y="5460398"/>
                </a:cubicBezTo>
                <a:cubicBezTo>
                  <a:pt x="1690230" y="5458519"/>
                  <a:pt x="1682527" y="5455777"/>
                  <a:pt x="1676064" y="5452325"/>
                </a:cubicBezTo>
                <a:lnTo>
                  <a:pt x="1676043" y="5452325"/>
                </a:lnTo>
                <a:lnTo>
                  <a:pt x="1291650" y="5249233"/>
                </a:lnTo>
                <a:cubicBezTo>
                  <a:pt x="1264453" y="5234901"/>
                  <a:pt x="1264350" y="5211623"/>
                  <a:pt x="1291423" y="5197236"/>
                </a:cubicBezTo>
                <a:cubicBezTo>
                  <a:pt x="1318496" y="5182839"/>
                  <a:pt x="1362505" y="5182784"/>
                  <a:pt x="1389722" y="5197105"/>
                </a:cubicBezTo>
                <a:lnTo>
                  <a:pt x="1655700" y="5337800"/>
                </a:lnTo>
                <a:lnTo>
                  <a:pt x="1655700" y="4145199"/>
                </a:lnTo>
                <a:cubicBezTo>
                  <a:pt x="1655700" y="4124925"/>
                  <a:pt x="1686759" y="4108496"/>
                  <a:pt x="1725087" y="4108496"/>
                </a:cubicBezTo>
                <a:close/>
                <a:moveTo>
                  <a:pt x="2420520" y="2966601"/>
                </a:moveTo>
                <a:cubicBezTo>
                  <a:pt x="2440372" y="2965616"/>
                  <a:pt x="2460588" y="2972189"/>
                  <a:pt x="2476451" y="2986502"/>
                </a:cubicBezTo>
                <a:lnTo>
                  <a:pt x="2476454" y="2986502"/>
                </a:lnTo>
                <a:cubicBezTo>
                  <a:pt x="2508219" y="3015202"/>
                  <a:pt x="2510744" y="3064340"/>
                  <a:pt x="2482004" y="3096181"/>
                </a:cubicBezTo>
                <a:lnTo>
                  <a:pt x="2093145" y="3526717"/>
                </a:lnTo>
                <a:cubicBezTo>
                  <a:pt x="2077799" y="3543671"/>
                  <a:pt x="2056674" y="3552282"/>
                  <a:pt x="2035510" y="3552282"/>
                </a:cubicBezTo>
                <a:cubicBezTo>
                  <a:pt x="2016912" y="3552282"/>
                  <a:pt x="1998312" y="3545699"/>
                  <a:pt x="1983463" y="3532266"/>
                </a:cubicBezTo>
                <a:cubicBezTo>
                  <a:pt x="1951699" y="3503567"/>
                  <a:pt x="1949135" y="3454428"/>
                  <a:pt x="1977914" y="3422587"/>
                </a:cubicBezTo>
                <a:lnTo>
                  <a:pt x="2366772" y="2992051"/>
                </a:lnTo>
                <a:cubicBezTo>
                  <a:pt x="2381180" y="2976131"/>
                  <a:pt x="2400668" y="2967587"/>
                  <a:pt x="2420520" y="2966601"/>
                </a:cubicBezTo>
                <a:close/>
                <a:moveTo>
                  <a:pt x="1013749" y="2966522"/>
                </a:moveTo>
                <a:cubicBezTo>
                  <a:pt x="1033606" y="2967517"/>
                  <a:pt x="1053075" y="2976109"/>
                  <a:pt x="1067426" y="2992087"/>
                </a:cubicBezTo>
                <a:lnTo>
                  <a:pt x="1456288" y="3422623"/>
                </a:lnTo>
                <a:cubicBezTo>
                  <a:pt x="1485067" y="3454461"/>
                  <a:pt x="1482541" y="3503599"/>
                  <a:pt x="1450738" y="3532302"/>
                </a:cubicBezTo>
                <a:cubicBezTo>
                  <a:pt x="1435890" y="3545735"/>
                  <a:pt x="1417252" y="3552318"/>
                  <a:pt x="1398691" y="3552318"/>
                </a:cubicBezTo>
                <a:cubicBezTo>
                  <a:pt x="1377490" y="3552318"/>
                  <a:pt x="1356365" y="3543745"/>
                  <a:pt x="1341057" y="3526753"/>
                </a:cubicBezTo>
                <a:lnTo>
                  <a:pt x="952198" y="3096217"/>
                </a:lnTo>
                <a:cubicBezTo>
                  <a:pt x="923419" y="3064379"/>
                  <a:pt x="925945" y="3015240"/>
                  <a:pt x="957747" y="2986538"/>
                </a:cubicBezTo>
                <a:cubicBezTo>
                  <a:pt x="973647" y="2972129"/>
                  <a:pt x="993892" y="2965527"/>
                  <a:pt x="1013749" y="2966522"/>
                </a:cubicBezTo>
                <a:close/>
                <a:moveTo>
                  <a:pt x="232961" y="2104650"/>
                </a:moveTo>
                <a:cubicBezTo>
                  <a:pt x="190137" y="2104650"/>
                  <a:pt x="155311" y="2139552"/>
                  <a:pt x="155311" y="2182300"/>
                </a:cubicBezTo>
                <a:lnTo>
                  <a:pt x="155311" y="2552407"/>
                </a:lnTo>
                <a:lnTo>
                  <a:pt x="3278912" y="2552407"/>
                </a:lnTo>
                <a:lnTo>
                  <a:pt x="3278950" y="2182300"/>
                </a:lnTo>
                <a:cubicBezTo>
                  <a:pt x="3278950" y="2139514"/>
                  <a:pt x="3244124" y="2104650"/>
                  <a:pt x="3201300" y="2104650"/>
                </a:cubicBezTo>
                <a:close/>
                <a:moveTo>
                  <a:pt x="232907" y="1949430"/>
                </a:moveTo>
                <a:lnTo>
                  <a:pt x="3201246" y="1949430"/>
                </a:lnTo>
                <a:cubicBezTo>
                  <a:pt x="3329677" y="1949430"/>
                  <a:pt x="3434154" y="2053946"/>
                  <a:pt x="3434154" y="2182337"/>
                </a:cubicBezTo>
                <a:lnTo>
                  <a:pt x="3434154" y="2630057"/>
                </a:lnTo>
                <a:cubicBezTo>
                  <a:pt x="3434154" y="2632009"/>
                  <a:pt x="3433197" y="2633654"/>
                  <a:pt x="3433044" y="2635568"/>
                </a:cubicBezTo>
                <a:lnTo>
                  <a:pt x="3433032" y="2635626"/>
                </a:lnTo>
                <a:cubicBezTo>
                  <a:pt x="3432611" y="2641940"/>
                  <a:pt x="3431271" y="2648025"/>
                  <a:pt x="3429320" y="2653995"/>
                </a:cubicBezTo>
                <a:cubicBezTo>
                  <a:pt x="3428439" y="2656751"/>
                  <a:pt x="3427980" y="2659583"/>
                  <a:pt x="3426794" y="2662185"/>
                </a:cubicBezTo>
                <a:cubicBezTo>
                  <a:pt x="3423541" y="2669342"/>
                  <a:pt x="3419331" y="2676154"/>
                  <a:pt x="3413897" y="2682163"/>
                </a:cubicBezTo>
                <a:lnTo>
                  <a:pt x="3411639" y="2684650"/>
                </a:lnTo>
                <a:cubicBezTo>
                  <a:pt x="3411486" y="2684803"/>
                  <a:pt x="3411371" y="2684995"/>
                  <a:pt x="3411218" y="2685148"/>
                </a:cubicBezTo>
                <a:lnTo>
                  <a:pt x="2400446" y="3804275"/>
                </a:lnTo>
                <a:cubicBezTo>
                  <a:pt x="2304886" y="3910006"/>
                  <a:pt x="2252265" y="4046784"/>
                  <a:pt x="2252265" y="4189421"/>
                </a:cubicBezTo>
                <a:lnTo>
                  <a:pt x="2252265" y="4839549"/>
                </a:lnTo>
                <a:cubicBezTo>
                  <a:pt x="2252265" y="4882412"/>
                  <a:pt x="2217477" y="4917200"/>
                  <a:pt x="2174614" y="4917200"/>
                </a:cubicBezTo>
                <a:cubicBezTo>
                  <a:pt x="2131752" y="4917200"/>
                  <a:pt x="2096964" y="4882412"/>
                  <a:pt x="2096964" y="4839549"/>
                </a:cubicBezTo>
                <a:lnTo>
                  <a:pt x="2096964" y="4189460"/>
                </a:lnTo>
                <a:cubicBezTo>
                  <a:pt x="2096964" y="4008291"/>
                  <a:pt x="2163820" y="3834549"/>
                  <a:pt x="2285177" y="3700181"/>
                </a:cubicBezTo>
                <a:lnTo>
                  <a:pt x="3181498" y="2707730"/>
                </a:lnTo>
                <a:lnTo>
                  <a:pt x="252642" y="2707730"/>
                </a:lnTo>
                <a:lnTo>
                  <a:pt x="1149003" y="3700083"/>
                </a:lnTo>
                <a:cubicBezTo>
                  <a:pt x="1270358" y="3834441"/>
                  <a:pt x="1337215" y="4008193"/>
                  <a:pt x="1337215" y="4189362"/>
                </a:cubicBezTo>
                <a:lnTo>
                  <a:pt x="1337215" y="4839490"/>
                </a:lnTo>
                <a:cubicBezTo>
                  <a:pt x="1337215" y="4882353"/>
                  <a:pt x="1302428" y="4917140"/>
                  <a:pt x="1259565" y="4917140"/>
                </a:cubicBezTo>
                <a:cubicBezTo>
                  <a:pt x="1216703" y="4917140"/>
                  <a:pt x="1181915" y="4882353"/>
                  <a:pt x="1181915" y="4839490"/>
                </a:cubicBezTo>
                <a:lnTo>
                  <a:pt x="1181877" y="4189401"/>
                </a:lnTo>
                <a:cubicBezTo>
                  <a:pt x="1181877" y="4046774"/>
                  <a:pt x="1129293" y="3909996"/>
                  <a:pt x="1033695" y="3804256"/>
                </a:cubicBezTo>
                <a:lnTo>
                  <a:pt x="22924" y="2685128"/>
                </a:lnTo>
                <a:cubicBezTo>
                  <a:pt x="22771" y="2684975"/>
                  <a:pt x="22656" y="2684784"/>
                  <a:pt x="22503" y="2684630"/>
                </a:cubicBezTo>
                <a:lnTo>
                  <a:pt x="20245" y="2682143"/>
                </a:lnTo>
                <a:cubicBezTo>
                  <a:pt x="14810" y="2676134"/>
                  <a:pt x="10601" y="2669322"/>
                  <a:pt x="7348" y="2662166"/>
                </a:cubicBezTo>
                <a:cubicBezTo>
                  <a:pt x="6161" y="2659563"/>
                  <a:pt x="5741" y="2656731"/>
                  <a:pt x="4822" y="2653976"/>
                </a:cubicBezTo>
                <a:cubicBezTo>
                  <a:pt x="2870" y="2647967"/>
                  <a:pt x="1569" y="2641882"/>
                  <a:pt x="1110" y="2635568"/>
                </a:cubicBezTo>
                <a:cubicBezTo>
                  <a:pt x="957" y="2633654"/>
                  <a:pt x="0" y="2632009"/>
                  <a:pt x="0" y="2630057"/>
                </a:cubicBezTo>
                <a:lnTo>
                  <a:pt x="0" y="2182337"/>
                </a:lnTo>
                <a:cubicBezTo>
                  <a:pt x="0" y="2053946"/>
                  <a:pt x="104477" y="1949430"/>
                  <a:pt x="232907" y="1949430"/>
                </a:cubicBezTo>
                <a:close/>
                <a:moveTo>
                  <a:pt x="518983" y="732463"/>
                </a:moveTo>
                <a:cubicBezTo>
                  <a:pt x="439805" y="732463"/>
                  <a:pt x="375396" y="796868"/>
                  <a:pt x="375396" y="876011"/>
                </a:cubicBezTo>
                <a:lnTo>
                  <a:pt x="375396" y="1214973"/>
                </a:lnTo>
                <a:cubicBezTo>
                  <a:pt x="375396" y="1294230"/>
                  <a:pt x="439764" y="1358638"/>
                  <a:pt x="518983" y="1358638"/>
                </a:cubicBezTo>
                <a:cubicBezTo>
                  <a:pt x="598162" y="1358638"/>
                  <a:pt x="662570" y="1294230"/>
                  <a:pt x="662570" y="1214973"/>
                </a:cubicBezTo>
                <a:lnTo>
                  <a:pt x="662570" y="876011"/>
                </a:lnTo>
                <a:cubicBezTo>
                  <a:pt x="662570" y="796871"/>
                  <a:pt x="598202" y="732463"/>
                  <a:pt x="518983" y="732463"/>
                </a:cubicBezTo>
                <a:close/>
                <a:moveTo>
                  <a:pt x="2915130" y="662531"/>
                </a:moveTo>
                <a:cubicBezTo>
                  <a:pt x="2835951" y="662531"/>
                  <a:pt x="2771543" y="726939"/>
                  <a:pt x="2771543" y="806196"/>
                </a:cubicBezTo>
                <a:lnTo>
                  <a:pt x="2771543" y="1331569"/>
                </a:lnTo>
                <a:cubicBezTo>
                  <a:pt x="2771543" y="1410708"/>
                  <a:pt x="2835911" y="1475117"/>
                  <a:pt x="2915130" y="1475117"/>
                </a:cubicBezTo>
                <a:cubicBezTo>
                  <a:pt x="2994308" y="1475117"/>
                  <a:pt x="3058717" y="1410711"/>
                  <a:pt x="3058717" y="1331569"/>
                </a:cubicBezTo>
                <a:lnTo>
                  <a:pt x="3058717" y="806196"/>
                </a:lnTo>
                <a:cubicBezTo>
                  <a:pt x="3058717" y="726939"/>
                  <a:pt x="2994348" y="662531"/>
                  <a:pt x="2915130" y="662531"/>
                </a:cubicBezTo>
                <a:close/>
                <a:moveTo>
                  <a:pt x="518983" y="577188"/>
                </a:moveTo>
                <a:cubicBezTo>
                  <a:pt x="683771" y="577188"/>
                  <a:pt x="817874" y="711213"/>
                  <a:pt x="817874" y="876001"/>
                </a:cubicBezTo>
                <a:lnTo>
                  <a:pt x="817874" y="1214963"/>
                </a:lnTo>
                <a:cubicBezTo>
                  <a:pt x="817874" y="1379761"/>
                  <a:pt x="683771" y="1513894"/>
                  <a:pt x="518983" y="1513894"/>
                </a:cubicBezTo>
                <a:cubicBezTo>
                  <a:pt x="354224" y="1513894"/>
                  <a:pt x="220129" y="1379751"/>
                  <a:pt x="220091" y="1214963"/>
                </a:cubicBezTo>
                <a:lnTo>
                  <a:pt x="220091" y="876001"/>
                </a:lnTo>
                <a:cubicBezTo>
                  <a:pt x="220091" y="711252"/>
                  <a:pt x="354194" y="577188"/>
                  <a:pt x="518983" y="577188"/>
                </a:cubicBezTo>
                <a:close/>
                <a:moveTo>
                  <a:pt x="2915169" y="507266"/>
                </a:moveTo>
                <a:cubicBezTo>
                  <a:pt x="3079957" y="507266"/>
                  <a:pt x="3214060" y="641408"/>
                  <a:pt x="3214060" y="806196"/>
                </a:cubicBezTo>
                <a:lnTo>
                  <a:pt x="3214060" y="1331569"/>
                </a:lnTo>
                <a:cubicBezTo>
                  <a:pt x="3214060" y="1496318"/>
                  <a:pt x="3079957" y="1630382"/>
                  <a:pt x="2915169" y="1630382"/>
                </a:cubicBezTo>
                <a:cubicBezTo>
                  <a:pt x="2750380" y="1630382"/>
                  <a:pt x="2616277" y="1496318"/>
                  <a:pt x="2616277" y="1331569"/>
                </a:cubicBezTo>
                <a:lnTo>
                  <a:pt x="2616277" y="806196"/>
                </a:lnTo>
                <a:cubicBezTo>
                  <a:pt x="2616277" y="641399"/>
                  <a:pt x="2750380" y="507266"/>
                  <a:pt x="2915169" y="507266"/>
                </a:cubicBezTo>
                <a:close/>
                <a:moveTo>
                  <a:pt x="1317705" y="388338"/>
                </a:moveTo>
                <a:cubicBezTo>
                  <a:pt x="1238527" y="388338"/>
                  <a:pt x="1174118" y="452743"/>
                  <a:pt x="1174118" y="531886"/>
                </a:cubicBezTo>
                <a:lnTo>
                  <a:pt x="1174118" y="1033911"/>
                </a:lnTo>
                <a:cubicBezTo>
                  <a:pt x="1174118" y="1113168"/>
                  <a:pt x="1238486" y="1177576"/>
                  <a:pt x="1317705" y="1177576"/>
                </a:cubicBezTo>
                <a:cubicBezTo>
                  <a:pt x="1396884" y="1177576"/>
                  <a:pt x="1461292" y="1113168"/>
                  <a:pt x="1461292" y="1033911"/>
                </a:cubicBezTo>
                <a:lnTo>
                  <a:pt x="1461292" y="531886"/>
                </a:lnTo>
                <a:cubicBezTo>
                  <a:pt x="1461292" y="452746"/>
                  <a:pt x="1396924" y="388338"/>
                  <a:pt x="1317705" y="388338"/>
                </a:cubicBezTo>
                <a:close/>
                <a:moveTo>
                  <a:pt x="1317706" y="233073"/>
                </a:moveTo>
                <a:cubicBezTo>
                  <a:pt x="1482494" y="233073"/>
                  <a:pt x="1616597" y="367098"/>
                  <a:pt x="1616597" y="531886"/>
                </a:cubicBezTo>
                <a:lnTo>
                  <a:pt x="1616636" y="1033911"/>
                </a:lnTo>
                <a:cubicBezTo>
                  <a:pt x="1616636" y="1178169"/>
                  <a:pt x="1513963" y="1298844"/>
                  <a:pt x="1377899" y="1326758"/>
                </a:cubicBezTo>
                <a:lnTo>
                  <a:pt x="1317745" y="1332841"/>
                </a:lnTo>
                <a:lnTo>
                  <a:pt x="1257587" y="1326760"/>
                </a:lnTo>
                <a:cubicBezTo>
                  <a:pt x="1121518" y="1298852"/>
                  <a:pt x="1018847" y="1178203"/>
                  <a:pt x="1018814" y="1033911"/>
                </a:cubicBezTo>
                <a:lnTo>
                  <a:pt x="1018814" y="531886"/>
                </a:lnTo>
                <a:cubicBezTo>
                  <a:pt x="1018814" y="367137"/>
                  <a:pt x="1152917" y="233073"/>
                  <a:pt x="1317706" y="233073"/>
                </a:cubicBezTo>
                <a:close/>
                <a:moveTo>
                  <a:pt x="2116408" y="155285"/>
                </a:moveTo>
                <a:cubicBezTo>
                  <a:pt x="2037229" y="155285"/>
                  <a:pt x="1972821" y="219693"/>
                  <a:pt x="1972821" y="298950"/>
                </a:cubicBezTo>
                <a:lnTo>
                  <a:pt x="1972821" y="1429932"/>
                </a:lnTo>
                <a:cubicBezTo>
                  <a:pt x="1972821" y="1509189"/>
                  <a:pt x="2037189" y="1573597"/>
                  <a:pt x="2116408" y="1573597"/>
                </a:cubicBezTo>
                <a:cubicBezTo>
                  <a:pt x="2195586" y="1573597"/>
                  <a:pt x="2259995" y="1509189"/>
                  <a:pt x="2259995" y="1429932"/>
                </a:cubicBezTo>
                <a:lnTo>
                  <a:pt x="2259995" y="298950"/>
                </a:lnTo>
                <a:cubicBezTo>
                  <a:pt x="2259995" y="219693"/>
                  <a:pt x="2195627" y="155285"/>
                  <a:pt x="2116408" y="155285"/>
                </a:cubicBezTo>
                <a:close/>
                <a:moveTo>
                  <a:pt x="2116408" y="0"/>
                </a:moveTo>
                <a:cubicBezTo>
                  <a:pt x="2281196" y="0"/>
                  <a:pt x="2415299" y="134142"/>
                  <a:pt x="2415299" y="298930"/>
                </a:cubicBezTo>
                <a:lnTo>
                  <a:pt x="2415299" y="1430010"/>
                </a:lnTo>
                <a:cubicBezTo>
                  <a:pt x="2415299" y="1594808"/>
                  <a:pt x="2281196" y="1728941"/>
                  <a:pt x="2116408" y="1728941"/>
                </a:cubicBezTo>
                <a:lnTo>
                  <a:pt x="2116408" y="1728882"/>
                </a:lnTo>
                <a:cubicBezTo>
                  <a:pt x="1951648" y="1728882"/>
                  <a:pt x="1817554" y="1594700"/>
                  <a:pt x="1817516" y="1429913"/>
                </a:cubicBezTo>
                <a:lnTo>
                  <a:pt x="1817516" y="298930"/>
                </a:lnTo>
                <a:cubicBezTo>
                  <a:pt x="1817516" y="134133"/>
                  <a:pt x="1951619" y="0"/>
                  <a:pt x="2116408" y="0"/>
                </a:cubicBezTo>
                <a:close/>
              </a:path>
            </a:pathLst>
          </a:custGeom>
          <a:solidFill>
            <a:srgbClr val="1C345E"/>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EA4FC489-D250-EE87-2510-862DA271599E}"/>
              </a:ext>
            </a:extLst>
          </p:cNvPr>
          <p:cNvSpPr/>
          <p:nvPr/>
        </p:nvSpPr>
        <p:spPr>
          <a:xfrm flipH="1">
            <a:off x="5247699" y="943369"/>
            <a:ext cx="519817" cy="519815"/>
          </a:xfrm>
          <a:prstGeom prst="rect">
            <a:avLst/>
          </a:prstGeom>
          <a:solidFill>
            <a:srgbClr val="FFFFFF"/>
          </a:solidFill>
          <a:ln w="6350" cap="flat" cmpd="sng" algn="ctr">
            <a:solidFill>
              <a:srgbClr val="0070C0"/>
            </a:solidFill>
            <a:prstDash val="solid"/>
            <a:miter lim="800000"/>
          </a:ln>
          <a:effectLst>
            <a:outerShdw blurRad="63500" sx="102000" sy="102000" algn="ctr" rotWithShape="0">
              <a:prstClr val="black">
                <a:alpha val="10000"/>
              </a:prstClr>
            </a:outerShdw>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8" name="Freeform: Shape 67">
            <a:extLst>
              <a:ext uri="{FF2B5EF4-FFF2-40B4-BE49-F238E27FC236}">
                <a16:creationId xmlns:a16="http://schemas.microsoft.com/office/drawing/2014/main" id="{86E48CD8-AD29-C651-A815-1BD9E5058773}"/>
              </a:ext>
            </a:extLst>
          </p:cNvPr>
          <p:cNvSpPr/>
          <p:nvPr/>
        </p:nvSpPr>
        <p:spPr>
          <a:xfrm>
            <a:off x="5464150" y="1051355"/>
            <a:ext cx="184854" cy="311353"/>
          </a:xfrm>
          <a:custGeom>
            <a:avLst/>
            <a:gdLst>
              <a:gd name="connsiteX0" fmla="*/ 2235555 w 2825607"/>
              <a:gd name="connsiteY0" fmla="*/ 3958013 h 4759234"/>
              <a:gd name="connsiteX1" fmla="*/ 2235785 w 2825607"/>
              <a:gd name="connsiteY1" fmla="*/ 3958013 h 4759234"/>
              <a:gd name="connsiteX2" fmla="*/ 2245543 w 2825607"/>
              <a:gd name="connsiteY2" fmla="*/ 3961917 h 4759234"/>
              <a:gd name="connsiteX3" fmla="*/ 2821429 w 2825607"/>
              <a:gd name="connsiteY3" fmla="*/ 4520775 h 4759234"/>
              <a:gd name="connsiteX4" fmla="*/ 2821774 w 2825607"/>
              <a:gd name="connsiteY4" fmla="*/ 4540753 h 4759234"/>
              <a:gd name="connsiteX5" fmla="*/ 2821774 w 2825607"/>
              <a:gd name="connsiteY5" fmla="*/ 4540751 h 4759234"/>
              <a:gd name="connsiteX6" fmla="*/ 2613849 w 2825607"/>
              <a:gd name="connsiteY6" fmla="*/ 4755063 h 4759234"/>
              <a:gd name="connsiteX7" fmla="*/ 2603975 w 2825607"/>
              <a:gd name="connsiteY7" fmla="*/ 4759234 h 4759234"/>
              <a:gd name="connsiteX8" fmla="*/ 2593911 w 2825607"/>
              <a:gd name="connsiteY8" fmla="*/ 4755331 h 4759234"/>
              <a:gd name="connsiteX9" fmla="*/ 2018025 w 2825607"/>
              <a:gd name="connsiteY9" fmla="*/ 4196512 h 4759234"/>
              <a:gd name="connsiteX10" fmla="*/ 2013853 w 2825607"/>
              <a:gd name="connsiteY10" fmla="*/ 4186562 h 4759234"/>
              <a:gd name="connsiteX11" fmla="*/ 2017680 w 2825607"/>
              <a:gd name="connsiteY11" fmla="*/ 4176497 h 4759234"/>
              <a:gd name="connsiteX12" fmla="*/ 2225605 w 2825607"/>
              <a:gd name="connsiteY12" fmla="*/ 3962184 h 4759234"/>
              <a:gd name="connsiteX13" fmla="*/ 2235555 w 2825607"/>
              <a:gd name="connsiteY13" fmla="*/ 3958013 h 4759234"/>
              <a:gd name="connsiteX14" fmla="*/ 967468 w 2825607"/>
              <a:gd name="connsiteY14" fmla="*/ 2163376 h 4759234"/>
              <a:gd name="connsiteX15" fmla="*/ 133183 w 2825607"/>
              <a:gd name="connsiteY15" fmla="*/ 2997661 h 4759234"/>
              <a:gd name="connsiteX16" fmla="*/ 967468 w 2825607"/>
              <a:gd name="connsiteY16" fmla="*/ 3831947 h 4759234"/>
              <a:gd name="connsiteX17" fmla="*/ 1801754 w 2825607"/>
              <a:gd name="connsiteY17" fmla="*/ 2997661 h 4759234"/>
              <a:gd name="connsiteX18" fmla="*/ 967468 w 2825607"/>
              <a:gd name="connsiteY18" fmla="*/ 2163376 h 4759234"/>
              <a:gd name="connsiteX19" fmla="*/ 967507 w 2825607"/>
              <a:gd name="connsiteY19" fmla="*/ 2030095 h 4759234"/>
              <a:gd name="connsiteX20" fmla="*/ 1935015 w 2825607"/>
              <a:gd name="connsiteY20" fmla="*/ 2997603 h 4759234"/>
              <a:gd name="connsiteX21" fmla="*/ 967507 w 2825607"/>
              <a:gd name="connsiteY21" fmla="*/ 3965110 h 4759234"/>
              <a:gd name="connsiteX22" fmla="*/ 0 w 2825607"/>
              <a:gd name="connsiteY22" fmla="*/ 2997603 h 4759234"/>
              <a:gd name="connsiteX23" fmla="*/ 967507 w 2825607"/>
              <a:gd name="connsiteY23" fmla="*/ 2030095 h 4759234"/>
              <a:gd name="connsiteX24" fmla="*/ 1121284 w 2825607"/>
              <a:gd name="connsiteY24" fmla="*/ 0 h 4759234"/>
              <a:gd name="connsiteX25" fmla="*/ 1350174 w 2825607"/>
              <a:gd name="connsiteY25" fmla="*/ 228891 h 4759234"/>
              <a:gd name="connsiteX26" fmla="*/ 1121284 w 2825607"/>
              <a:gd name="connsiteY26" fmla="*/ 228891 h 4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825607" h="4759234">
                <a:moveTo>
                  <a:pt x="2235555" y="3958013"/>
                </a:moveTo>
                <a:lnTo>
                  <a:pt x="2235785" y="3958013"/>
                </a:lnTo>
                <a:cubicBezTo>
                  <a:pt x="2238463" y="3958013"/>
                  <a:pt x="2242290" y="3958702"/>
                  <a:pt x="2245543" y="3961917"/>
                </a:cubicBezTo>
                <a:lnTo>
                  <a:pt x="2821429" y="4520775"/>
                </a:lnTo>
                <a:cubicBezTo>
                  <a:pt x="2826864" y="4526056"/>
                  <a:pt x="2827017" y="4535394"/>
                  <a:pt x="2821774" y="4540753"/>
                </a:cubicBezTo>
                <a:lnTo>
                  <a:pt x="2821774" y="4540751"/>
                </a:lnTo>
                <a:lnTo>
                  <a:pt x="2613849" y="4755063"/>
                </a:lnTo>
                <a:cubicBezTo>
                  <a:pt x="2610596" y="4758431"/>
                  <a:pt x="2606654" y="4759196"/>
                  <a:pt x="2603975" y="4759234"/>
                </a:cubicBezTo>
                <a:cubicBezTo>
                  <a:pt x="2600990" y="4759120"/>
                  <a:pt x="2597278" y="4758660"/>
                  <a:pt x="2593911" y="4755331"/>
                </a:cubicBezTo>
                <a:lnTo>
                  <a:pt x="2018025" y="4196512"/>
                </a:lnTo>
                <a:cubicBezTo>
                  <a:pt x="2014657" y="4193259"/>
                  <a:pt x="2013892" y="4189317"/>
                  <a:pt x="2013853" y="4186562"/>
                </a:cubicBezTo>
                <a:cubicBezTo>
                  <a:pt x="2013815" y="4183807"/>
                  <a:pt x="2014427" y="4179864"/>
                  <a:pt x="2017680" y="4176497"/>
                </a:cubicBezTo>
                <a:lnTo>
                  <a:pt x="2225605" y="3962184"/>
                </a:lnTo>
                <a:cubicBezTo>
                  <a:pt x="2228858" y="3958817"/>
                  <a:pt x="2232800" y="3958051"/>
                  <a:pt x="2235555" y="3958013"/>
                </a:cubicBezTo>
                <a:close/>
                <a:moveTo>
                  <a:pt x="967468" y="2163376"/>
                </a:moveTo>
                <a:cubicBezTo>
                  <a:pt x="507463" y="2163376"/>
                  <a:pt x="133183" y="2537656"/>
                  <a:pt x="133183" y="2997661"/>
                </a:cubicBezTo>
                <a:cubicBezTo>
                  <a:pt x="133183" y="3457666"/>
                  <a:pt x="507463" y="3831947"/>
                  <a:pt x="967468" y="3831947"/>
                </a:cubicBezTo>
                <a:cubicBezTo>
                  <a:pt x="1427474" y="3831947"/>
                  <a:pt x="1801754" y="3457666"/>
                  <a:pt x="1801754" y="2997661"/>
                </a:cubicBezTo>
                <a:cubicBezTo>
                  <a:pt x="1801754" y="2537617"/>
                  <a:pt x="1427474" y="2163376"/>
                  <a:pt x="967468" y="2163376"/>
                </a:cubicBezTo>
                <a:close/>
                <a:moveTo>
                  <a:pt x="967507" y="2030095"/>
                </a:moveTo>
                <a:cubicBezTo>
                  <a:pt x="1500991" y="2030095"/>
                  <a:pt x="1935015" y="2464080"/>
                  <a:pt x="1935015" y="2997603"/>
                </a:cubicBezTo>
                <a:cubicBezTo>
                  <a:pt x="1935015" y="3531086"/>
                  <a:pt x="1501031" y="3965110"/>
                  <a:pt x="967507" y="3965110"/>
                </a:cubicBezTo>
                <a:cubicBezTo>
                  <a:pt x="434024" y="3965110"/>
                  <a:pt x="0" y="3531086"/>
                  <a:pt x="0" y="2997603"/>
                </a:cubicBezTo>
                <a:cubicBezTo>
                  <a:pt x="0" y="2464119"/>
                  <a:pt x="433984" y="2030095"/>
                  <a:pt x="967507" y="2030095"/>
                </a:cubicBezTo>
                <a:close/>
                <a:moveTo>
                  <a:pt x="1121284" y="0"/>
                </a:moveTo>
                <a:lnTo>
                  <a:pt x="1350174" y="228891"/>
                </a:lnTo>
                <a:lnTo>
                  <a:pt x="1121284" y="228891"/>
                </a:lnTo>
                <a:close/>
              </a:path>
            </a:pathLst>
          </a:custGeom>
          <a:solidFill>
            <a:srgbClr val="0070C0"/>
          </a:solid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Calibri" panose="020F0502020204030204"/>
              <a:cs typeface="+mn-cs"/>
            </a:endParaRPr>
          </a:p>
        </p:txBody>
      </p:sp>
      <p:sp>
        <p:nvSpPr>
          <p:cNvPr id="69" name="Freeform: Shape 68">
            <a:extLst>
              <a:ext uri="{FF2B5EF4-FFF2-40B4-BE49-F238E27FC236}">
                <a16:creationId xmlns:a16="http://schemas.microsoft.com/office/drawing/2014/main" id="{43BECB18-E1FC-1DB1-32D6-F5FFAED28245}"/>
              </a:ext>
            </a:extLst>
          </p:cNvPr>
          <p:cNvSpPr/>
          <p:nvPr/>
        </p:nvSpPr>
        <p:spPr>
          <a:xfrm>
            <a:off x="5355579" y="1033213"/>
            <a:ext cx="304056" cy="340125"/>
          </a:xfrm>
          <a:custGeom>
            <a:avLst/>
            <a:gdLst>
              <a:gd name="connsiteX0" fmla="*/ 3895125 w 4647675"/>
              <a:gd name="connsiteY0" fmla="*/ 4235323 h 5199034"/>
              <a:gd name="connsiteX1" fmla="*/ 3885175 w 4647675"/>
              <a:gd name="connsiteY1" fmla="*/ 4239494 h 5199034"/>
              <a:gd name="connsiteX2" fmla="*/ 3677250 w 4647675"/>
              <a:gd name="connsiteY2" fmla="*/ 4453807 h 5199034"/>
              <a:gd name="connsiteX3" fmla="*/ 3673423 w 4647675"/>
              <a:gd name="connsiteY3" fmla="*/ 4463872 h 5199034"/>
              <a:gd name="connsiteX4" fmla="*/ 3677595 w 4647675"/>
              <a:gd name="connsiteY4" fmla="*/ 4473822 h 5199034"/>
              <a:gd name="connsiteX5" fmla="*/ 4253481 w 4647675"/>
              <a:gd name="connsiteY5" fmla="*/ 5032641 h 5199034"/>
              <a:gd name="connsiteX6" fmla="*/ 4263545 w 4647675"/>
              <a:gd name="connsiteY6" fmla="*/ 5036544 h 5199034"/>
              <a:gd name="connsiteX7" fmla="*/ 4273419 w 4647675"/>
              <a:gd name="connsiteY7" fmla="*/ 5032373 h 5199034"/>
              <a:gd name="connsiteX8" fmla="*/ 4481344 w 4647675"/>
              <a:gd name="connsiteY8" fmla="*/ 4818061 h 5199034"/>
              <a:gd name="connsiteX9" fmla="*/ 4481344 w 4647675"/>
              <a:gd name="connsiteY9" fmla="*/ 4818063 h 5199034"/>
              <a:gd name="connsiteX10" fmla="*/ 4480999 w 4647675"/>
              <a:gd name="connsiteY10" fmla="*/ 4798085 h 5199034"/>
              <a:gd name="connsiteX11" fmla="*/ 3905113 w 4647675"/>
              <a:gd name="connsiteY11" fmla="*/ 4239227 h 5199034"/>
              <a:gd name="connsiteX12" fmla="*/ 3895355 w 4647675"/>
              <a:gd name="connsiteY12" fmla="*/ 4235323 h 5199034"/>
              <a:gd name="connsiteX13" fmla="*/ 3494815 w 4647675"/>
              <a:gd name="connsiteY13" fmla="*/ 3997720 h 5199034"/>
              <a:gd name="connsiteX14" fmla="*/ 3425968 w 4647675"/>
              <a:gd name="connsiteY14" fmla="*/ 4073150 h 5199034"/>
              <a:gd name="connsiteX15" fmla="*/ 3629033 w 4647675"/>
              <a:gd name="connsiteY15" fmla="*/ 4270201 h 5199034"/>
              <a:gd name="connsiteX16" fmla="*/ 3700139 w 4647675"/>
              <a:gd name="connsiteY16" fmla="*/ 4196951 h 5199034"/>
              <a:gd name="connsiteX17" fmla="*/ 507937 w 4647675"/>
              <a:gd name="connsiteY17" fmla="*/ 3596622 h 5199034"/>
              <a:gd name="connsiteX18" fmla="*/ 1178453 w 4647675"/>
              <a:gd name="connsiteY18" fmla="*/ 3596622 h 5199034"/>
              <a:gd name="connsiteX19" fmla="*/ 1287910 w 4647675"/>
              <a:gd name="connsiteY19" fmla="*/ 3677832 h 5199034"/>
              <a:gd name="connsiteX20" fmla="*/ 1178453 w 4647675"/>
              <a:gd name="connsiteY20" fmla="*/ 3759042 h 5199034"/>
              <a:gd name="connsiteX21" fmla="*/ 507937 w 4647675"/>
              <a:gd name="connsiteY21" fmla="*/ 3759042 h 5199034"/>
              <a:gd name="connsiteX22" fmla="*/ 398479 w 4647675"/>
              <a:gd name="connsiteY22" fmla="*/ 3677832 h 5199034"/>
              <a:gd name="connsiteX23" fmla="*/ 507937 w 4647675"/>
              <a:gd name="connsiteY23" fmla="*/ 3596622 h 5199034"/>
              <a:gd name="connsiteX24" fmla="*/ 696607 w 4647675"/>
              <a:gd name="connsiteY24" fmla="*/ 3057099 h 5199034"/>
              <a:gd name="connsiteX25" fmla="*/ 1194077 w 4647675"/>
              <a:gd name="connsiteY25" fmla="*/ 3057099 h 5199034"/>
              <a:gd name="connsiteX26" fmla="*/ 1275286 w 4647675"/>
              <a:gd name="connsiteY26" fmla="*/ 3138309 h 5199034"/>
              <a:gd name="connsiteX27" fmla="*/ 1194077 w 4647675"/>
              <a:gd name="connsiteY27" fmla="*/ 3219519 h 5199034"/>
              <a:gd name="connsiteX28" fmla="*/ 696607 w 4647675"/>
              <a:gd name="connsiteY28" fmla="*/ 3219519 h 5199034"/>
              <a:gd name="connsiteX29" fmla="*/ 615398 w 4647675"/>
              <a:gd name="connsiteY29" fmla="*/ 3138309 h 5199034"/>
              <a:gd name="connsiteX30" fmla="*/ 696607 w 4647675"/>
              <a:gd name="connsiteY30" fmla="*/ 3057099 h 5199034"/>
              <a:gd name="connsiteX31" fmla="*/ 2627038 w 4647675"/>
              <a:gd name="connsiteY31" fmla="*/ 2603123 h 5199034"/>
              <a:gd name="connsiteX32" fmla="*/ 1955248 w 4647675"/>
              <a:gd name="connsiteY32" fmla="*/ 3274914 h 5199034"/>
              <a:gd name="connsiteX33" fmla="*/ 2627038 w 4647675"/>
              <a:gd name="connsiteY33" fmla="*/ 3946703 h 5199034"/>
              <a:gd name="connsiteX34" fmla="*/ 3298828 w 4647675"/>
              <a:gd name="connsiteY34" fmla="*/ 3274914 h 5199034"/>
              <a:gd name="connsiteX35" fmla="*/ 2627038 w 4647675"/>
              <a:gd name="connsiteY35" fmla="*/ 2603123 h 5199034"/>
              <a:gd name="connsiteX36" fmla="*/ 696607 w 4647675"/>
              <a:gd name="connsiteY36" fmla="*/ 2517578 h 5199034"/>
              <a:gd name="connsiteX37" fmla="*/ 1194077 w 4647675"/>
              <a:gd name="connsiteY37" fmla="*/ 2517578 h 5199034"/>
              <a:gd name="connsiteX38" fmla="*/ 1275286 w 4647675"/>
              <a:gd name="connsiteY38" fmla="*/ 2598787 h 5199034"/>
              <a:gd name="connsiteX39" fmla="*/ 1194077 w 4647675"/>
              <a:gd name="connsiteY39" fmla="*/ 2679997 h 5199034"/>
              <a:gd name="connsiteX40" fmla="*/ 696607 w 4647675"/>
              <a:gd name="connsiteY40" fmla="*/ 2679997 h 5199034"/>
              <a:gd name="connsiteX41" fmla="*/ 615398 w 4647675"/>
              <a:gd name="connsiteY41" fmla="*/ 2598787 h 5199034"/>
              <a:gd name="connsiteX42" fmla="*/ 696607 w 4647675"/>
              <a:gd name="connsiteY42" fmla="*/ 2517578 h 5199034"/>
              <a:gd name="connsiteX43" fmla="*/ 2627038 w 4647675"/>
              <a:gd name="connsiteY43" fmla="*/ 2440687 h 5199034"/>
              <a:gd name="connsiteX44" fmla="*/ 3461324 w 4647675"/>
              <a:gd name="connsiteY44" fmla="*/ 3274972 h 5199034"/>
              <a:gd name="connsiteX45" fmla="*/ 2627038 w 4647675"/>
              <a:gd name="connsiteY45" fmla="*/ 4109258 h 5199034"/>
              <a:gd name="connsiteX46" fmla="*/ 1792753 w 4647675"/>
              <a:gd name="connsiteY46" fmla="*/ 3274972 h 5199034"/>
              <a:gd name="connsiteX47" fmla="*/ 2627038 w 4647675"/>
              <a:gd name="connsiteY47" fmla="*/ 2440687 h 5199034"/>
              <a:gd name="connsiteX48" fmla="*/ 2627077 w 4647675"/>
              <a:gd name="connsiteY48" fmla="*/ 2307405 h 5199034"/>
              <a:gd name="connsiteX49" fmla="*/ 1659570 w 4647675"/>
              <a:gd name="connsiteY49" fmla="*/ 3274913 h 5199034"/>
              <a:gd name="connsiteX50" fmla="*/ 2627077 w 4647675"/>
              <a:gd name="connsiteY50" fmla="*/ 4242420 h 5199034"/>
              <a:gd name="connsiteX51" fmla="*/ 3594585 w 4647675"/>
              <a:gd name="connsiteY51" fmla="*/ 3274913 h 5199034"/>
              <a:gd name="connsiteX52" fmla="*/ 2627077 w 4647675"/>
              <a:gd name="connsiteY52" fmla="*/ 2307405 h 5199034"/>
              <a:gd name="connsiteX53" fmla="*/ 696598 w 4647675"/>
              <a:gd name="connsiteY53" fmla="*/ 1978057 h 5199034"/>
              <a:gd name="connsiteX54" fmla="*/ 1464646 w 4647675"/>
              <a:gd name="connsiteY54" fmla="*/ 1978057 h 5199034"/>
              <a:gd name="connsiteX55" fmla="*/ 1545856 w 4647675"/>
              <a:gd name="connsiteY55" fmla="*/ 2059267 h 5199034"/>
              <a:gd name="connsiteX56" fmla="*/ 1464646 w 4647675"/>
              <a:gd name="connsiteY56" fmla="*/ 2140476 h 5199034"/>
              <a:gd name="connsiteX57" fmla="*/ 696598 w 4647675"/>
              <a:gd name="connsiteY57" fmla="*/ 2140476 h 5199034"/>
              <a:gd name="connsiteX58" fmla="*/ 615389 w 4647675"/>
              <a:gd name="connsiteY58" fmla="*/ 2059267 h 5199034"/>
              <a:gd name="connsiteX59" fmla="*/ 696598 w 4647675"/>
              <a:gd name="connsiteY59" fmla="*/ 1978057 h 5199034"/>
              <a:gd name="connsiteX60" fmla="*/ 696599 w 4647675"/>
              <a:gd name="connsiteY60" fmla="*/ 1438537 h 5199034"/>
              <a:gd name="connsiteX61" fmla="*/ 2590486 w 4647675"/>
              <a:gd name="connsiteY61" fmla="*/ 1438537 h 5199034"/>
              <a:gd name="connsiteX62" fmla="*/ 2671696 w 4647675"/>
              <a:gd name="connsiteY62" fmla="*/ 1519746 h 5199034"/>
              <a:gd name="connsiteX63" fmla="*/ 2590486 w 4647675"/>
              <a:gd name="connsiteY63" fmla="*/ 1600956 h 5199034"/>
              <a:gd name="connsiteX64" fmla="*/ 696599 w 4647675"/>
              <a:gd name="connsiteY64" fmla="*/ 1600956 h 5199034"/>
              <a:gd name="connsiteX65" fmla="*/ 615390 w 4647675"/>
              <a:gd name="connsiteY65" fmla="*/ 1519746 h 5199034"/>
              <a:gd name="connsiteX66" fmla="*/ 696599 w 4647675"/>
              <a:gd name="connsiteY66" fmla="*/ 1438537 h 5199034"/>
              <a:gd name="connsiteX67" fmla="*/ 696599 w 4647675"/>
              <a:gd name="connsiteY67" fmla="*/ 899017 h 5199034"/>
              <a:gd name="connsiteX68" fmla="*/ 2590486 w 4647675"/>
              <a:gd name="connsiteY68" fmla="*/ 899017 h 5199034"/>
              <a:gd name="connsiteX69" fmla="*/ 2671696 w 4647675"/>
              <a:gd name="connsiteY69" fmla="*/ 980227 h 5199034"/>
              <a:gd name="connsiteX70" fmla="*/ 2590486 w 4647675"/>
              <a:gd name="connsiteY70" fmla="*/ 1061436 h 5199034"/>
              <a:gd name="connsiteX71" fmla="*/ 696599 w 4647675"/>
              <a:gd name="connsiteY71" fmla="*/ 1061436 h 5199034"/>
              <a:gd name="connsiteX72" fmla="*/ 615390 w 4647675"/>
              <a:gd name="connsiteY72" fmla="*/ 980227 h 5199034"/>
              <a:gd name="connsiteX73" fmla="*/ 696599 w 4647675"/>
              <a:gd name="connsiteY73" fmla="*/ 899017 h 5199034"/>
              <a:gd name="connsiteX74" fmla="*/ 2780854 w 4647675"/>
              <a:gd name="connsiteY74" fmla="*/ 277310 h 5199034"/>
              <a:gd name="connsiteX75" fmla="*/ 2780854 w 4647675"/>
              <a:gd name="connsiteY75" fmla="*/ 506201 h 5199034"/>
              <a:gd name="connsiteX76" fmla="*/ 3009744 w 4647675"/>
              <a:gd name="connsiteY76" fmla="*/ 506201 h 5199034"/>
              <a:gd name="connsiteX77" fmla="*/ 162566 w 4647675"/>
              <a:gd name="connsiteY77" fmla="*/ 162458 h 5199034"/>
              <a:gd name="connsiteX78" fmla="*/ 162548 w 4647675"/>
              <a:gd name="connsiteY78" fmla="*/ 4049799 h 5199034"/>
              <a:gd name="connsiteX79" fmla="*/ 1805334 w 4647675"/>
              <a:gd name="connsiteY79" fmla="*/ 4049799 h 5199034"/>
              <a:gd name="connsiteX80" fmla="*/ 1497067 w 4647675"/>
              <a:gd name="connsiteY80" fmla="*/ 3275021 h 5199034"/>
              <a:gd name="connsiteX81" fmla="*/ 2627070 w 4647675"/>
              <a:gd name="connsiteY81" fmla="*/ 2145019 h 5199034"/>
              <a:gd name="connsiteX82" fmla="*/ 3124617 w 4647675"/>
              <a:gd name="connsiteY82" fmla="*/ 2260635 h 5199034"/>
              <a:gd name="connsiteX83" fmla="*/ 3124656 w 4647675"/>
              <a:gd name="connsiteY83" fmla="*/ 668697 h 5199034"/>
              <a:gd name="connsiteX84" fmla="*/ 2699626 w 4647675"/>
              <a:gd name="connsiteY84" fmla="*/ 668697 h 5199034"/>
              <a:gd name="connsiteX85" fmla="*/ 2618417 w 4647675"/>
              <a:gd name="connsiteY85" fmla="*/ 587488 h 5199034"/>
              <a:gd name="connsiteX86" fmla="*/ 2618417 w 4647675"/>
              <a:gd name="connsiteY86" fmla="*/ 162458 h 5199034"/>
              <a:gd name="connsiteX87" fmla="*/ 81209 w 4647675"/>
              <a:gd name="connsiteY87" fmla="*/ 0 h 5199034"/>
              <a:gd name="connsiteX88" fmla="*/ 2699693 w 4647675"/>
              <a:gd name="connsiteY88" fmla="*/ 0 h 5199034"/>
              <a:gd name="connsiteX89" fmla="*/ 2757137 w 4647675"/>
              <a:gd name="connsiteY89" fmla="*/ 23766 h 5199034"/>
              <a:gd name="connsiteX90" fmla="*/ 3263375 w 4647675"/>
              <a:gd name="connsiteY90" fmla="*/ 530004 h 5199034"/>
              <a:gd name="connsiteX91" fmla="*/ 3287140 w 4647675"/>
              <a:gd name="connsiteY91" fmla="*/ 587447 h 5199034"/>
              <a:gd name="connsiteX92" fmla="*/ 3287179 w 4647675"/>
              <a:gd name="connsiteY92" fmla="*/ 2358379 h 5199034"/>
              <a:gd name="connsiteX93" fmla="*/ 3757138 w 4647675"/>
              <a:gd name="connsiteY93" fmla="*/ 3274951 h 5199034"/>
              <a:gd name="connsiteX94" fmla="*/ 3590812 w 4647675"/>
              <a:gd name="connsiteY94" fmla="*/ 3864386 h 5199034"/>
              <a:gd name="connsiteX95" fmla="*/ 3822152 w 4647675"/>
              <a:gd name="connsiteY95" fmla="*/ 4088878 h 5199034"/>
              <a:gd name="connsiteX96" fmla="*/ 3892721 w 4647675"/>
              <a:gd name="connsiteY96" fmla="*/ 4072996 h 5199034"/>
              <a:gd name="connsiteX97" fmla="*/ 4018321 w 4647675"/>
              <a:gd name="connsiteY97" fmla="*/ 4122708 h 5199034"/>
              <a:gd name="connsiteX98" fmla="*/ 4594207 w 4647675"/>
              <a:gd name="connsiteY98" fmla="*/ 4681527 h 5199034"/>
              <a:gd name="connsiteX99" fmla="*/ 4594148 w 4647675"/>
              <a:gd name="connsiteY99" fmla="*/ 4681550 h 5199034"/>
              <a:gd name="connsiteX100" fmla="*/ 4597975 w 4647675"/>
              <a:gd name="connsiteY100" fmla="*/ 4931220 h 5199034"/>
              <a:gd name="connsiteX101" fmla="*/ 4390051 w 4647675"/>
              <a:gd name="connsiteY101" fmla="*/ 5145533 h 5199034"/>
              <a:gd name="connsiteX102" fmla="*/ 4265980 w 4647675"/>
              <a:gd name="connsiteY102" fmla="*/ 5199034 h 5199034"/>
              <a:gd name="connsiteX103" fmla="*/ 4263224 w 4647675"/>
              <a:gd name="connsiteY103" fmla="*/ 5199034 h 5199034"/>
              <a:gd name="connsiteX104" fmla="*/ 4140338 w 4647675"/>
              <a:gd name="connsiteY104" fmla="*/ 5149322 h 5199034"/>
              <a:gd name="connsiteX105" fmla="*/ 3564453 w 4647675"/>
              <a:gd name="connsiteY105" fmla="*/ 4590463 h 5199034"/>
              <a:gd name="connsiteX106" fmla="*/ 3510951 w 4647675"/>
              <a:gd name="connsiteY106" fmla="*/ 4466392 h 5199034"/>
              <a:gd name="connsiteX107" fmla="*/ 3524652 w 4647675"/>
              <a:gd name="connsiteY107" fmla="*/ 4395363 h 5199034"/>
              <a:gd name="connsiteX108" fmla="*/ 3302727 w 4647675"/>
              <a:gd name="connsiteY108" fmla="*/ 4180021 h 5199034"/>
              <a:gd name="connsiteX109" fmla="*/ 2626988 w 4647675"/>
              <a:gd name="connsiteY109" fmla="*/ 4404895 h 5199034"/>
              <a:gd name="connsiteX110" fmla="*/ 1996454 w 4647675"/>
              <a:gd name="connsiteY110" fmla="*/ 4212166 h 5199034"/>
              <a:gd name="connsiteX111" fmla="*/ 81209 w 4647675"/>
              <a:gd name="connsiteY111" fmla="*/ 4212166 h 5199034"/>
              <a:gd name="connsiteX112" fmla="*/ 0 w 4647675"/>
              <a:gd name="connsiteY112" fmla="*/ 4130957 h 5199034"/>
              <a:gd name="connsiteX113" fmla="*/ 0 w 4647675"/>
              <a:gd name="connsiteY113" fmla="*/ 81209 h 5199034"/>
              <a:gd name="connsiteX114" fmla="*/ 81209 w 4647675"/>
              <a:gd name="connsiteY114" fmla="*/ 0 h 519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4647675" h="5199034">
                <a:moveTo>
                  <a:pt x="3895125" y="4235323"/>
                </a:moveTo>
                <a:cubicBezTo>
                  <a:pt x="3892370" y="4235361"/>
                  <a:pt x="3888428" y="4236127"/>
                  <a:pt x="3885175" y="4239494"/>
                </a:cubicBezTo>
                <a:lnTo>
                  <a:pt x="3677250" y="4453807"/>
                </a:lnTo>
                <a:cubicBezTo>
                  <a:pt x="3673997" y="4457174"/>
                  <a:pt x="3673385" y="4461117"/>
                  <a:pt x="3673423" y="4463872"/>
                </a:cubicBezTo>
                <a:cubicBezTo>
                  <a:pt x="3673462" y="4466627"/>
                  <a:pt x="3674227" y="4470569"/>
                  <a:pt x="3677595" y="4473822"/>
                </a:cubicBezTo>
                <a:lnTo>
                  <a:pt x="4253481" y="5032641"/>
                </a:lnTo>
                <a:cubicBezTo>
                  <a:pt x="4256848" y="5035970"/>
                  <a:pt x="4260560" y="5036430"/>
                  <a:pt x="4263545" y="5036544"/>
                </a:cubicBezTo>
                <a:cubicBezTo>
                  <a:pt x="4266224" y="5036506"/>
                  <a:pt x="4270166" y="5035741"/>
                  <a:pt x="4273419" y="5032373"/>
                </a:cubicBezTo>
                <a:lnTo>
                  <a:pt x="4481344" y="4818061"/>
                </a:lnTo>
                <a:lnTo>
                  <a:pt x="4481344" y="4818063"/>
                </a:lnTo>
                <a:cubicBezTo>
                  <a:pt x="4486587" y="4812704"/>
                  <a:pt x="4486434" y="4803366"/>
                  <a:pt x="4480999" y="4798085"/>
                </a:cubicBezTo>
                <a:lnTo>
                  <a:pt x="3905113" y="4239227"/>
                </a:lnTo>
                <a:cubicBezTo>
                  <a:pt x="3901860" y="4236012"/>
                  <a:pt x="3898033" y="4235323"/>
                  <a:pt x="3895355" y="4235323"/>
                </a:cubicBezTo>
                <a:close/>
                <a:moveTo>
                  <a:pt x="3494815" y="3997720"/>
                </a:moveTo>
                <a:cubicBezTo>
                  <a:pt x="3473002" y="4023897"/>
                  <a:pt x="3450040" y="4049041"/>
                  <a:pt x="3425968" y="4073150"/>
                </a:cubicBezTo>
                <a:lnTo>
                  <a:pt x="3629033" y="4270201"/>
                </a:lnTo>
                <a:lnTo>
                  <a:pt x="3700139" y="4196951"/>
                </a:lnTo>
                <a:close/>
                <a:moveTo>
                  <a:pt x="507937" y="3596622"/>
                </a:moveTo>
                <a:lnTo>
                  <a:pt x="1178453" y="3596622"/>
                </a:lnTo>
                <a:cubicBezTo>
                  <a:pt x="1238958" y="3596546"/>
                  <a:pt x="1287910" y="3632940"/>
                  <a:pt x="1287910" y="3677832"/>
                </a:cubicBezTo>
                <a:cubicBezTo>
                  <a:pt x="1287910" y="3722684"/>
                  <a:pt x="1238908" y="3759042"/>
                  <a:pt x="1178453" y="3759042"/>
                </a:cubicBezTo>
                <a:lnTo>
                  <a:pt x="507937" y="3759042"/>
                </a:lnTo>
                <a:cubicBezTo>
                  <a:pt x="447483" y="3759042"/>
                  <a:pt x="398479" y="3722685"/>
                  <a:pt x="398479" y="3677832"/>
                </a:cubicBezTo>
                <a:cubicBezTo>
                  <a:pt x="398479" y="3632979"/>
                  <a:pt x="447482" y="3596622"/>
                  <a:pt x="507937" y="3596622"/>
                </a:cubicBezTo>
                <a:close/>
                <a:moveTo>
                  <a:pt x="696607" y="3057099"/>
                </a:moveTo>
                <a:lnTo>
                  <a:pt x="1194077" y="3057099"/>
                </a:lnTo>
                <a:cubicBezTo>
                  <a:pt x="1238967" y="3057023"/>
                  <a:pt x="1275286" y="3093417"/>
                  <a:pt x="1275286" y="3138309"/>
                </a:cubicBezTo>
                <a:cubicBezTo>
                  <a:pt x="1275286" y="3183161"/>
                  <a:pt x="1238930" y="3219519"/>
                  <a:pt x="1194077" y="3219519"/>
                </a:cubicBezTo>
                <a:lnTo>
                  <a:pt x="696607" y="3219519"/>
                </a:lnTo>
                <a:cubicBezTo>
                  <a:pt x="651755" y="3219519"/>
                  <a:pt x="615398" y="3183162"/>
                  <a:pt x="615398" y="3138309"/>
                </a:cubicBezTo>
                <a:cubicBezTo>
                  <a:pt x="615398" y="3093456"/>
                  <a:pt x="651754" y="3057099"/>
                  <a:pt x="696607" y="3057099"/>
                </a:cubicBezTo>
                <a:close/>
                <a:moveTo>
                  <a:pt x="2627038" y="2603123"/>
                </a:moveTo>
                <a:cubicBezTo>
                  <a:pt x="2256589" y="2603123"/>
                  <a:pt x="1955248" y="2904464"/>
                  <a:pt x="1955248" y="3274914"/>
                </a:cubicBezTo>
                <a:cubicBezTo>
                  <a:pt x="1955248" y="3645363"/>
                  <a:pt x="2256589" y="3946703"/>
                  <a:pt x="2627038" y="3946703"/>
                </a:cubicBezTo>
                <a:cubicBezTo>
                  <a:pt x="2997409" y="3946703"/>
                  <a:pt x="3298828" y="3645363"/>
                  <a:pt x="3298828" y="3274914"/>
                </a:cubicBezTo>
                <a:cubicBezTo>
                  <a:pt x="3298828" y="2904464"/>
                  <a:pt x="2997488" y="2603123"/>
                  <a:pt x="2627038" y="2603123"/>
                </a:cubicBezTo>
                <a:close/>
                <a:moveTo>
                  <a:pt x="696607" y="2517578"/>
                </a:moveTo>
                <a:lnTo>
                  <a:pt x="1194077" y="2517578"/>
                </a:lnTo>
                <a:cubicBezTo>
                  <a:pt x="1238967" y="2517539"/>
                  <a:pt x="1275286" y="2553896"/>
                  <a:pt x="1275286" y="2598787"/>
                </a:cubicBezTo>
                <a:cubicBezTo>
                  <a:pt x="1275286" y="2643640"/>
                  <a:pt x="1238930" y="2679997"/>
                  <a:pt x="1194077" y="2679997"/>
                </a:cubicBezTo>
                <a:lnTo>
                  <a:pt x="696607" y="2679997"/>
                </a:lnTo>
                <a:cubicBezTo>
                  <a:pt x="651755" y="2679997"/>
                  <a:pt x="615398" y="2643641"/>
                  <a:pt x="615398" y="2598787"/>
                </a:cubicBezTo>
                <a:cubicBezTo>
                  <a:pt x="615398" y="2553934"/>
                  <a:pt x="651754" y="2517578"/>
                  <a:pt x="696607" y="2517578"/>
                </a:cubicBezTo>
                <a:close/>
                <a:moveTo>
                  <a:pt x="2627038" y="2440687"/>
                </a:moveTo>
                <a:cubicBezTo>
                  <a:pt x="3087044" y="2440687"/>
                  <a:pt x="3461324" y="2814928"/>
                  <a:pt x="3461324" y="3274972"/>
                </a:cubicBezTo>
                <a:cubicBezTo>
                  <a:pt x="3461324" y="3734977"/>
                  <a:pt x="3087044" y="4109258"/>
                  <a:pt x="2627038" y="4109258"/>
                </a:cubicBezTo>
                <a:cubicBezTo>
                  <a:pt x="2167033" y="4109258"/>
                  <a:pt x="1792753" y="3734977"/>
                  <a:pt x="1792753" y="3274972"/>
                </a:cubicBezTo>
                <a:cubicBezTo>
                  <a:pt x="1792753" y="2814967"/>
                  <a:pt x="2167033" y="2440687"/>
                  <a:pt x="2627038" y="2440687"/>
                </a:cubicBezTo>
                <a:close/>
                <a:moveTo>
                  <a:pt x="2627077" y="2307405"/>
                </a:moveTo>
                <a:cubicBezTo>
                  <a:pt x="2093554" y="2307405"/>
                  <a:pt x="1659570" y="2741429"/>
                  <a:pt x="1659570" y="3274913"/>
                </a:cubicBezTo>
                <a:cubicBezTo>
                  <a:pt x="1659570" y="3808396"/>
                  <a:pt x="2093594" y="4242420"/>
                  <a:pt x="2627077" y="4242420"/>
                </a:cubicBezTo>
                <a:cubicBezTo>
                  <a:pt x="3160601" y="4242420"/>
                  <a:pt x="3594585" y="3808396"/>
                  <a:pt x="3594585" y="3274913"/>
                </a:cubicBezTo>
                <a:cubicBezTo>
                  <a:pt x="3594585" y="2741390"/>
                  <a:pt x="3160561" y="2307405"/>
                  <a:pt x="2627077" y="2307405"/>
                </a:cubicBezTo>
                <a:close/>
                <a:moveTo>
                  <a:pt x="696598" y="1978057"/>
                </a:moveTo>
                <a:lnTo>
                  <a:pt x="1464646" y="1978057"/>
                </a:lnTo>
                <a:cubicBezTo>
                  <a:pt x="1509499" y="1978057"/>
                  <a:pt x="1545856" y="2014414"/>
                  <a:pt x="1545856" y="2059267"/>
                </a:cubicBezTo>
                <a:cubicBezTo>
                  <a:pt x="1545856" y="2104081"/>
                  <a:pt x="1509500" y="2140476"/>
                  <a:pt x="1464646" y="2140476"/>
                </a:cubicBezTo>
                <a:lnTo>
                  <a:pt x="696598" y="2140476"/>
                </a:lnTo>
                <a:cubicBezTo>
                  <a:pt x="651746" y="2140476"/>
                  <a:pt x="615389" y="2104120"/>
                  <a:pt x="615389" y="2059267"/>
                </a:cubicBezTo>
                <a:cubicBezTo>
                  <a:pt x="615389" y="2014414"/>
                  <a:pt x="651745" y="1978057"/>
                  <a:pt x="696598" y="1978057"/>
                </a:cubicBezTo>
                <a:close/>
                <a:moveTo>
                  <a:pt x="696599" y="1438537"/>
                </a:moveTo>
                <a:lnTo>
                  <a:pt x="2590486" y="1438537"/>
                </a:lnTo>
                <a:cubicBezTo>
                  <a:pt x="2635338" y="1438537"/>
                  <a:pt x="2671696" y="1474893"/>
                  <a:pt x="2671696" y="1519746"/>
                </a:cubicBezTo>
                <a:cubicBezTo>
                  <a:pt x="2671696" y="1564599"/>
                  <a:pt x="2635339" y="1600956"/>
                  <a:pt x="2590486" y="1600956"/>
                </a:cubicBezTo>
                <a:lnTo>
                  <a:pt x="696599" y="1600956"/>
                </a:lnTo>
                <a:cubicBezTo>
                  <a:pt x="651747" y="1600956"/>
                  <a:pt x="615390" y="1564599"/>
                  <a:pt x="615390" y="1519746"/>
                </a:cubicBezTo>
                <a:cubicBezTo>
                  <a:pt x="615390" y="1474894"/>
                  <a:pt x="651746" y="1438537"/>
                  <a:pt x="696599" y="1438537"/>
                </a:cubicBezTo>
                <a:close/>
                <a:moveTo>
                  <a:pt x="696599" y="899017"/>
                </a:moveTo>
                <a:lnTo>
                  <a:pt x="2590486" y="899017"/>
                </a:lnTo>
                <a:cubicBezTo>
                  <a:pt x="2635338" y="899017"/>
                  <a:pt x="2671696" y="935373"/>
                  <a:pt x="2671696" y="980227"/>
                </a:cubicBezTo>
                <a:cubicBezTo>
                  <a:pt x="2671696" y="1025080"/>
                  <a:pt x="2635339" y="1061436"/>
                  <a:pt x="2590486" y="1061436"/>
                </a:cubicBezTo>
                <a:lnTo>
                  <a:pt x="696599" y="1061436"/>
                </a:lnTo>
                <a:cubicBezTo>
                  <a:pt x="651747" y="1061436"/>
                  <a:pt x="615390" y="1025080"/>
                  <a:pt x="615390" y="980227"/>
                </a:cubicBezTo>
                <a:cubicBezTo>
                  <a:pt x="615390" y="935374"/>
                  <a:pt x="651746" y="899017"/>
                  <a:pt x="696599" y="899017"/>
                </a:cubicBezTo>
                <a:close/>
                <a:moveTo>
                  <a:pt x="2780854" y="277310"/>
                </a:moveTo>
                <a:lnTo>
                  <a:pt x="2780854" y="506201"/>
                </a:lnTo>
                <a:lnTo>
                  <a:pt x="3009744" y="506201"/>
                </a:lnTo>
                <a:close/>
                <a:moveTo>
                  <a:pt x="162566" y="162458"/>
                </a:moveTo>
                <a:lnTo>
                  <a:pt x="162548" y="4049799"/>
                </a:lnTo>
                <a:lnTo>
                  <a:pt x="1805334" y="4049799"/>
                </a:lnTo>
                <a:cubicBezTo>
                  <a:pt x="1614329" y="3847390"/>
                  <a:pt x="1497067" y="3574677"/>
                  <a:pt x="1497067" y="3275021"/>
                </a:cubicBezTo>
                <a:cubicBezTo>
                  <a:pt x="1497067" y="2651943"/>
                  <a:pt x="2004030" y="2145019"/>
                  <a:pt x="2627070" y="2145019"/>
                </a:cubicBezTo>
                <a:cubicBezTo>
                  <a:pt x="2805485" y="2145019"/>
                  <a:pt x="2974447" y="2186620"/>
                  <a:pt x="3124617" y="2260635"/>
                </a:cubicBezTo>
                <a:lnTo>
                  <a:pt x="3124656" y="668697"/>
                </a:lnTo>
                <a:lnTo>
                  <a:pt x="2699626" y="668697"/>
                </a:lnTo>
                <a:cubicBezTo>
                  <a:pt x="2654773" y="668697"/>
                  <a:pt x="2618417" y="632340"/>
                  <a:pt x="2618417" y="587488"/>
                </a:cubicBezTo>
                <a:lnTo>
                  <a:pt x="2618417" y="162458"/>
                </a:lnTo>
                <a:close/>
                <a:moveTo>
                  <a:pt x="81209" y="0"/>
                </a:moveTo>
                <a:lnTo>
                  <a:pt x="2699693" y="0"/>
                </a:lnTo>
                <a:cubicBezTo>
                  <a:pt x="2721239" y="0"/>
                  <a:pt x="2741867" y="8496"/>
                  <a:pt x="2757137" y="23766"/>
                </a:cubicBezTo>
                <a:lnTo>
                  <a:pt x="3263375" y="530004"/>
                </a:lnTo>
                <a:cubicBezTo>
                  <a:pt x="3278568" y="545197"/>
                  <a:pt x="3287140" y="565901"/>
                  <a:pt x="3287140" y="587447"/>
                </a:cubicBezTo>
                <a:lnTo>
                  <a:pt x="3287179" y="2358379"/>
                </a:lnTo>
                <a:cubicBezTo>
                  <a:pt x="3571639" y="2563776"/>
                  <a:pt x="3757138" y="2898104"/>
                  <a:pt x="3757138" y="3274951"/>
                </a:cubicBezTo>
                <a:cubicBezTo>
                  <a:pt x="3757138" y="3490791"/>
                  <a:pt x="3696248" y="3692672"/>
                  <a:pt x="3590812" y="3864386"/>
                </a:cubicBezTo>
                <a:lnTo>
                  <a:pt x="3822152" y="4088878"/>
                </a:lnTo>
                <a:cubicBezTo>
                  <a:pt x="3844041" y="4078889"/>
                  <a:pt x="3867923" y="4073378"/>
                  <a:pt x="3892721" y="4072996"/>
                </a:cubicBezTo>
                <a:cubicBezTo>
                  <a:pt x="3940020" y="4072307"/>
                  <a:pt x="3984529" y="4089910"/>
                  <a:pt x="4018321" y="4122708"/>
                </a:cubicBezTo>
                <a:lnTo>
                  <a:pt x="4594207" y="4681527"/>
                </a:lnTo>
                <a:lnTo>
                  <a:pt x="4594148" y="4681550"/>
                </a:lnTo>
                <a:cubicBezTo>
                  <a:pt x="4663991" y="4749366"/>
                  <a:pt x="4665714" y="4861378"/>
                  <a:pt x="4597975" y="4931220"/>
                </a:cubicBezTo>
                <a:lnTo>
                  <a:pt x="4390051" y="5145533"/>
                </a:lnTo>
                <a:cubicBezTo>
                  <a:pt x="4357291" y="5179325"/>
                  <a:pt x="4313243" y="5198346"/>
                  <a:pt x="4265980" y="5199034"/>
                </a:cubicBezTo>
                <a:lnTo>
                  <a:pt x="4263224" y="5199034"/>
                </a:lnTo>
                <a:cubicBezTo>
                  <a:pt x="4216993" y="5199034"/>
                  <a:pt x="4173480" y="5181430"/>
                  <a:pt x="4140338" y="5149322"/>
                </a:cubicBezTo>
                <a:lnTo>
                  <a:pt x="3564453" y="4590463"/>
                </a:lnTo>
                <a:cubicBezTo>
                  <a:pt x="3530660" y="4557704"/>
                  <a:pt x="3511640" y="4513655"/>
                  <a:pt x="3510951" y="4466392"/>
                </a:cubicBezTo>
                <a:cubicBezTo>
                  <a:pt x="3510530" y="4441593"/>
                  <a:pt x="3515352" y="4417521"/>
                  <a:pt x="3524652" y="4395363"/>
                </a:cubicBezTo>
                <a:lnTo>
                  <a:pt x="3302727" y="4180021"/>
                </a:lnTo>
                <a:cubicBezTo>
                  <a:pt x="3114132" y="4321237"/>
                  <a:pt x="2880147" y="4404895"/>
                  <a:pt x="2626988" y="4404895"/>
                </a:cubicBezTo>
                <a:cubicBezTo>
                  <a:pt x="2393660" y="4404895"/>
                  <a:pt x="2176633" y="4333788"/>
                  <a:pt x="1996454" y="4212166"/>
                </a:cubicBezTo>
                <a:lnTo>
                  <a:pt x="81209" y="4212166"/>
                </a:lnTo>
                <a:cubicBezTo>
                  <a:pt x="36356" y="4212166"/>
                  <a:pt x="0" y="4175809"/>
                  <a:pt x="0" y="4130957"/>
                </a:cubicBezTo>
                <a:lnTo>
                  <a:pt x="0" y="81209"/>
                </a:lnTo>
                <a:cubicBezTo>
                  <a:pt x="0" y="36356"/>
                  <a:pt x="36357" y="0"/>
                  <a:pt x="81209" y="0"/>
                </a:cubicBezTo>
                <a:close/>
              </a:path>
            </a:pathLst>
          </a:custGeom>
          <a:solidFill>
            <a:srgbClr val="0070C0"/>
          </a:solid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Calibri" panose="020F0502020204030204"/>
              <a:cs typeface="+mn-cs"/>
            </a:endParaRPr>
          </a:p>
        </p:txBody>
      </p:sp>
      <p:sp>
        <p:nvSpPr>
          <p:cNvPr id="70" name="Rectangle 69">
            <a:extLst>
              <a:ext uri="{FF2B5EF4-FFF2-40B4-BE49-F238E27FC236}">
                <a16:creationId xmlns:a16="http://schemas.microsoft.com/office/drawing/2014/main" id="{9210EA4D-2632-00E3-D539-E7E2A25DFA12}"/>
              </a:ext>
            </a:extLst>
          </p:cNvPr>
          <p:cNvSpPr/>
          <p:nvPr/>
        </p:nvSpPr>
        <p:spPr>
          <a:xfrm flipH="1">
            <a:off x="7177456" y="941442"/>
            <a:ext cx="519817" cy="519815"/>
          </a:xfrm>
          <a:prstGeom prst="rect">
            <a:avLst/>
          </a:prstGeom>
          <a:solidFill>
            <a:srgbClr val="FFFFFF"/>
          </a:solidFill>
          <a:ln w="6350" cap="flat" cmpd="sng" algn="ctr">
            <a:solidFill>
              <a:srgbClr val="4C79CA"/>
            </a:solidFill>
            <a:prstDash val="solid"/>
            <a:miter lim="800000"/>
          </a:ln>
          <a:effectLst>
            <a:outerShdw blurRad="63500" sx="102000" sy="102000" algn="ctr" rotWithShape="0">
              <a:prstClr val="black">
                <a:alpha val="10000"/>
              </a:prstClr>
            </a:outerShdw>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2" name="Freeform: Shape 71">
            <a:extLst>
              <a:ext uri="{FF2B5EF4-FFF2-40B4-BE49-F238E27FC236}">
                <a16:creationId xmlns:a16="http://schemas.microsoft.com/office/drawing/2014/main" id="{04B60D88-6AA8-2233-97F6-6EDC2DB98C04}"/>
              </a:ext>
            </a:extLst>
          </p:cNvPr>
          <p:cNvSpPr/>
          <p:nvPr/>
        </p:nvSpPr>
        <p:spPr>
          <a:xfrm>
            <a:off x="7365975" y="1065640"/>
            <a:ext cx="158742" cy="211044"/>
          </a:xfrm>
          <a:custGeom>
            <a:avLst/>
            <a:gdLst>
              <a:gd name="connsiteX0" fmla="*/ 1714500 w 2966085"/>
              <a:gd name="connsiteY0" fmla="*/ 3086100 h 3943350"/>
              <a:gd name="connsiteX1" fmla="*/ 2228850 w 2966085"/>
              <a:gd name="connsiteY1" fmla="*/ 3086100 h 3943350"/>
              <a:gd name="connsiteX2" fmla="*/ 2228850 w 2966085"/>
              <a:gd name="connsiteY2" fmla="*/ 3943350 h 3943350"/>
              <a:gd name="connsiteX3" fmla="*/ 1714500 w 2966085"/>
              <a:gd name="connsiteY3" fmla="*/ 3943350 h 3943350"/>
              <a:gd name="connsiteX4" fmla="*/ 2571750 w 2966085"/>
              <a:gd name="connsiteY4" fmla="*/ 120015 h 3943350"/>
              <a:gd name="connsiteX5" fmla="*/ 2966085 w 2966085"/>
              <a:gd name="connsiteY5" fmla="*/ 514350 h 3943350"/>
              <a:gd name="connsiteX6" fmla="*/ 2571750 w 2966085"/>
              <a:gd name="connsiteY6" fmla="*/ 514350 h 3943350"/>
              <a:gd name="connsiteX7" fmla="*/ 0 w 2966085"/>
              <a:gd name="connsiteY7" fmla="*/ 0 h 3943350"/>
              <a:gd name="connsiteX8" fmla="*/ 514350 w 2966085"/>
              <a:gd name="connsiteY8" fmla="*/ 0 h 3943350"/>
              <a:gd name="connsiteX9" fmla="*/ 514350 w 2966085"/>
              <a:gd name="connsiteY9" fmla="*/ 942975 h 3943350"/>
              <a:gd name="connsiteX10" fmla="*/ 257175 w 2966085"/>
              <a:gd name="connsiteY10" fmla="*/ 745807 h 3943350"/>
              <a:gd name="connsiteX11" fmla="*/ 0 w 2966085"/>
              <a:gd name="connsiteY11" fmla="*/ 942975 h 394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66085" h="3943350">
                <a:moveTo>
                  <a:pt x="1714500" y="3086100"/>
                </a:moveTo>
                <a:lnTo>
                  <a:pt x="2228850" y="3086100"/>
                </a:lnTo>
                <a:lnTo>
                  <a:pt x="2228850" y="3943350"/>
                </a:lnTo>
                <a:lnTo>
                  <a:pt x="1714500" y="3943350"/>
                </a:lnTo>
                <a:close/>
                <a:moveTo>
                  <a:pt x="2571750" y="120015"/>
                </a:moveTo>
                <a:lnTo>
                  <a:pt x="2966085" y="514350"/>
                </a:lnTo>
                <a:lnTo>
                  <a:pt x="2571750" y="514350"/>
                </a:lnTo>
                <a:close/>
                <a:moveTo>
                  <a:pt x="0" y="0"/>
                </a:moveTo>
                <a:lnTo>
                  <a:pt x="514350" y="0"/>
                </a:lnTo>
                <a:lnTo>
                  <a:pt x="514350" y="942975"/>
                </a:lnTo>
                <a:lnTo>
                  <a:pt x="257175" y="745807"/>
                </a:lnTo>
                <a:lnTo>
                  <a:pt x="0" y="942975"/>
                </a:lnTo>
                <a:close/>
              </a:path>
            </a:pathLst>
          </a:custGeom>
          <a:solidFill>
            <a:srgbClr val="4C79CA"/>
          </a:solid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Calibri" panose="020F0502020204030204"/>
              <a:cs typeface="+mn-cs"/>
            </a:endParaRPr>
          </a:p>
        </p:txBody>
      </p:sp>
      <p:sp>
        <p:nvSpPr>
          <p:cNvPr id="73" name="Freeform: Shape 72">
            <a:extLst>
              <a:ext uri="{FF2B5EF4-FFF2-40B4-BE49-F238E27FC236}">
                <a16:creationId xmlns:a16="http://schemas.microsoft.com/office/drawing/2014/main" id="{11232EB6-C4CD-81DA-0E9E-129000A31F4F}"/>
              </a:ext>
            </a:extLst>
          </p:cNvPr>
          <p:cNvSpPr/>
          <p:nvPr/>
        </p:nvSpPr>
        <p:spPr>
          <a:xfrm>
            <a:off x="7283392" y="1056464"/>
            <a:ext cx="293627" cy="293627"/>
          </a:xfrm>
          <a:custGeom>
            <a:avLst/>
            <a:gdLst>
              <a:gd name="connsiteX0" fmla="*/ 2400300 w 5486399"/>
              <a:gd name="connsiteY0" fmla="*/ 4457699 h 5486399"/>
              <a:gd name="connsiteX1" fmla="*/ 2571751 w 5486399"/>
              <a:gd name="connsiteY1" fmla="*/ 4457699 h 5486399"/>
              <a:gd name="connsiteX2" fmla="*/ 2571751 w 5486399"/>
              <a:gd name="connsiteY2" fmla="*/ 4629150 h 5486399"/>
              <a:gd name="connsiteX3" fmla="*/ 2400300 w 5486399"/>
              <a:gd name="connsiteY3" fmla="*/ 4629150 h 5486399"/>
              <a:gd name="connsiteX4" fmla="*/ 2057400 w 5486399"/>
              <a:gd name="connsiteY4" fmla="*/ 4457699 h 5486399"/>
              <a:gd name="connsiteX5" fmla="*/ 2228851 w 5486399"/>
              <a:gd name="connsiteY5" fmla="*/ 4457699 h 5486399"/>
              <a:gd name="connsiteX6" fmla="*/ 2228851 w 5486399"/>
              <a:gd name="connsiteY6" fmla="*/ 4629150 h 5486399"/>
              <a:gd name="connsiteX7" fmla="*/ 2057400 w 5486399"/>
              <a:gd name="connsiteY7" fmla="*/ 4629150 h 5486399"/>
              <a:gd name="connsiteX8" fmla="*/ 1714500 w 5486399"/>
              <a:gd name="connsiteY8" fmla="*/ 4457699 h 5486399"/>
              <a:gd name="connsiteX9" fmla="*/ 1885951 w 5486399"/>
              <a:gd name="connsiteY9" fmla="*/ 4457699 h 5486399"/>
              <a:gd name="connsiteX10" fmla="*/ 1885951 w 5486399"/>
              <a:gd name="connsiteY10" fmla="*/ 4629150 h 5486399"/>
              <a:gd name="connsiteX11" fmla="*/ 1714500 w 5486399"/>
              <a:gd name="connsiteY11" fmla="*/ 4629150 h 5486399"/>
              <a:gd name="connsiteX12" fmla="*/ 3206115 w 5486399"/>
              <a:gd name="connsiteY12" fmla="*/ 4286251 h 5486399"/>
              <a:gd name="connsiteX13" fmla="*/ 3086100 w 5486399"/>
              <a:gd name="connsiteY13" fmla="*/ 4406266 h 5486399"/>
              <a:gd name="connsiteX14" fmla="*/ 3086100 w 5486399"/>
              <a:gd name="connsiteY14" fmla="*/ 4457701 h 5486399"/>
              <a:gd name="connsiteX15" fmla="*/ 3943350 w 5486399"/>
              <a:gd name="connsiteY15" fmla="*/ 4457701 h 5486399"/>
              <a:gd name="connsiteX16" fmla="*/ 3943350 w 5486399"/>
              <a:gd name="connsiteY16" fmla="*/ 4406266 h 5486399"/>
              <a:gd name="connsiteX17" fmla="*/ 3823335 w 5486399"/>
              <a:gd name="connsiteY17" fmla="*/ 4286251 h 5486399"/>
              <a:gd name="connsiteX18" fmla="*/ 685799 w 5486399"/>
              <a:gd name="connsiteY18" fmla="*/ 4114799 h 5486399"/>
              <a:gd name="connsiteX19" fmla="*/ 857249 w 5486399"/>
              <a:gd name="connsiteY19" fmla="*/ 4114799 h 5486399"/>
              <a:gd name="connsiteX20" fmla="*/ 857249 w 5486399"/>
              <a:gd name="connsiteY20" fmla="*/ 5314949 h 5486399"/>
              <a:gd name="connsiteX21" fmla="*/ 5314949 w 5486399"/>
              <a:gd name="connsiteY21" fmla="*/ 5314949 h 5486399"/>
              <a:gd name="connsiteX22" fmla="*/ 5314949 w 5486399"/>
              <a:gd name="connsiteY22" fmla="*/ 4972049 h 5486399"/>
              <a:gd name="connsiteX23" fmla="*/ 1885949 w 5486399"/>
              <a:gd name="connsiteY23" fmla="*/ 4972049 h 5486399"/>
              <a:gd name="connsiteX24" fmla="*/ 1885949 w 5486399"/>
              <a:gd name="connsiteY24" fmla="*/ 5143499 h 5486399"/>
              <a:gd name="connsiteX25" fmla="*/ 1714499 w 5486399"/>
              <a:gd name="connsiteY25" fmla="*/ 5143499 h 5486399"/>
              <a:gd name="connsiteX26" fmla="*/ 1714499 w 5486399"/>
              <a:gd name="connsiteY26" fmla="*/ 4800599 h 5486399"/>
              <a:gd name="connsiteX27" fmla="*/ 5486399 w 5486399"/>
              <a:gd name="connsiteY27" fmla="*/ 4800599 h 5486399"/>
              <a:gd name="connsiteX28" fmla="*/ 5486399 w 5486399"/>
              <a:gd name="connsiteY28" fmla="*/ 5486399 h 5486399"/>
              <a:gd name="connsiteX29" fmla="*/ 685799 w 5486399"/>
              <a:gd name="connsiteY29" fmla="*/ 5486399 h 5486399"/>
              <a:gd name="connsiteX30" fmla="*/ 1543050 w 5486399"/>
              <a:gd name="connsiteY30" fmla="*/ 3600451 h 5486399"/>
              <a:gd name="connsiteX31" fmla="*/ 1543050 w 5486399"/>
              <a:gd name="connsiteY31" fmla="*/ 3771901 h 5486399"/>
              <a:gd name="connsiteX32" fmla="*/ 3086100 w 5486399"/>
              <a:gd name="connsiteY32" fmla="*/ 3771901 h 5486399"/>
              <a:gd name="connsiteX33" fmla="*/ 3086100 w 5486399"/>
              <a:gd name="connsiteY33" fmla="*/ 3600451 h 5486399"/>
              <a:gd name="connsiteX34" fmla="*/ 1200150 w 5486399"/>
              <a:gd name="connsiteY34" fmla="*/ 3600451 h 5486399"/>
              <a:gd name="connsiteX35" fmla="*/ 1200150 w 5486399"/>
              <a:gd name="connsiteY35" fmla="*/ 3771901 h 5486399"/>
              <a:gd name="connsiteX36" fmla="*/ 1371600 w 5486399"/>
              <a:gd name="connsiteY36" fmla="*/ 3771901 h 5486399"/>
              <a:gd name="connsiteX37" fmla="*/ 1371600 w 5486399"/>
              <a:gd name="connsiteY37" fmla="*/ 3600451 h 5486399"/>
              <a:gd name="connsiteX38" fmla="*/ 857250 w 5486399"/>
              <a:gd name="connsiteY38" fmla="*/ 3600451 h 5486399"/>
              <a:gd name="connsiteX39" fmla="*/ 857250 w 5486399"/>
              <a:gd name="connsiteY39" fmla="*/ 3771901 h 5486399"/>
              <a:gd name="connsiteX40" fmla="*/ 1028700 w 5486399"/>
              <a:gd name="connsiteY40" fmla="*/ 3771901 h 5486399"/>
              <a:gd name="connsiteX41" fmla="*/ 1028700 w 5486399"/>
              <a:gd name="connsiteY41" fmla="*/ 3600451 h 5486399"/>
              <a:gd name="connsiteX42" fmla="*/ 514350 w 5486399"/>
              <a:gd name="connsiteY42" fmla="*/ 3600451 h 5486399"/>
              <a:gd name="connsiteX43" fmla="*/ 514350 w 5486399"/>
              <a:gd name="connsiteY43" fmla="*/ 3771901 h 5486399"/>
              <a:gd name="connsiteX44" fmla="*/ 685800 w 5486399"/>
              <a:gd name="connsiteY44" fmla="*/ 3771901 h 5486399"/>
              <a:gd name="connsiteX45" fmla="*/ 685800 w 5486399"/>
              <a:gd name="connsiteY45" fmla="*/ 3600451 h 5486399"/>
              <a:gd name="connsiteX46" fmla="*/ 171450 w 5486399"/>
              <a:gd name="connsiteY46" fmla="*/ 3600451 h 5486399"/>
              <a:gd name="connsiteX47" fmla="*/ 171450 w 5486399"/>
              <a:gd name="connsiteY47" fmla="*/ 3771901 h 5486399"/>
              <a:gd name="connsiteX48" fmla="*/ 342900 w 5486399"/>
              <a:gd name="connsiteY48" fmla="*/ 3771901 h 5486399"/>
              <a:gd name="connsiteX49" fmla="*/ 342900 w 5486399"/>
              <a:gd name="connsiteY49" fmla="*/ 3600451 h 5486399"/>
              <a:gd name="connsiteX50" fmla="*/ 3257550 w 5486399"/>
              <a:gd name="connsiteY50" fmla="*/ 3257551 h 5486399"/>
              <a:gd name="connsiteX51" fmla="*/ 3257550 w 5486399"/>
              <a:gd name="connsiteY51" fmla="*/ 4114801 h 5486399"/>
              <a:gd name="connsiteX52" fmla="*/ 3771900 w 5486399"/>
              <a:gd name="connsiteY52" fmla="*/ 4114801 h 5486399"/>
              <a:gd name="connsiteX53" fmla="*/ 3771900 w 5486399"/>
              <a:gd name="connsiteY53" fmla="*/ 3257551 h 5486399"/>
              <a:gd name="connsiteX54" fmla="*/ 3086100 w 5486399"/>
              <a:gd name="connsiteY54" fmla="*/ 2914651 h 5486399"/>
              <a:gd name="connsiteX55" fmla="*/ 3086100 w 5486399"/>
              <a:gd name="connsiteY55" fmla="*/ 2966086 h 5486399"/>
              <a:gd name="connsiteX56" fmla="*/ 3206115 w 5486399"/>
              <a:gd name="connsiteY56" fmla="*/ 3086101 h 5486399"/>
              <a:gd name="connsiteX57" fmla="*/ 3823335 w 5486399"/>
              <a:gd name="connsiteY57" fmla="*/ 3086101 h 5486399"/>
              <a:gd name="connsiteX58" fmla="*/ 3943350 w 5486399"/>
              <a:gd name="connsiteY58" fmla="*/ 2966086 h 5486399"/>
              <a:gd name="connsiteX59" fmla="*/ 3943350 w 5486399"/>
              <a:gd name="connsiteY59" fmla="*/ 2914651 h 5486399"/>
              <a:gd name="connsiteX60" fmla="*/ 1371600 w 5486399"/>
              <a:gd name="connsiteY60" fmla="*/ 2228849 h 5486399"/>
              <a:gd name="connsiteX61" fmla="*/ 4114800 w 5486399"/>
              <a:gd name="connsiteY61" fmla="*/ 2228849 h 5486399"/>
              <a:gd name="connsiteX62" fmla="*/ 4114800 w 5486399"/>
              <a:gd name="connsiteY62" fmla="*/ 2400300 h 5486399"/>
              <a:gd name="connsiteX63" fmla="*/ 1371600 w 5486399"/>
              <a:gd name="connsiteY63" fmla="*/ 2400300 h 5486399"/>
              <a:gd name="connsiteX64" fmla="*/ 1371600 w 5486399"/>
              <a:gd name="connsiteY64" fmla="*/ 1605732 h 5486399"/>
              <a:gd name="connsiteX65" fmla="*/ 4114800 w 5486399"/>
              <a:gd name="connsiteY65" fmla="*/ 1605732 h 5486399"/>
              <a:gd name="connsiteX66" fmla="*/ 4114800 w 5486399"/>
              <a:gd name="connsiteY66" fmla="*/ 1777183 h 5486399"/>
              <a:gd name="connsiteX67" fmla="*/ 1371600 w 5486399"/>
              <a:gd name="connsiteY67" fmla="*/ 1777183 h 5486399"/>
              <a:gd name="connsiteX68" fmla="*/ 4114800 w 5486399"/>
              <a:gd name="connsiteY68" fmla="*/ 291465 h 5486399"/>
              <a:gd name="connsiteX69" fmla="*/ 4114800 w 5486399"/>
              <a:gd name="connsiteY69" fmla="*/ 685800 h 5486399"/>
              <a:gd name="connsiteX70" fmla="*/ 4509135 w 5486399"/>
              <a:gd name="connsiteY70" fmla="*/ 685800 h 5486399"/>
              <a:gd name="connsiteX71" fmla="*/ 1543050 w 5486399"/>
              <a:gd name="connsiteY71" fmla="*/ 171450 h 5486399"/>
              <a:gd name="connsiteX72" fmla="*/ 1543050 w 5486399"/>
              <a:gd name="connsiteY72" fmla="*/ 1114425 h 5486399"/>
              <a:gd name="connsiteX73" fmla="*/ 1800225 w 5486399"/>
              <a:gd name="connsiteY73" fmla="*/ 917257 h 5486399"/>
              <a:gd name="connsiteX74" fmla="*/ 2057400 w 5486399"/>
              <a:gd name="connsiteY74" fmla="*/ 1114425 h 5486399"/>
              <a:gd name="connsiteX75" fmla="*/ 2057400 w 5486399"/>
              <a:gd name="connsiteY75" fmla="*/ 171450 h 5486399"/>
              <a:gd name="connsiteX76" fmla="*/ 2400300 w 5486399"/>
              <a:gd name="connsiteY76" fmla="*/ 0 h 5486399"/>
              <a:gd name="connsiteX77" fmla="*/ 4063365 w 5486399"/>
              <a:gd name="connsiteY77" fmla="*/ 0 h 5486399"/>
              <a:gd name="connsiteX78" fmla="*/ 4800600 w 5486399"/>
              <a:gd name="connsiteY78" fmla="*/ 737235 h 5486399"/>
              <a:gd name="connsiteX79" fmla="*/ 4800600 w 5486399"/>
              <a:gd name="connsiteY79" fmla="*/ 4629151 h 5486399"/>
              <a:gd name="connsiteX80" fmla="*/ 4629150 w 5486399"/>
              <a:gd name="connsiteY80" fmla="*/ 4629151 h 5486399"/>
              <a:gd name="connsiteX81" fmla="*/ 4629150 w 5486399"/>
              <a:gd name="connsiteY81" fmla="*/ 857250 h 5486399"/>
              <a:gd name="connsiteX82" fmla="*/ 3943350 w 5486399"/>
              <a:gd name="connsiteY82" fmla="*/ 857250 h 5486399"/>
              <a:gd name="connsiteX83" fmla="*/ 3943350 w 5486399"/>
              <a:gd name="connsiteY83" fmla="*/ 171450 h 5486399"/>
              <a:gd name="connsiteX84" fmla="*/ 2400300 w 5486399"/>
              <a:gd name="connsiteY84" fmla="*/ 171450 h 5486399"/>
              <a:gd name="connsiteX85" fmla="*/ 685800 w 5486399"/>
              <a:gd name="connsiteY85" fmla="*/ 0 h 5486399"/>
              <a:gd name="connsiteX86" fmla="*/ 2228850 w 5486399"/>
              <a:gd name="connsiteY86" fmla="*/ 0 h 5486399"/>
              <a:gd name="connsiteX87" fmla="*/ 2228850 w 5486399"/>
              <a:gd name="connsiteY87" fmla="*/ 1457325 h 5486399"/>
              <a:gd name="connsiteX88" fmla="*/ 1800225 w 5486399"/>
              <a:gd name="connsiteY88" fmla="*/ 1131570 h 5486399"/>
              <a:gd name="connsiteX89" fmla="*/ 1371600 w 5486399"/>
              <a:gd name="connsiteY89" fmla="*/ 1457325 h 5486399"/>
              <a:gd name="connsiteX90" fmla="*/ 1371600 w 5486399"/>
              <a:gd name="connsiteY90" fmla="*/ 171450 h 5486399"/>
              <a:gd name="connsiteX91" fmla="*/ 857250 w 5486399"/>
              <a:gd name="connsiteY91" fmla="*/ 171450 h 5486399"/>
              <a:gd name="connsiteX92" fmla="*/ 857250 w 5486399"/>
              <a:gd name="connsiteY92" fmla="*/ 3429001 h 5486399"/>
              <a:gd name="connsiteX93" fmla="*/ 3086100 w 5486399"/>
              <a:gd name="connsiteY93" fmla="*/ 3429001 h 5486399"/>
              <a:gd name="connsiteX94" fmla="*/ 3086100 w 5486399"/>
              <a:gd name="connsiteY94" fmla="*/ 3206116 h 5486399"/>
              <a:gd name="connsiteX95" fmla="*/ 2914650 w 5486399"/>
              <a:gd name="connsiteY95" fmla="*/ 3034666 h 5486399"/>
              <a:gd name="connsiteX96" fmla="*/ 2914650 w 5486399"/>
              <a:gd name="connsiteY96" fmla="*/ 2743201 h 5486399"/>
              <a:gd name="connsiteX97" fmla="*/ 4114800 w 5486399"/>
              <a:gd name="connsiteY97" fmla="*/ 2743201 h 5486399"/>
              <a:gd name="connsiteX98" fmla="*/ 4114800 w 5486399"/>
              <a:gd name="connsiteY98" fmla="*/ 3034666 h 5486399"/>
              <a:gd name="connsiteX99" fmla="*/ 3943350 w 5486399"/>
              <a:gd name="connsiteY99" fmla="*/ 3206116 h 5486399"/>
              <a:gd name="connsiteX100" fmla="*/ 3943350 w 5486399"/>
              <a:gd name="connsiteY100" fmla="*/ 4166236 h 5486399"/>
              <a:gd name="connsiteX101" fmla="*/ 4114800 w 5486399"/>
              <a:gd name="connsiteY101" fmla="*/ 4337686 h 5486399"/>
              <a:gd name="connsiteX102" fmla="*/ 4114800 w 5486399"/>
              <a:gd name="connsiteY102" fmla="*/ 4629151 h 5486399"/>
              <a:gd name="connsiteX103" fmla="*/ 2914650 w 5486399"/>
              <a:gd name="connsiteY103" fmla="*/ 4629151 h 5486399"/>
              <a:gd name="connsiteX104" fmla="*/ 2914650 w 5486399"/>
              <a:gd name="connsiteY104" fmla="*/ 4337686 h 5486399"/>
              <a:gd name="connsiteX105" fmla="*/ 3086100 w 5486399"/>
              <a:gd name="connsiteY105" fmla="*/ 4166236 h 5486399"/>
              <a:gd name="connsiteX106" fmla="*/ 3086100 w 5486399"/>
              <a:gd name="connsiteY106" fmla="*/ 3943351 h 5486399"/>
              <a:gd name="connsiteX107" fmla="*/ 0 w 5486399"/>
              <a:gd name="connsiteY107" fmla="*/ 3943351 h 5486399"/>
              <a:gd name="connsiteX108" fmla="*/ 0 w 5486399"/>
              <a:gd name="connsiteY108" fmla="*/ 3429001 h 5486399"/>
              <a:gd name="connsiteX109" fmla="*/ 685800 w 5486399"/>
              <a:gd name="connsiteY109" fmla="*/ 3429001 h 548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5486399" h="5486399">
                <a:moveTo>
                  <a:pt x="2400300" y="4457699"/>
                </a:moveTo>
                <a:lnTo>
                  <a:pt x="2571751" y="4457699"/>
                </a:lnTo>
                <a:lnTo>
                  <a:pt x="2571751" y="4629150"/>
                </a:lnTo>
                <a:lnTo>
                  <a:pt x="2400300" y="4629150"/>
                </a:lnTo>
                <a:close/>
                <a:moveTo>
                  <a:pt x="2057400" y="4457699"/>
                </a:moveTo>
                <a:lnTo>
                  <a:pt x="2228851" y="4457699"/>
                </a:lnTo>
                <a:lnTo>
                  <a:pt x="2228851" y="4629150"/>
                </a:lnTo>
                <a:lnTo>
                  <a:pt x="2057400" y="4629150"/>
                </a:lnTo>
                <a:close/>
                <a:moveTo>
                  <a:pt x="1714500" y="4457699"/>
                </a:moveTo>
                <a:lnTo>
                  <a:pt x="1885951" y="4457699"/>
                </a:lnTo>
                <a:lnTo>
                  <a:pt x="1885951" y="4629150"/>
                </a:lnTo>
                <a:lnTo>
                  <a:pt x="1714500" y="4629150"/>
                </a:lnTo>
                <a:close/>
                <a:moveTo>
                  <a:pt x="3206115" y="4286251"/>
                </a:moveTo>
                <a:lnTo>
                  <a:pt x="3086100" y="4406266"/>
                </a:lnTo>
                <a:lnTo>
                  <a:pt x="3086100" y="4457701"/>
                </a:lnTo>
                <a:lnTo>
                  <a:pt x="3943350" y="4457701"/>
                </a:lnTo>
                <a:lnTo>
                  <a:pt x="3943350" y="4406266"/>
                </a:lnTo>
                <a:lnTo>
                  <a:pt x="3823335" y="4286251"/>
                </a:lnTo>
                <a:close/>
                <a:moveTo>
                  <a:pt x="685799" y="4114799"/>
                </a:moveTo>
                <a:lnTo>
                  <a:pt x="857249" y="4114799"/>
                </a:lnTo>
                <a:lnTo>
                  <a:pt x="857249" y="5314949"/>
                </a:lnTo>
                <a:lnTo>
                  <a:pt x="5314949" y="5314949"/>
                </a:lnTo>
                <a:lnTo>
                  <a:pt x="5314949" y="4972049"/>
                </a:lnTo>
                <a:lnTo>
                  <a:pt x="1885949" y="4972049"/>
                </a:lnTo>
                <a:lnTo>
                  <a:pt x="1885949" y="5143499"/>
                </a:lnTo>
                <a:lnTo>
                  <a:pt x="1714499" y="5143499"/>
                </a:lnTo>
                <a:lnTo>
                  <a:pt x="1714499" y="4800599"/>
                </a:lnTo>
                <a:lnTo>
                  <a:pt x="5486399" y="4800599"/>
                </a:lnTo>
                <a:lnTo>
                  <a:pt x="5486399" y="5486399"/>
                </a:lnTo>
                <a:lnTo>
                  <a:pt x="685799" y="5486399"/>
                </a:lnTo>
                <a:close/>
                <a:moveTo>
                  <a:pt x="1543050" y="3600451"/>
                </a:moveTo>
                <a:lnTo>
                  <a:pt x="1543050" y="3771901"/>
                </a:lnTo>
                <a:lnTo>
                  <a:pt x="3086100" y="3771901"/>
                </a:lnTo>
                <a:lnTo>
                  <a:pt x="3086100" y="3600451"/>
                </a:lnTo>
                <a:close/>
                <a:moveTo>
                  <a:pt x="1200150" y="3600451"/>
                </a:moveTo>
                <a:lnTo>
                  <a:pt x="1200150" y="3771901"/>
                </a:lnTo>
                <a:lnTo>
                  <a:pt x="1371600" y="3771901"/>
                </a:lnTo>
                <a:lnTo>
                  <a:pt x="1371600" y="3600451"/>
                </a:lnTo>
                <a:close/>
                <a:moveTo>
                  <a:pt x="857250" y="3600451"/>
                </a:moveTo>
                <a:lnTo>
                  <a:pt x="857250" y="3771901"/>
                </a:lnTo>
                <a:lnTo>
                  <a:pt x="1028700" y="3771901"/>
                </a:lnTo>
                <a:lnTo>
                  <a:pt x="1028700" y="3600451"/>
                </a:lnTo>
                <a:close/>
                <a:moveTo>
                  <a:pt x="514350" y="3600451"/>
                </a:moveTo>
                <a:lnTo>
                  <a:pt x="514350" y="3771901"/>
                </a:lnTo>
                <a:lnTo>
                  <a:pt x="685800" y="3771901"/>
                </a:lnTo>
                <a:lnTo>
                  <a:pt x="685800" y="3600451"/>
                </a:lnTo>
                <a:close/>
                <a:moveTo>
                  <a:pt x="171450" y="3600451"/>
                </a:moveTo>
                <a:lnTo>
                  <a:pt x="171450" y="3771901"/>
                </a:lnTo>
                <a:lnTo>
                  <a:pt x="342900" y="3771901"/>
                </a:lnTo>
                <a:lnTo>
                  <a:pt x="342900" y="3600451"/>
                </a:lnTo>
                <a:close/>
                <a:moveTo>
                  <a:pt x="3257550" y="3257551"/>
                </a:moveTo>
                <a:lnTo>
                  <a:pt x="3257550" y="4114801"/>
                </a:lnTo>
                <a:lnTo>
                  <a:pt x="3771900" y="4114801"/>
                </a:lnTo>
                <a:lnTo>
                  <a:pt x="3771900" y="3257551"/>
                </a:lnTo>
                <a:close/>
                <a:moveTo>
                  <a:pt x="3086100" y="2914651"/>
                </a:moveTo>
                <a:lnTo>
                  <a:pt x="3086100" y="2966086"/>
                </a:lnTo>
                <a:lnTo>
                  <a:pt x="3206115" y="3086101"/>
                </a:lnTo>
                <a:lnTo>
                  <a:pt x="3823335" y="3086101"/>
                </a:lnTo>
                <a:lnTo>
                  <a:pt x="3943350" y="2966086"/>
                </a:lnTo>
                <a:lnTo>
                  <a:pt x="3943350" y="2914651"/>
                </a:lnTo>
                <a:close/>
                <a:moveTo>
                  <a:pt x="1371600" y="2228849"/>
                </a:moveTo>
                <a:lnTo>
                  <a:pt x="4114800" y="2228849"/>
                </a:lnTo>
                <a:lnTo>
                  <a:pt x="4114800" y="2400300"/>
                </a:lnTo>
                <a:lnTo>
                  <a:pt x="1371600" y="2400300"/>
                </a:lnTo>
                <a:close/>
                <a:moveTo>
                  <a:pt x="1371600" y="1605732"/>
                </a:moveTo>
                <a:lnTo>
                  <a:pt x="4114800" y="1605732"/>
                </a:lnTo>
                <a:lnTo>
                  <a:pt x="4114800" y="1777183"/>
                </a:lnTo>
                <a:lnTo>
                  <a:pt x="1371600" y="1777183"/>
                </a:lnTo>
                <a:close/>
                <a:moveTo>
                  <a:pt x="4114800" y="291465"/>
                </a:moveTo>
                <a:lnTo>
                  <a:pt x="4114800" y="685800"/>
                </a:lnTo>
                <a:lnTo>
                  <a:pt x="4509135" y="685800"/>
                </a:lnTo>
                <a:close/>
                <a:moveTo>
                  <a:pt x="1543050" y="171450"/>
                </a:moveTo>
                <a:lnTo>
                  <a:pt x="1543050" y="1114425"/>
                </a:lnTo>
                <a:lnTo>
                  <a:pt x="1800225" y="917257"/>
                </a:lnTo>
                <a:lnTo>
                  <a:pt x="2057400" y="1114425"/>
                </a:lnTo>
                <a:lnTo>
                  <a:pt x="2057400" y="171450"/>
                </a:lnTo>
                <a:close/>
                <a:moveTo>
                  <a:pt x="2400300" y="0"/>
                </a:moveTo>
                <a:lnTo>
                  <a:pt x="4063365" y="0"/>
                </a:lnTo>
                <a:lnTo>
                  <a:pt x="4800600" y="737235"/>
                </a:lnTo>
                <a:lnTo>
                  <a:pt x="4800600" y="4629151"/>
                </a:lnTo>
                <a:lnTo>
                  <a:pt x="4629150" y="4629151"/>
                </a:lnTo>
                <a:lnTo>
                  <a:pt x="4629150" y="857250"/>
                </a:lnTo>
                <a:lnTo>
                  <a:pt x="3943350" y="857250"/>
                </a:lnTo>
                <a:lnTo>
                  <a:pt x="3943350" y="171450"/>
                </a:lnTo>
                <a:lnTo>
                  <a:pt x="2400300" y="171450"/>
                </a:lnTo>
                <a:close/>
                <a:moveTo>
                  <a:pt x="685800" y="0"/>
                </a:moveTo>
                <a:lnTo>
                  <a:pt x="2228850" y="0"/>
                </a:lnTo>
                <a:lnTo>
                  <a:pt x="2228850" y="1457325"/>
                </a:lnTo>
                <a:lnTo>
                  <a:pt x="1800225" y="1131570"/>
                </a:lnTo>
                <a:lnTo>
                  <a:pt x="1371600" y="1457325"/>
                </a:lnTo>
                <a:lnTo>
                  <a:pt x="1371600" y="171450"/>
                </a:lnTo>
                <a:lnTo>
                  <a:pt x="857250" y="171450"/>
                </a:lnTo>
                <a:lnTo>
                  <a:pt x="857250" y="3429001"/>
                </a:lnTo>
                <a:lnTo>
                  <a:pt x="3086100" y="3429001"/>
                </a:lnTo>
                <a:lnTo>
                  <a:pt x="3086100" y="3206116"/>
                </a:lnTo>
                <a:lnTo>
                  <a:pt x="2914650" y="3034666"/>
                </a:lnTo>
                <a:lnTo>
                  <a:pt x="2914650" y="2743201"/>
                </a:lnTo>
                <a:lnTo>
                  <a:pt x="4114800" y="2743201"/>
                </a:lnTo>
                <a:lnTo>
                  <a:pt x="4114800" y="3034666"/>
                </a:lnTo>
                <a:lnTo>
                  <a:pt x="3943350" y="3206116"/>
                </a:lnTo>
                <a:lnTo>
                  <a:pt x="3943350" y="4166236"/>
                </a:lnTo>
                <a:lnTo>
                  <a:pt x="4114800" y="4337686"/>
                </a:lnTo>
                <a:lnTo>
                  <a:pt x="4114800" y="4629151"/>
                </a:lnTo>
                <a:lnTo>
                  <a:pt x="2914650" y="4629151"/>
                </a:lnTo>
                <a:lnTo>
                  <a:pt x="2914650" y="4337686"/>
                </a:lnTo>
                <a:lnTo>
                  <a:pt x="3086100" y="4166236"/>
                </a:lnTo>
                <a:lnTo>
                  <a:pt x="3086100" y="3943351"/>
                </a:lnTo>
                <a:lnTo>
                  <a:pt x="0" y="3943351"/>
                </a:lnTo>
                <a:lnTo>
                  <a:pt x="0" y="3429001"/>
                </a:lnTo>
                <a:lnTo>
                  <a:pt x="685800" y="3429001"/>
                </a:lnTo>
                <a:close/>
              </a:path>
            </a:pathLst>
          </a:custGeom>
          <a:solidFill>
            <a:schemeClr val="bg2">
              <a:lumMod val="60000"/>
              <a:lumOff val="40000"/>
            </a:schemeClr>
          </a:solid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Calibri" panose="020F0502020204030204"/>
              <a:cs typeface="+mn-cs"/>
            </a:endParaRPr>
          </a:p>
        </p:txBody>
      </p:sp>
      <p:sp>
        <p:nvSpPr>
          <p:cNvPr id="3" name="TextBox 2">
            <a:extLst>
              <a:ext uri="{FF2B5EF4-FFF2-40B4-BE49-F238E27FC236}">
                <a16:creationId xmlns:a16="http://schemas.microsoft.com/office/drawing/2014/main" id="{1FED9BDC-2DFC-E00B-A3BC-A81F37872346}"/>
              </a:ext>
            </a:extLst>
          </p:cNvPr>
          <p:cNvSpPr txBox="1"/>
          <p:nvPr/>
        </p:nvSpPr>
        <p:spPr>
          <a:xfrm>
            <a:off x="2425813" y="4330674"/>
            <a:ext cx="4381328" cy="338554"/>
          </a:xfrm>
          <a:prstGeom prst="rect">
            <a:avLst/>
          </a:prstGeom>
          <a:noFill/>
        </p:spPr>
        <p:txBody>
          <a:bodyPr wrap="none" rtlCol="0">
            <a:spAutoFit/>
          </a:bodyPr>
          <a:lstStyle/>
          <a:p>
            <a:pPr algn="l"/>
            <a:r>
              <a:rPr lang="en-US" sz="1600" dirty="0">
                <a:latin typeface="Arial" panose="020B0604020202020204" pitchFamily="34" charset="0"/>
                <a:cs typeface="Arial" panose="020B0604020202020204" pitchFamily="34" charset="0"/>
              </a:rPr>
              <a:t>See QUESTION Framework for detailed steps</a:t>
            </a:r>
          </a:p>
        </p:txBody>
      </p:sp>
    </p:spTree>
    <p:extLst>
      <p:ext uri="{BB962C8B-B14F-4D97-AF65-F5344CB8AC3E}">
        <p14:creationId xmlns:p14="http://schemas.microsoft.com/office/powerpoint/2010/main" val="28787084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subTnLst>
                                    <p:animClr clrSpc="rgb" dir="cw">
                                      <p:cBhvr override="childStyle">
                                        <p:cTn dur="1" fill="hold" display="0" masterRel="nextClick" afterEffect="1"/>
                                        <p:tgtEl>
                                          <p:spTgt spid="27"/>
                                        </p:tgtEl>
                                        <p:attrNameLst>
                                          <p:attrName>ppt_c</p:attrName>
                                        </p:attrNameLst>
                                      </p:cBhvr>
                                      <p:to>
                                        <a:srgbClr val="9EA0A4"/>
                                      </p:to>
                                    </p:animClr>
                                  </p:sub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childTnLst>
                                  <p:subTnLst>
                                    <p:animClr clrSpc="rgb" dir="cw">
                                      <p:cBhvr override="childStyle">
                                        <p:cTn dur="1" fill="hold" display="0" masterRel="nextClick" afterEffect="1"/>
                                        <p:tgtEl>
                                          <p:spTgt spid="29"/>
                                        </p:tgtEl>
                                        <p:attrNameLst>
                                          <p:attrName>ppt_c</p:attrName>
                                        </p:attrNameLst>
                                      </p:cBhvr>
                                      <p:to>
                                        <a:srgbClr val="9EA0A4"/>
                                      </p:to>
                                    </p:animClr>
                                  </p:subTnLst>
                                </p:cTn>
                              </p:par>
                              <p:par>
                                <p:cTn id="13" presetID="1" presetClass="entr" presetSubtype="0" fill="hold" nodeType="with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0"/>
                                        </p:tgtEl>
                                        <p:attrNameLst>
                                          <p:attrName>style.visibility</p:attrName>
                                        </p:attrNameLst>
                                      </p:cBhvr>
                                      <p:to>
                                        <p:strVal val="visible"/>
                                      </p:to>
                                    </p:set>
                                  </p:childTnLst>
                                  <p:subTnLst>
                                    <p:animClr clrSpc="rgb" dir="cw">
                                      <p:cBhvr override="childStyle">
                                        <p:cTn dur="1" fill="hold" display="0" masterRel="nextClick" afterEffect="1"/>
                                        <p:tgtEl>
                                          <p:spTgt spid="60"/>
                                        </p:tgtEl>
                                        <p:attrNameLst>
                                          <p:attrName>ppt_c</p:attrName>
                                        </p:attrNameLst>
                                      </p:cBhvr>
                                      <p:to>
                                        <a:srgbClr val="9EA0A4"/>
                                      </p:to>
                                    </p:animClr>
                                  </p:subTnLst>
                                </p:cTn>
                              </p:par>
                              <p:par>
                                <p:cTn id="19" presetID="1" presetClass="entr" presetSubtype="0"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childTnLst>
                                  <p:subTnLst>
                                    <p:animClr clrSpc="rgb" dir="cw">
                                      <p:cBhvr override="childStyle">
                                        <p:cTn dur="1" fill="hold" display="0" masterRel="nextClick" afterEffect="1"/>
                                        <p:tgtEl>
                                          <p:spTgt spid="61"/>
                                        </p:tgtEl>
                                        <p:attrNameLst>
                                          <p:attrName>ppt_c</p:attrName>
                                        </p:attrNameLst>
                                      </p:cBhvr>
                                      <p:to>
                                        <a:srgbClr val="9EA0A4"/>
                                      </p:to>
                                    </p:animClr>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subTnLst>
                                    <p:animClr clrSpc="rgb" dir="cw">
                                      <p:cBhvr override="childStyle">
                                        <p:cTn dur="1" fill="hold" display="0" masterRel="nextClick" afterEffect="1"/>
                                        <p:tgtEl>
                                          <p:spTgt spid="24"/>
                                        </p:tgtEl>
                                        <p:attrNameLst>
                                          <p:attrName>ppt_c</p:attrName>
                                        </p:attrNameLst>
                                      </p:cBhvr>
                                      <p:to>
                                        <a:srgbClr val="9EA0A4"/>
                                      </p:to>
                                    </p:animClr>
                                  </p:subTnLst>
                                </p:cTn>
                              </p:par>
                              <p:par>
                                <p:cTn id="27" presetID="1" presetClass="entr" presetSubtype="0"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childTnLst>
                                  <p:subTnLst>
                                    <p:animClr clrSpc="rgb" dir="cw">
                                      <p:cBhvr override="childStyle">
                                        <p:cTn dur="1" fill="hold" display="0" masterRel="nextClick" afterEffect="1"/>
                                        <p:tgtEl>
                                          <p:spTgt spid="30"/>
                                        </p:tgtEl>
                                        <p:attrNameLst>
                                          <p:attrName>ppt_c</p:attrName>
                                        </p:attrNameLst>
                                      </p:cBhvr>
                                      <p:to>
                                        <a:srgbClr val="9EA0A4"/>
                                      </p:to>
                                    </p:animClr>
                                  </p:subTnLst>
                                </p:cTn>
                              </p:par>
                              <p:par>
                                <p:cTn id="31" presetID="1" presetClass="entr" presetSubtype="0" fill="hold" nodeType="withEffect">
                                  <p:stCondLst>
                                    <p:cond delay="0"/>
                                  </p:stCondLst>
                                  <p:childTnLst>
                                    <p:set>
                                      <p:cBhvr>
                                        <p:cTn id="32" dur="1" fill="hold">
                                          <p:stCondLst>
                                            <p:cond delay="0"/>
                                          </p:stCondLst>
                                        </p:cTn>
                                        <p:tgtEl>
                                          <p:spTgt spid="3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4"/>
                                        </p:tgtEl>
                                        <p:attrNameLst>
                                          <p:attrName>style.visibility</p:attrName>
                                        </p:attrNameLst>
                                      </p:cBhvr>
                                      <p:to>
                                        <p:strVal val="visible"/>
                                      </p:to>
                                    </p:set>
                                  </p:childTnLst>
                                  <p:subTnLst>
                                    <p:animClr clrSpc="rgb" dir="cw">
                                      <p:cBhvr override="childStyle">
                                        <p:cTn dur="1" fill="hold" display="0" masterRel="nextClick" afterEffect="1"/>
                                        <p:tgtEl>
                                          <p:spTgt spid="64"/>
                                        </p:tgtEl>
                                        <p:attrNameLst>
                                          <p:attrName>ppt_c</p:attrName>
                                        </p:attrNameLst>
                                      </p:cBhvr>
                                      <p:to>
                                        <a:srgbClr val="9EA0A4"/>
                                      </p:to>
                                    </p:animClr>
                                  </p:subTnLst>
                                </p:cTn>
                              </p:par>
                              <p:par>
                                <p:cTn id="37" presetID="1" presetClass="entr" presetSubtype="0" fill="hold" grpId="0" nodeType="withEffect">
                                  <p:stCondLst>
                                    <p:cond delay="0"/>
                                  </p:stCondLst>
                                  <p:childTnLst>
                                    <p:set>
                                      <p:cBhvr>
                                        <p:cTn id="38" dur="1" fill="hold">
                                          <p:stCondLst>
                                            <p:cond delay="0"/>
                                          </p:stCondLst>
                                        </p:cTn>
                                        <p:tgtEl>
                                          <p:spTgt spid="65"/>
                                        </p:tgtEl>
                                        <p:attrNameLst>
                                          <p:attrName>style.visibility</p:attrName>
                                        </p:attrNameLst>
                                      </p:cBhvr>
                                      <p:to>
                                        <p:strVal val="visible"/>
                                      </p:to>
                                    </p:set>
                                  </p:childTnLst>
                                  <p:subTnLst>
                                    <p:animClr clrSpc="rgb" dir="cw">
                                      <p:cBhvr override="childStyle">
                                        <p:cTn dur="1" fill="hold" display="0" masterRel="nextClick" afterEffect="1"/>
                                        <p:tgtEl>
                                          <p:spTgt spid="65"/>
                                        </p:tgtEl>
                                        <p:attrNameLst>
                                          <p:attrName>ppt_c</p:attrName>
                                        </p:attrNameLst>
                                      </p:cBhvr>
                                      <p:to>
                                        <a:srgbClr val="9EA0A4"/>
                                      </p:to>
                                    </p:animClr>
                                  </p:sub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1"/>
                                        </p:tgtEl>
                                        <p:attrNameLst>
                                          <p:attrName>style.visibility</p:attrName>
                                        </p:attrNameLst>
                                      </p:cBhvr>
                                      <p:to>
                                        <p:strVal val="visible"/>
                                      </p:to>
                                    </p:set>
                                  </p:childTnLst>
                                  <p:subTnLst>
                                    <p:animClr clrSpc="rgb" dir="cw">
                                      <p:cBhvr override="childStyle">
                                        <p:cTn dur="1" fill="hold" display="0" masterRel="nextClick" afterEffect="1"/>
                                        <p:tgtEl>
                                          <p:spTgt spid="21"/>
                                        </p:tgtEl>
                                        <p:attrNameLst>
                                          <p:attrName>ppt_c</p:attrName>
                                        </p:attrNameLst>
                                      </p:cBhvr>
                                      <p:to>
                                        <a:srgbClr val="9EA0A4"/>
                                      </p:to>
                                    </p:animClr>
                                  </p:subTnLst>
                                </p:cTn>
                              </p:par>
                              <p:par>
                                <p:cTn id="45" presetID="1" presetClass="entr" presetSubtype="0" fill="hold" grpId="0" nodeType="withEffect">
                                  <p:stCondLst>
                                    <p:cond delay="0"/>
                                  </p:stCondLst>
                                  <p:childTnLst>
                                    <p:set>
                                      <p:cBhvr>
                                        <p:cTn id="46" dur="1" fill="hold">
                                          <p:stCondLst>
                                            <p:cond delay="0"/>
                                          </p:stCondLst>
                                        </p:cTn>
                                        <p:tgtEl>
                                          <p:spTgt spid="22"/>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1"/>
                                        </p:tgtEl>
                                        <p:attrNameLst>
                                          <p:attrName>style.visibility</p:attrName>
                                        </p:attrNameLst>
                                      </p:cBhvr>
                                      <p:to>
                                        <p:strVal val="visible"/>
                                      </p:to>
                                    </p:set>
                                  </p:childTnLst>
                                  <p:subTnLst>
                                    <p:animClr clrSpc="rgb" dir="cw">
                                      <p:cBhvr override="childStyle">
                                        <p:cTn dur="1" fill="hold" display="0" masterRel="nextClick" afterEffect="1"/>
                                        <p:tgtEl>
                                          <p:spTgt spid="31"/>
                                        </p:tgtEl>
                                        <p:attrNameLst>
                                          <p:attrName>ppt_c</p:attrName>
                                        </p:attrNameLst>
                                      </p:cBhvr>
                                      <p:to>
                                        <a:srgbClr val="9EA0A4"/>
                                      </p:to>
                                    </p:animClr>
                                  </p:subTnLst>
                                </p:cTn>
                              </p:par>
                              <p:par>
                                <p:cTn id="49" presetID="1" presetClass="entr" presetSubtype="0" fill="hold" nodeType="with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66"/>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68"/>
                                        </p:tgtEl>
                                        <p:attrNameLst>
                                          <p:attrName>style.visibility</p:attrName>
                                        </p:attrNameLst>
                                      </p:cBhvr>
                                      <p:to>
                                        <p:strVal val="visible"/>
                                      </p:to>
                                    </p:set>
                                  </p:childTnLst>
                                  <p:subTnLst>
                                    <p:animClr clrSpc="rgb" dir="cw">
                                      <p:cBhvr override="childStyle">
                                        <p:cTn dur="1" fill="hold" display="0" masterRel="nextClick" afterEffect="1"/>
                                        <p:tgtEl>
                                          <p:spTgt spid="68"/>
                                        </p:tgtEl>
                                        <p:attrNameLst>
                                          <p:attrName>ppt_c</p:attrName>
                                        </p:attrNameLst>
                                      </p:cBhvr>
                                      <p:to>
                                        <a:srgbClr val="9EA0A4"/>
                                      </p:to>
                                    </p:animClr>
                                  </p:subTnLst>
                                </p:cTn>
                              </p:par>
                              <p:par>
                                <p:cTn id="55" presetID="1" presetClass="entr" presetSubtype="0" fill="hold" grpId="0" nodeType="withEffect">
                                  <p:stCondLst>
                                    <p:cond delay="0"/>
                                  </p:stCondLst>
                                  <p:childTnLst>
                                    <p:set>
                                      <p:cBhvr>
                                        <p:cTn id="56" dur="1" fill="hold">
                                          <p:stCondLst>
                                            <p:cond delay="0"/>
                                          </p:stCondLst>
                                        </p:cTn>
                                        <p:tgtEl>
                                          <p:spTgt spid="69"/>
                                        </p:tgtEl>
                                        <p:attrNameLst>
                                          <p:attrName>style.visibility</p:attrName>
                                        </p:attrNameLst>
                                      </p:cBhvr>
                                      <p:to>
                                        <p:strVal val="visible"/>
                                      </p:to>
                                    </p:set>
                                  </p:childTnLst>
                                  <p:subTnLst>
                                    <p:animClr clrSpc="rgb" dir="cw">
                                      <p:cBhvr override="childStyle">
                                        <p:cTn dur="1" fill="hold" display="0" masterRel="nextClick" afterEffect="1"/>
                                        <p:tgtEl>
                                          <p:spTgt spid="69"/>
                                        </p:tgtEl>
                                        <p:attrNameLst>
                                          <p:attrName>ppt_c</p:attrName>
                                        </p:attrNameLst>
                                      </p:cBhvr>
                                      <p:to>
                                        <a:srgbClr val="9EA0A4"/>
                                      </p:to>
                                    </p:animClr>
                                  </p:sub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9"/>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8"/>
                                        </p:tgtEl>
                                        <p:attrNameLst>
                                          <p:attrName>style.visibility</p:attrName>
                                        </p:attrNameLst>
                                      </p:cBhvr>
                                      <p:to>
                                        <p:strVal val="visible"/>
                                      </p:to>
                                    </p:set>
                                  </p:childTnLst>
                                  <p:subTnLst>
                                    <p:animClr clrSpc="rgb" dir="cw">
                                      <p:cBhvr override="childStyle">
                                        <p:cTn dur="1" fill="hold" display="0" masterRel="nextClick" afterEffect="1"/>
                                        <p:tgtEl>
                                          <p:spTgt spid="18"/>
                                        </p:tgtEl>
                                        <p:attrNameLst>
                                          <p:attrName>ppt_c</p:attrName>
                                        </p:attrNameLst>
                                      </p:cBhvr>
                                      <p:to>
                                        <a:srgbClr val="9EA0A4"/>
                                      </p:to>
                                    </p:animClr>
                                  </p:subTnLst>
                                </p:cTn>
                              </p:par>
                              <p:par>
                                <p:cTn id="63" presetID="1" presetClass="entr" presetSubtype="0" fill="hold" grpId="0" nodeType="withEffect">
                                  <p:stCondLst>
                                    <p:cond delay="0"/>
                                  </p:stCondLst>
                                  <p:childTnLst>
                                    <p:set>
                                      <p:cBhvr>
                                        <p:cTn id="64" dur="1" fill="hold">
                                          <p:stCondLst>
                                            <p:cond delay="0"/>
                                          </p:stCondLst>
                                        </p:cTn>
                                        <p:tgtEl>
                                          <p:spTgt spid="19"/>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2"/>
                                        </p:tgtEl>
                                        <p:attrNameLst>
                                          <p:attrName>style.visibility</p:attrName>
                                        </p:attrNameLst>
                                      </p:cBhvr>
                                      <p:to>
                                        <p:strVal val="visible"/>
                                      </p:to>
                                    </p:set>
                                  </p:childTnLst>
                                  <p:subTnLst>
                                    <p:animClr clrSpc="rgb" dir="cw">
                                      <p:cBhvr override="childStyle">
                                        <p:cTn dur="1" fill="hold" display="0" masterRel="nextClick" afterEffect="1"/>
                                        <p:tgtEl>
                                          <p:spTgt spid="32"/>
                                        </p:tgtEl>
                                        <p:attrNameLst>
                                          <p:attrName>ppt_c</p:attrName>
                                        </p:attrNameLst>
                                      </p:cBhvr>
                                      <p:to>
                                        <a:srgbClr val="9EA0A4"/>
                                      </p:to>
                                    </p:animClr>
                                  </p:subTnLst>
                                </p:cTn>
                              </p:par>
                              <p:par>
                                <p:cTn id="67" presetID="1" presetClass="entr" presetSubtype="0" fill="hold" nodeType="withEffect">
                                  <p:stCondLst>
                                    <p:cond delay="0"/>
                                  </p:stCondLst>
                                  <p:childTnLst>
                                    <p:set>
                                      <p:cBhvr>
                                        <p:cTn id="68" dur="1" fill="hold">
                                          <p:stCondLst>
                                            <p:cond delay="0"/>
                                          </p:stCondLst>
                                        </p:cTn>
                                        <p:tgtEl>
                                          <p:spTgt spid="37"/>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70"/>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72"/>
                                        </p:tgtEl>
                                        <p:attrNameLst>
                                          <p:attrName>style.visibility</p:attrName>
                                        </p:attrNameLst>
                                      </p:cBhvr>
                                      <p:to>
                                        <p:strVal val="visible"/>
                                      </p:to>
                                    </p:set>
                                  </p:childTnLst>
                                  <p:subTnLst>
                                    <p:animClr clrSpc="rgb" dir="cw">
                                      <p:cBhvr override="childStyle">
                                        <p:cTn dur="1" fill="hold" display="0" masterRel="nextClick" afterEffect="1"/>
                                        <p:tgtEl>
                                          <p:spTgt spid="72"/>
                                        </p:tgtEl>
                                        <p:attrNameLst>
                                          <p:attrName>ppt_c</p:attrName>
                                        </p:attrNameLst>
                                      </p:cBhvr>
                                      <p:to>
                                        <a:srgbClr val="9EA0A4"/>
                                      </p:to>
                                    </p:animClr>
                                  </p:subTnLst>
                                </p:cTn>
                              </p:par>
                              <p:par>
                                <p:cTn id="73" presetID="1" presetClass="entr" presetSubtype="0" fill="hold" grpId="0" nodeType="withEffect">
                                  <p:stCondLst>
                                    <p:cond delay="0"/>
                                  </p:stCondLst>
                                  <p:childTnLst>
                                    <p:set>
                                      <p:cBhvr>
                                        <p:cTn id="74" dur="1" fill="hold">
                                          <p:stCondLst>
                                            <p:cond delay="0"/>
                                          </p:stCondLst>
                                        </p:cTn>
                                        <p:tgtEl>
                                          <p:spTgt spid="73"/>
                                        </p:tgtEl>
                                        <p:attrNameLst>
                                          <p:attrName>style.visibility</p:attrName>
                                        </p:attrNameLst>
                                      </p:cBhvr>
                                      <p:to>
                                        <p:strVal val="visible"/>
                                      </p:to>
                                    </p:set>
                                  </p:childTnLst>
                                  <p:subTnLst>
                                    <p:animClr clrSpc="rgb" dir="cw">
                                      <p:cBhvr override="childStyle">
                                        <p:cTn dur="1" fill="hold" display="0" masterRel="nextClick" afterEffect="1"/>
                                        <p:tgtEl>
                                          <p:spTgt spid="73"/>
                                        </p:tgtEl>
                                        <p:attrNameLst>
                                          <p:attrName>ppt_c</p:attrName>
                                        </p:attrNameLst>
                                      </p:cBhvr>
                                      <p:to>
                                        <a:srgbClr val="9EA0A4"/>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8" grpId="0" animBg="1"/>
      <p:bldP spid="19" grpId="0"/>
      <p:bldP spid="20" grpId="0" animBg="1"/>
      <p:bldP spid="21" grpId="0" animBg="1"/>
      <p:bldP spid="22" grpId="0"/>
      <p:bldP spid="23" grpId="0" animBg="1"/>
      <p:bldP spid="24" grpId="0" animBg="1"/>
      <p:bldP spid="25" grpId="0"/>
      <p:bldP spid="26" grpId="0" animBg="1"/>
      <p:bldP spid="27" grpId="0" animBg="1"/>
      <p:bldP spid="28" grpId="0"/>
      <p:bldP spid="29" grpId="0" animBg="1"/>
      <p:bldP spid="30" grpId="0" animBg="1"/>
      <p:bldP spid="31" grpId="0" animBg="1"/>
      <p:bldP spid="32" grpId="0" animBg="1"/>
      <p:bldP spid="58" grpId="0" animBg="1"/>
      <p:bldP spid="60" grpId="0" animBg="1"/>
      <p:bldP spid="61" grpId="0" animBg="1"/>
      <p:bldP spid="62" grpId="0" animBg="1"/>
      <p:bldP spid="64" grpId="0" animBg="1"/>
      <p:bldP spid="65" grpId="0" animBg="1"/>
      <p:bldP spid="66" grpId="0" animBg="1"/>
      <p:bldP spid="68" grpId="0" animBg="1"/>
      <p:bldP spid="69" grpId="0" animBg="1"/>
      <p:bldP spid="70" grpId="0" animBg="1"/>
      <p:bldP spid="72" grpId="0" animBg="1"/>
      <p:bldP spid="7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C4FF32-6D64-5B14-B6BB-E6DA2058FE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F9B6BE-538A-6E69-13C4-D28B79A10F1D}"/>
              </a:ext>
            </a:extLst>
          </p:cNvPr>
          <p:cNvSpPr>
            <a:spLocks noGrp="1"/>
          </p:cNvSpPr>
          <p:nvPr>
            <p:ph type="title"/>
          </p:nvPr>
        </p:nvSpPr>
        <p:spPr>
          <a:xfrm>
            <a:off x="495300" y="97659"/>
            <a:ext cx="8690912" cy="443818"/>
          </a:xfrm>
        </p:spPr>
        <p:txBody>
          <a:bodyPr/>
          <a:lstStyle/>
          <a:p>
            <a:r>
              <a:rPr lang="en-US" sz="2100"/>
              <a:t>Convert Business Questions into Data Questions</a:t>
            </a:r>
          </a:p>
        </p:txBody>
      </p:sp>
      <p:grpSp>
        <p:nvGrpSpPr>
          <p:cNvPr id="34" name="Group 33">
            <a:extLst>
              <a:ext uri="{FF2B5EF4-FFF2-40B4-BE49-F238E27FC236}">
                <a16:creationId xmlns:a16="http://schemas.microsoft.com/office/drawing/2014/main" id="{CE2ACF0B-79C1-BF4B-6112-969904966359}"/>
              </a:ext>
            </a:extLst>
          </p:cNvPr>
          <p:cNvGrpSpPr/>
          <p:nvPr/>
        </p:nvGrpSpPr>
        <p:grpSpPr>
          <a:xfrm>
            <a:off x="3235077" y="1062399"/>
            <a:ext cx="4256291" cy="3519803"/>
            <a:chOff x="911176" y="3609967"/>
            <a:chExt cx="2470254" cy="2600191"/>
          </a:xfrm>
        </p:grpSpPr>
        <p:sp>
          <p:nvSpPr>
            <p:cNvPr id="54" name="Rectangle: Rounded Corners 53">
              <a:extLst>
                <a:ext uri="{FF2B5EF4-FFF2-40B4-BE49-F238E27FC236}">
                  <a16:creationId xmlns:a16="http://schemas.microsoft.com/office/drawing/2014/main" id="{97DABFA8-0763-7AB2-AD33-FA79C1A9805C}"/>
                </a:ext>
              </a:extLst>
            </p:cNvPr>
            <p:cNvSpPr/>
            <p:nvPr/>
          </p:nvSpPr>
          <p:spPr>
            <a:xfrm>
              <a:off x="911176" y="3609967"/>
              <a:ext cx="2470254" cy="2600191"/>
            </a:xfrm>
            <a:prstGeom prst="roundRect">
              <a:avLst>
                <a:gd name="adj" fmla="val 2224"/>
              </a:avLst>
            </a:prstGeom>
            <a:solidFill>
              <a:srgbClr val="FFFFFF"/>
            </a:solidFill>
            <a:ln w="6350" cap="flat" cmpd="sng" algn="ctr">
              <a:solidFill>
                <a:srgbClr val="152746"/>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 name="Rectangle 54" hidden="1">
              <a:extLst>
                <a:ext uri="{FF2B5EF4-FFF2-40B4-BE49-F238E27FC236}">
                  <a16:creationId xmlns:a16="http://schemas.microsoft.com/office/drawing/2014/main" id="{14A8EFF0-E593-9DE5-5370-87014956EDF4}"/>
                </a:ext>
              </a:extLst>
            </p:cNvPr>
            <p:cNvSpPr/>
            <p:nvPr/>
          </p:nvSpPr>
          <p:spPr>
            <a:xfrm>
              <a:off x="2108988" y="3926421"/>
              <a:ext cx="74618" cy="74618"/>
            </a:xfrm>
            <a:prstGeom prst="rect">
              <a:avLst/>
            </a:prstGeom>
            <a:solidFill>
              <a:srgbClr val="FFFFFF"/>
            </a:solidFill>
            <a:ln w="6350" cap="flat" cmpd="sng" algn="ctr">
              <a:solidFill>
                <a:schemeClr val="tx2"/>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 name="TextBox 56">
              <a:extLst>
                <a:ext uri="{FF2B5EF4-FFF2-40B4-BE49-F238E27FC236}">
                  <a16:creationId xmlns:a16="http://schemas.microsoft.com/office/drawing/2014/main" id="{E113798B-0864-36B7-586E-BD0C3FDD6A36}"/>
                </a:ext>
              </a:extLst>
            </p:cNvPr>
            <p:cNvSpPr txBox="1"/>
            <p:nvPr/>
          </p:nvSpPr>
          <p:spPr>
            <a:xfrm>
              <a:off x="984823" y="3701405"/>
              <a:ext cx="2350363" cy="2432799"/>
            </a:xfrm>
            <a:prstGeom prst="rect">
              <a:avLst/>
            </a:prstGeom>
            <a:noFill/>
          </p:spPr>
          <p:txBody>
            <a:bodyPr wrap="square" rtlCol="0" anchor="ctr">
              <a:spAutoFit/>
            </a:bodyPr>
            <a:lstStyle/>
            <a:p>
              <a:pPr algn="ctr"/>
              <a:r>
                <a:rPr lang="en-US" sz="1400" b="1" dirty="0">
                  <a:solidFill>
                    <a:srgbClr val="152746"/>
                  </a:solidFill>
                  <a:latin typeface="Calibri" panose="020F0502020204030204" pitchFamily="34" charset="0"/>
                  <a:cs typeface="Calibri" panose="020F0502020204030204" pitchFamily="34" charset="0"/>
                </a:rPr>
                <a:t>Improve employee productivity by identifying key factors affecting performance</a:t>
              </a:r>
            </a:p>
            <a:p>
              <a:pPr algn="ctr"/>
              <a:endParaRPr lang="en-US" sz="1200" dirty="0">
                <a:latin typeface="Calibri" panose="020F0502020204030204" pitchFamily="34" charset="0"/>
                <a:cs typeface="Calibri" panose="020F0502020204030204" pitchFamily="34" charset="0"/>
              </a:endParaRPr>
            </a:p>
            <a:p>
              <a:r>
                <a:rPr lang="en-US" sz="1200" b="1" dirty="0">
                  <a:solidFill>
                    <a:srgbClr val="152746"/>
                  </a:solidFill>
                  <a:latin typeface="Calibri" panose="020F0502020204030204" pitchFamily="34" charset="0"/>
                  <a:cs typeface="Calibri" panose="020F0502020204030204" pitchFamily="34" charset="0"/>
                </a:rPr>
                <a:t>Key Context</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The organization is experiencing a 10% decline in output across departments over the past year.</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Leadership suspects work-from-home policies, burnout, or lack of tools might be contributing factors.</a:t>
              </a:r>
            </a:p>
            <a:p>
              <a:endParaRPr lang="en-US" sz="1200" dirty="0">
                <a:latin typeface="Calibri" panose="020F0502020204030204" pitchFamily="34" charset="0"/>
                <a:cs typeface="Calibri" panose="020F0502020204030204" pitchFamily="34" charset="0"/>
              </a:endParaRPr>
            </a:p>
            <a:p>
              <a:r>
                <a:rPr lang="en-US" sz="1200" b="1" dirty="0">
                  <a:solidFill>
                    <a:srgbClr val="152746"/>
                  </a:solidFill>
                  <a:latin typeface="Calibri" panose="020F0502020204030204" pitchFamily="34" charset="0"/>
                  <a:cs typeface="Calibri" panose="020F0502020204030204" pitchFamily="34" charset="0"/>
                </a:rPr>
                <a:t>Clarifying Questions</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What does “productivity” mean in this context? Output per hour? Task completion rates?</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Are there specific departments or roles where productivity is declining the most?</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What external or internal factors (e.g., workload, tools, employee engagement) might be influencing this trend?</a:t>
              </a:r>
            </a:p>
            <a:p>
              <a:pPr algn="ctr"/>
              <a:endParaRPr lang="en-US" sz="1200" dirty="0">
                <a:latin typeface="Calibri" panose="020F0502020204030204" pitchFamily="34" charset="0"/>
                <a:cs typeface="Calibri" panose="020F0502020204030204" pitchFamily="34" charset="0"/>
              </a:endParaRPr>
            </a:p>
          </p:txBody>
        </p:sp>
      </p:grpSp>
      <p:sp>
        <p:nvSpPr>
          <p:cNvPr id="84" name="Freeform 30">
            <a:extLst>
              <a:ext uri="{FF2B5EF4-FFF2-40B4-BE49-F238E27FC236}">
                <a16:creationId xmlns:a16="http://schemas.microsoft.com/office/drawing/2014/main" id="{6B6B2CDB-867F-BEEF-1554-92C2C041AEA8}"/>
              </a:ext>
            </a:extLst>
          </p:cNvPr>
          <p:cNvSpPr/>
          <p:nvPr/>
        </p:nvSpPr>
        <p:spPr>
          <a:xfrm>
            <a:off x="641144" y="1097886"/>
            <a:ext cx="2063419" cy="962846"/>
          </a:xfrm>
          <a:prstGeom prst="notchedRightArrow">
            <a:avLst/>
          </a:prstGeom>
          <a:solidFill>
            <a:srgbClr val="FFFFFF"/>
          </a:solidFill>
          <a:ln w="12700" cap="flat" cmpd="sng" algn="ctr">
            <a:noFill/>
            <a:prstDash val="solid"/>
            <a:miter lim="800000"/>
          </a:ln>
          <a:effectLst>
            <a:outerShdw blurRad="25400" dist="12700" dir="2700000" algn="tl" rotWithShape="0">
              <a:prstClr val="black">
                <a:alpha val="20000"/>
              </a:prstClr>
            </a:outerShdw>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cs typeface="+mn-cs"/>
            </a:endParaRPr>
          </a:p>
        </p:txBody>
      </p:sp>
      <p:sp>
        <p:nvSpPr>
          <p:cNvPr id="85" name="Freeform 28">
            <a:extLst>
              <a:ext uri="{FF2B5EF4-FFF2-40B4-BE49-F238E27FC236}">
                <a16:creationId xmlns:a16="http://schemas.microsoft.com/office/drawing/2014/main" id="{A4CFF163-820C-C4D8-AB46-554F20574F37}"/>
              </a:ext>
            </a:extLst>
          </p:cNvPr>
          <p:cNvSpPr/>
          <p:nvPr/>
        </p:nvSpPr>
        <p:spPr>
          <a:xfrm>
            <a:off x="641146" y="1189422"/>
            <a:ext cx="2002958" cy="808342"/>
          </a:xfrm>
          <a:prstGeom prst="notchedRightArrow">
            <a:avLst/>
          </a:prstGeom>
          <a:solidFill>
            <a:schemeClr val="bg2">
              <a:lumMod val="75000"/>
            </a:schemeClr>
          </a:solidFill>
          <a:ln w="12700" cap="flat" cmpd="sng" algn="ctr">
            <a:noFill/>
            <a:prstDash val="solid"/>
            <a:miter lim="800000"/>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Calibri" panose="020F0502020204030204"/>
              <a:cs typeface="+mn-cs"/>
            </a:endParaRPr>
          </a:p>
        </p:txBody>
      </p:sp>
      <p:sp>
        <p:nvSpPr>
          <p:cNvPr id="86" name="TextBox 85">
            <a:extLst>
              <a:ext uri="{FF2B5EF4-FFF2-40B4-BE49-F238E27FC236}">
                <a16:creationId xmlns:a16="http://schemas.microsoft.com/office/drawing/2014/main" id="{039A4CEB-E876-0083-A7BB-8602AAAD7EC0}"/>
              </a:ext>
            </a:extLst>
          </p:cNvPr>
          <p:cNvSpPr txBox="1"/>
          <p:nvPr/>
        </p:nvSpPr>
        <p:spPr>
          <a:xfrm>
            <a:off x="1008386" y="1396583"/>
            <a:ext cx="1191523" cy="400110"/>
          </a:xfrm>
          <a:prstGeom prst="rect">
            <a:avLst/>
          </a:prstGeom>
          <a:noFill/>
        </p:spPr>
        <p:txBody>
          <a:bodyPr wrap="square" rtlCol="0" anchor="ctr">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rPr>
              <a:t>Clarify the </a:t>
            </a:r>
            <a:r>
              <a:rPr kumimoji="0" lang="en-US" sz="1000" b="1" i="0" u="none" strike="noStrike" kern="0" cap="none" spc="0" normalizeH="0" baseline="0" noProof="0" dirty="0" err="1">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rPr>
              <a:t>Busines</a:t>
            </a:r>
            <a:r>
              <a:rPr lang="en-US" sz="1000" b="1" kern="0" dirty="0">
                <a:solidFill>
                  <a:srgbClr val="FFFFFF"/>
                </a:solidFill>
                <a:effectLst>
                  <a:outerShdw blurRad="38100" dist="38100" dir="2700000" algn="tl">
                    <a:srgbClr val="000000">
                      <a:alpha val="43137"/>
                    </a:srgbClr>
                  </a:outerShdw>
                </a:effectLst>
                <a:latin typeface="Century Gothic" panose="020B0502020202020204" pitchFamily="34" charset="0"/>
                <a:cs typeface="Arial" panose="020B0604020202020204" pitchFamily="34" charset="0"/>
              </a:rPr>
              <a:t>s Goal</a:t>
            </a:r>
            <a:endParaRPr kumimoji="0" lang="en-US" sz="10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endParaRPr>
          </a:p>
        </p:txBody>
      </p:sp>
      <p:sp>
        <p:nvSpPr>
          <p:cNvPr id="87" name="Rectangle 86">
            <a:extLst>
              <a:ext uri="{FF2B5EF4-FFF2-40B4-BE49-F238E27FC236}">
                <a16:creationId xmlns:a16="http://schemas.microsoft.com/office/drawing/2014/main" id="{3A4EED40-65E3-F44A-D83B-E65C5956881E}"/>
              </a:ext>
            </a:extLst>
          </p:cNvPr>
          <p:cNvSpPr/>
          <p:nvPr/>
        </p:nvSpPr>
        <p:spPr>
          <a:xfrm rot="5400000" flipH="1">
            <a:off x="1337239" y="870633"/>
            <a:ext cx="516492" cy="563573"/>
          </a:xfrm>
          <a:prstGeom prst="rect">
            <a:avLst/>
          </a:prstGeom>
          <a:solidFill>
            <a:srgbClr val="152746"/>
          </a:solidFill>
          <a:ln w="6350" cap="flat" cmpd="sng" algn="ctr">
            <a:solidFill>
              <a:srgbClr val="152746"/>
            </a:solid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8" name="Rectangle 87">
            <a:extLst>
              <a:ext uri="{FF2B5EF4-FFF2-40B4-BE49-F238E27FC236}">
                <a16:creationId xmlns:a16="http://schemas.microsoft.com/office/drawing/2014/main" id="{3E19F0E9-0397-A1A3-80DF-34E6FFED4F72}"/>
              </a:ext>
            </a:extLst>
          </p:cNvPr>
          <p:cNvSpPr/>
          <p:nvPr/>
        </p:nvSpPr>
        <p:spPr>
          <a:xfrm flipH="1">
            <a:off x="1359753" y="940229"/>
            <a:ext cx="478741" cy="438745"/>
          </a:xfrm>
          <a:prstGeom prst="rect">
            <a:avLst/>
          </a:prstGeom>
          <a:solidFill>
            <a:srgbClr val="FFFFFF"/>
          </a:solidFill>
          <a:ln w="6350" cap="flat" cmpd="sng" algn="ctr">
            <a:solidFill>
              <a:srgbClr val="152746"/>
            </a:solidFill>
            <a:prstDash val="solid"/>
            <a:miter lim="800000"/>
          </a:ln>
          <a:effectLst>
            <a:outerShdw blurRad="63500" sx="102000" sy="102000" algn="ctr" rotWithShape="0">
              <a:prstClr val="black">
                <a:alpha val="10000"/>
              </a:prstClr>
            </a:outerShdw>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9" name="Freeform: Shape 88">
            <a:extLst>
              <a:ext uri="{FF2B5EF4-FFF2-40B4-BE49-F238E27FC236}">
                <a16:creationId xmlns:a16="http://schemas.microsoft.com/office/drawing/2014/main" id="{E08E6091-92D1-B7CC-12AC-30923F024F13}"/>
              </a:ext>
            </a:extLst>
          </p:cNvPr>
          <p:cNvSpPr/>
          <p:nvPr/>
        </p:nvSpPr>
        <p:spPr>
          <a:xfrm>
            <a:off x="1478784" y="1059260"/>
            <a:ext cx="259493" cy="237814"/>
          </a:xfrm>
          <a:custGeom>
            <a:avLst/>
            <a:gdLst>
              <a:gd name="connsiteX0" fmla="*/ 1679376 w 5486401"/>
              <a:gd name="connsiteY0" fmla="*/ 2261882 h 5486400"/>
              <a:gd name="connsiteX1" fmla="*/ 3479601 w 5486401"/>
              <a:gd name="connsiteY1" fmla="*/ 2261882 h 5486400"/>
              <a:gd name="connsiteX2" fmla="*/ 3479601 w 5486401"/>
              <a:gd name="connsiteY2" fmla="*/ 2604782 h 5486400"/>
              <a:gd name="connsiteX3" fmla="*/ 1679376 w 5486401"/>
              <a:gd name="connsiteY3" fmla="*/ 2604782 h 5486400"/>
              <a:gd name="connsiteX4" fmla="*/ 4250356 w 5486401"/>
              <a:gd name="connsiteY4" fmla="*/ 1513966 h 5486400"/>
              <a:gd name="connsiteX5" fmla="*/ 4655047 w 5486401"/>
              <a:gd name="connsiteY5" fmla="*/ 1513966 h 5486400"/>
              <a:gd name="connsiteX6" fmla="*/ 4655047 w 5486401"/>
              <a:gd name="connsiteY6" fmla="*/ 1853471 h 5486400"/>
              <a:gd name="connsiteX7" fmla="*/ 4250356 w 5486401"/>
              <a:gd name="connsiteY7" fmla="*/ 1853471 h 5486400"/>
              <a:gd name="connsiteX8" fmla="*/ 3749946 w 5486401"/>
              <a:gd name="connsiteY8" fmla="*/ 1513966 h 5486400"/>
              <a:gd name="connsiteX9" fmla="*/ 4154637 w 5486401"/>
              <a:gd name="connsiteY9" fmla="*/ 1513966 h 5486400"/>
              <a:gd name="connsiteX10" fmla="*/ 4154637 w 5486401"/>
              <a:gd name="connsiteY10" fmla="*/ 1853471 h 5486400"/>
              <a:gd name="connsiteX11" fmla="*/ 3749946 w 5486401"/>
              <a:gd name="connsiteY11" fmla="*/ 1853471 h 5486400"/>
              <a:gd name="connsiteX12" fmla="*/ 1748373 w 5486401"/>
              <a:gd name="connsiteY12" fmla="*/ 1512292 h 5486400"/>
              <a:gd name="connsiteX13" fmla="*/ 3548598 w 5486401"/>
              <a:gd name="connsiteY13" fmla="*/ 1512292 h 5486400"/>
              <a:gd name="connsiteX14" fmla="*/ 3548598 w 5486401"/>
              <a:gd name="connsiteY14" fmla="*/ 1855193 h 5486400"/>
              <a:gd name="connsiteX15" fmla="*/ 1748373 w 5486401"/>
              <a:gd name="connsiteY15" fmla="*/ 1855193 h 5486400"/>
              <a:gd name="connsiteX16" fmla="*/ 1817369 w 5486401"/>
              <a:gd name="connsiteY16" fmla="*/ 771525 h 5486400"/>
              <a:gd name="connsiteX17" fmla="*/ 4629149 w 5486401"/>
              <a:gd name="connsiteY17" fmla="*/ 771525 h 5486400"/>
              <a:gd name="connsiteX18" fmla="*/ 4629149 w 5486401"/>
              <a:gd name="connsiteY18" fmla="*/ 1114426 h 5486400"/>
              <a:gd name="connsiteX19" fmla="*/ 1817369 w 5486401"/>
              <a:gd name="connsiteY19" fmla="*/ 1114426 h 5486400"/>
              <a:gd name="connsiteX20" fmla="*/ 1200150 w 5486401"/>
              <a:gd name="connsiteY20" fmla="*/ 342900 h 5486400"/>
              <a:gd name="connsiteX21" fmla="*/ 1244453 w 5486401"/>
              <a:gd name="connsiteY21" fmla="*/ 445670 h 5486400"/>
              <a:gd name="connsiteX22" fmla="*/ 1256018 w 5486401"/>
              <a:gd name="connsiteY22" fmla="*/ 507858 h 5486400"/>
              <a:gd name="connsiteX23" fmla="*/ 1256241 w 5486401"/>
              <a:gd name="connsiteY23" fmla="*/ 508657 h 5486400"/>
              <a:gd name="connsiteX24" fmla="*/ 1256326 w 5486401"/>
              <a:gd name="connsiteY24" fmla="*/ 509513 h 5486400"/>
              <a:gd name="connsiteX25" fmla="*/ 1265247 w 5486401"/>
              <a:gd name="connsiteY25" fmla="*/ 557480 h 5486400"/>
              <a:gd name="connsiteX26" fmla="*/ 1268729 w 5486401"/>
              <a:gd name="connsiteY26" fmla="*/ 634346 h 5486400"/>
              <a:gd name="connsiteX27" fmla="*/ 1268730 w 5486401"/>
              <a:gd name="connsiteY27" fmla="*/ 634365 h 5486400"/>
              <a:gd name="connsiteX28" fmla="*/ 1268730 w 5486401"/>
              <a:gd name="connsiteY28" fmla="*/ 2023112 h 5486400"/>
              <a:gd name="connsiteX29" fmla="*/ 1268730 w 5486401"/>
              <a:gd name="connsiteY29" fmla="*/ 5143500 h 5486400"/>
              <a:gd name="connsiteX30" fmla="*/ 1285875 w 5486401"/>
              <a:gd name="connsiteY30" fmla="*/ 5143500 h 5486400"/>
              <a:gd name="connsiteX31" fmla="*/ 5143501 w 5486401"/>
              <a:gd name="connsiteY31" fmla="*/ 5143500 h 5486400"/>
              <a:gd name="connsiteX32" fmla="*/ 5143501 w 5486401"/>
              <a:gd name="connsiteY32" fmla="*/ 634365 h 5486400"/>
              <a:gd name="connsiteX33" fmla="*/ 4852036 w 5486401"/>
              <a:gd name="connsiteY33" fmla="*/ 342900 h 5486400"/>
              <a:gd name="connsiteX34" fmla="*/ 651511 w 5486401"/>
              <a:gd name="connsiteY34" fmla="*/ 342900 h 5486400"/>
              <a:gd name="connsiteX35" fmla="*/ 589025 w 5486401"/>
              <a:gd name="connsiteY35" fmla="*/ 349096 h 5486400"/>
              <a:gd name="connsiteX36" fmla="*/ 342900 w 5486401"/>
              <a:gd name="connsiteY36" fmla="*/ 634365 h 5486400"/>
              <a:gd name="connsiteX37" fmla="*/ 342900 w 5486401"/>
              <a:gd name="connsiteY37" fmla="*/ 1680212 h 5486400"/>
              <a:gd name="connsiteX38" fmla="*/ 942975 w 5486401"/>
              <a:gd name="connsiteY38" fmla="*/ 1680212 h 5486400"/>
              <a:gd name="connsiteX39" fmla="*/ 942976 w 5486401"/>
              <a:gd name="connsiteY39" fmla="*/ 1680212 h 5486400"/>
              <a:gd name="connsiteX40" fmla="*/ 942976 w 5486401"/>
              <a:gd name="connsiteY40" fmla="*/ 634365 h 5486400"/>
              <a:gd name="connsiteX41" fmla="*/ 651511 w 5486401"/>
              <a:gd name="connsiteY41" fmla="*/ 342900 h 5486400"/>
              <a:gd name="connsiteX42" fmla="*/ 634366 w 5486401"/>
              <a:gd name="connsiteY42" fmla="*/ 0 h 5486400"/>
              <a:gd name="connsiteX43" fmla="*/ 651510 w 5486401"/>
              <a:gd name="connsiteY43" fmla="*/ 1733 h 5486400"/>
              <a:gd name="connsiteX44" fmla="*/ 764996 w 5486401"/>
              <a:gd name="connsiteY44" fmla="*/ 13195 h 5486400"/>
              <a:gd name="connsiteX45" fmla="*/ 1145556 w 5486401"/>
              <a:gd name="connsiteY45" fmla="*/ 258015 h 5486400"/>
              <a:gd name="connsiteX46" fmla="*/ 764996 w 5486401"/>
              <a:gd name="connsiteY46" fmla="*/ 13194 h 5486400"/>
              <a:gd name="connsiteX47" fmla="*/ 651510 w 5486401"/>
              <a:gd name="connsiteY47" fmla="*/ 1733 h 5486400"/>
              <a:gd name="connsiteX48" fmla="*/ 651510 w 5486401"/>
              <a:gd name="connsiteY48" fmla="*/ 0 h 5486400"/>
              <a:gd name="connsiteX49" fmla="*/ 4852036 w 5486401"/>
              <a:gd name="connsiteY49" fmla="*/ 0 h 5486400"/>
              <a:gd name="connsiteX50" fmla="*/ 5486401 w 5486401"/>
              <a:gd name="connsiteY50" fmla="*/ 634365 h 5486400"/>
              <a:gd name="connsiteX51" fmla="*/ 5486401 w 5486401"/>
              <a:gd name="connsiteY51" fmla="*/ 5486400 h 5486400"/>
              <a:gd name="connsiteX52" fmla="*/ 942975 w 5486401"/>
              <a:gd name="connsiteY52" fmla="*/ 5486400 h 5486400"/>
              <a:gd name="connsiteX53" fmla="*/ 942975 w 5486401"/>
              <a:gd name="connsiteY53" fmla="*/ 2023112 h 5486400"/>
              <a:gd name="connsiteX54" fmla="*/ 0 w 5486401"/>
              <a:gd name="connsiteY54" fmla="*/ 2023112 h 5486400"/>
              <a:gd name="connsiteX55" fmla="*/ 0 w 5486401"/>
              <a:gd name="connsiteY55" fmla="*/ 634365 h 5486400"/>
              <a:gd name="connsiteX56" fmla="*/ 634366 w 5486401"/>
              <a:gd name="connsiteY56" fmla="*/ 0 h 5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486401" h="5486400">
                <a:moveTo>
                  <a:pt x="1679376" y="2261882"/>
                </a:moveTo>
                <a:lnTo>
                  <a:pt x="3479601" y="2261882"/>
                </a:lnTo>
                <a:lnTo>
                  <a:pt x="3479601" y="2604782"/>
                </a:lnTo>
                <a:lnTo>
                  <a:pt x="1679376" y="2604782"/>
                </a:lnTo>
                <a:close/>
                <a:moveTo>
                  <a:pt x="4250356" y="1513966"/>
                </a:moveTo>
                <a:lnTo>
                  <a:pt x="4655047" y="1513966"/>
                </a:lnTo>
                <a:lnTo>
                  <a:pt x="4655047" y="1853471"/>
                </a:lnTo>
                <a:lnTo>
                  <a:pt x="4250356" y="1853471"/>
                </a:lnTo>
                <a:close/>
                <a:moveTo>
                  <a:pt x="3749946" y="1513966"/>
                </a:moveTo>
                <a:lnTo>
                  <a:pt x="4154637" y="1513966"/>
                </a:lnTo>
                <a:lnTo>
                  <a:pt x="4154637" y="1853471"/>
                </a:lnTo>
                <a:lnTo>
                  <a:pt x="3749946" y="1853471"/>
                </a:lnTo>
                <a:close/>
                <a:moveTo>
                  <a:pt x="1748373" y="1512292"/>
                </a:moveTo>
                <a:lnTo>
                  <a:pt x="3548598" y="1512292"/>
                </a:lnTo>
                <a:lnTo>
                  <a:pt x="3548598" y="1855193"/>
                </a:lnTo>
                <a:lnTo>
                  <a:pt x="1748373" y="1855193"/>
                </a:lnTo>
                <a:close/>
                <a:moveTo>
                  <a:pt x="1817369" y="771525"/>
                </a:moveTo>
                <a:lnTo>
                  <a:pt x="4629149" y="771525"/>
                </a:lnTo>
                <a:lnTo>
                  <a:pt x="4629149" y="1114426"/>
                </a:lnTo>
                <a:lnTo>
                  <a:pt x="1817369" y="1114426"/>
                </a:lnTo>
                <a:close/>
                <a:moveTo>
                  <a:pt x="1200150" y="342900"/>
                </a:moveTo>
                <a:cubicBezTo>
                  <a:pt x="1219438" y="375048"/>
                  <a:pt x="1233905" y="409605"/>
                  <a:pt x="1244453" y="445670"/>
                </a:cubicBezTo>
                <a:lnTo>
                  <a:pt x="1256018" y="507858"/>
                </a:lnTo>
                <a:lnTo>
                  <a:pt x="1256241" y="508657"/>
                </a:lnTo>
                <a:lnTo>
                  <a:pt x="1256326" y="509513"/>
                </a:lnTo>
                <a:lnTo>
                  <a:pt x="1265247" y="557480"/>
                </a:lnTo>
                <a:lnTo>
                  <a:pt x="1268729" y="634346"/>
                </a:lnTo>
                <a:lnTo>
                  <a:pt x="1268730" y="634365"/>
                </a:lnTo>
                <a:lnTo>
                  <a:pt x="1268730" y="2023112"/>
                </a:lnTo>
                <a:lnTo>
                  <a:pt x="1268730" y="5143500"/>
                </a:lnTo>
                <a:lnTo>
                  <a:pt x="1285875" y="5143500"/>
                </a:lnTo>
                <a:lnTo>
                  <a:pt x="5143501" y="5143500"/>
                </a:lnTo>
                <a:lnTo>
                  <a:pt x="5143501" y="634365"/>
                </a:lnTo>
                <a:cubicBezTo>
                  <a:pt x="5143501" y="462915"/>
                  <a:pt x="5006341" y="342900"/>
                  <a:pt x="4852036" y="342900"/>
                </a:cubicBezTo>
                <a:close/>
                <a:moveTo>
                  <a:pt x="651511" y="342900"/>
                </a:moveTo>
                <a:lnTo>
                  <a:pt x="589025" y="349096"/>
                </a:lnTo>
                <a:cubicBezTo>
                  <a:pt x="447914" y="377459"/>
                  <a:pt x="342900" y="499348"/>
                  <a:pt x="342900" y="634365"/>
                </a:cubicBezTo>
                <a:lnTo>
                  <a:pt x="342900" y="1680212"/>
                </a:lnTo>
                <a:lnTo>
                  <a:pt x="942975" y="1680212"/>
                </a:lnTo>
                <a:lnTo>
                  <a:pt x="942976" y="1680212"/>
                </a:lnTo>
                <a:lnTo>
                  <a:pt x="942976" y="634365"/>
                </a:lnTo>
                <a:cubicBezTo>
                  <a:pt x="942976" y="462916"/>
                  <a:pt x="805816" y="342900"/>
                  <a:pt x="651511" y="342900"/>
                </a:cubicBezTo>
                <a:close/>
                <a:moveTo>
                  <a:pt x="634366" y="0"/>
                </a:moveTo>
                <a:lnTo>
                  <a:pt x="651510" y="1733"/>
                </a:lnTo>
                <a:lnTo>
                  <a:pt x="764996" y="13195"/>
                </a:lnTo>
                <a:cubicBezTo>
                  <a:pt x="922341" y="45592"/>
                  <a:pt x="1055669" y="135440"/>
                  <a:pt x="1145556" y="258015"/>
                </a:cubicBezTo>
                <a:cubicBezTo>
                  <a:pt x="1055669" y="135440"/>
                  <a:pt x="922341" y="45592"/>
                  <a:pt x="764996" y="13194"/>
                </a:cubicBezTo>
                <a:lnTo>
                  <a:pt x="651510" y="1733"/>
                </a:lnTo>
                <a:lnTo>
                  <a:pt x="651510" y="0"/>
                </a:lnTo>
                <a:lnTo>
                  <a:pt x="4852036" y="0"/>
                </a:lnTo>
                <a:cubicBezTo>
                  <a:pt x="5194936" y="0"/>
                  <a:pt x="5486401" y="291465"/>
                  <a:pt x="5486401" y="634365"/>
                </a:cubicBezTo>
                <a:lnTo>
                  <a:pt x="5486401" y="5486400"/>
                </a:lnTo>
                <a:lnTo>
                  <a:pt x="942975" y="5486400"/>
                </a:lnTo>
                <a:lnTo>
                  <a:pt x="942975" y="2023112"/>
                </a:lnTo>
                <a:lnTo>
                  <a:pt x="0" y="2023112"/>
                </a:lnTo>
                <a:lnTo>
                  <a:pt x="0" y="634365"/>
                </a:lnTo>
                <a:cubicBezTo>
                  <a:pt x="0" y="291466"/>
                  <a:pt x="291465" y="0"/>
                  <a:pt x="634366" y="0"/>
                </a:cubicBezTo>
                <a:close/>
              </a:path>
            </a:pathLst>
          </a:custGeom>
          <a:solidFill>
            <a:srgbClr val="152746"/>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90" name="Freeform: Shape 89">
            <a:extLst>
              <a:ext uri="{FF2B5EF4-FFF2-40B4-BE49-F238E27FC236}">
                <a16:creationId xmlns:a16="http://schemas.microsoft.com/office/drawing/2014/main" id="{124BEDDA-5629-7135-81F3-1E5BB6E5243C}"/>
              </a:ext>
            </a:extLst>
          </p:cNvPr>
          <p:cNvSpPr/>
          <p:nvPr/>
        </p:nvSpPr>
        <p:spPr>
          <a:xfrm>
            <a:off x="1496394" y="1076869"/>
            <a:ext cx="201918" cy="193225"/>
          </a:xfrm>
          <a:custGeom>
            <a:avLst/>
            <a:gdLst>
              <a:gd name="connsiteX0" fmla="*/ 1457325 w 4269105"/>
              <a:gd name="connsiteY0" fmla="*/ 3240405 h 4457701"/>
              <a:gd name="connsiteX1" fmla="*/ 1800225 w 4269105"/>
              <a:gd name="connsiteY1" fmla="*/ 3240405 h 4457701"/>
              <a:gd name="connsiteX2" fmla="*/ 1800225 w 4269105"/>
              <a:gd name="connsiteY2" fmla="*/ 4457701 h 4457701"/>
              <a:gd name="connsiteX3" fmla="*/ 1457325 w 4269105"/>
              <a:gd name="connsiteY3" fmla="*/ 4457701 h 4457701"/>
              <a:gd name="connsiteX4" fmla="*/ 2280285 w 4269105"/>
              <a:gd name="connsiteY4" fmla="*/ 3034665 h 4457701"/>
              <a:gd name="connsiteX5" fmla="*/ 2623185 w 4269105"/>
              <a:gd name="connsiteY5" fmla="*/ 3034665 h 4457701"/>
              <a:gd name="connsiteX6" fmla="*/ 2623185 w 4269105"/>
              <a:gd name="connsiteY6" fmla="*/ 4440556 h 4457701"/>
              <a:gd name="connsiteX7" fmla="*/ 2280285 w 4269105"/>
              <a:gd name="connsiteY7" fmla="*/ 4440556 h 4457701"/>
              <a:gd name="connsiteX8" fmla="*/ 3103245 w 4269105"/>
              <a:gd name="connsiteY8" fmla="*/ 2657475 h 4457701"/>
              <a:gd name="connsiteX9" fmla="*/ 3446145 w 4269105"/>
              <a:gd name="connsiteY9" fmla="*/ 2657475 h 4457701"/>
              <a:gd name="connsiteX10" fmla="*/ 3446145 w 4269105"/>
              <a:gd name="connsiteY10" fmla="*/ 4440555 h 4457701"/>
              <a:gd name="connsiteX11" fmla="*/ 3103245 w 4269105"/>
              <a:gd name="connsiteY11" fmla="*/ 4440555 h 4457701"/>
              <a:gd name="connsiteX12" fmla="*/ 3926205 w 4269105"/>
              <a:gd name="connsiteY12" fmla="*/ 2280285 h 4457701"/>
              <a:gd name="connsiteX13" fmla="*/ 4269105 w 4269105"/>
              <a:gd name="connsiteY13" fmla="*/ 2280285 h 4457701"/>
              <a:gd name="connsiteX14" fmla="*/ 4269105 w 4269105"/>
              <a:gd name="connsiteY14" fmla="*/ 4440556 h 4457701"/>
              <a:gd name="connsiteX15" fmla="*/ 3926205 w 4269105"/>
              <a:gd name="connsiteY15" fmla="*/ 4440556 h 4457701"/>
              <a:gd name="connsiteX16" fmla="*/ 308611 w 4269105"/>
              <a:gd name="connsiteY16" fmla="*/ 0 h 4457701"/>
              <a:gd name="connsiteX17" fmla="*/ 365436 w 4269105"/>
              <a:gd name="connsiteY17" fmla="*/ 5492 h 4457701"/>
              <a:gd name="connsiteX18" fmla="*/ 600075 w 4269105"/>
              <a:gd name="connsiteY18" fmla="*/ 291465 h 4457701"/>
              <a:gd name="connsiteX19" fmla="*/ 600075 w 4269105"/>
              <a:gd name="connsiteY19" fmla="*/ 1337311 h 4457701"/>
              <a:gd name="connsiteX20" fmla="*/ 0 w 4269105"/>
              <a:gd name="connsiteY20" fmla="*/ 1337311 h 4457701"/>
              <a:gd name="connsiteX21" fmla="*/ 0 w 4269105"/>
              <a:gd name="connsiteY21" fmla="*/ 291465 h 4457701"/>
              <a:gd name="connsiteX22" fmla="*/ 246125 w 4269105"/>
              <a:gd name="connsiteY22" fmla="*/ 6195 h 445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69105" h="4457701">
                <a:moveTo>
                  <a:pt x="1457325" y="3240405"/>
                </a:moveTo>
                <a:lnTo>
                  <a:pt x="1800225" y="3240405"/>
                </a:lnTo>
                <a:lnTo>
                  <a:pt x="1800225" y="4457701"/>
                </a:lnTo>
                <a:lnTo>
                  <a:pt x="1457325" y="4457701"/>
                </a:lnTo>
                <a:close/>
                <a:moveTo>
                  <a:pt x="2280285" y="3034665"/>
                </a:moveTo>
                <a:lnTo>
                  <a:pt x="2623185" y="3034665"/>
                </a:lnTo>
                <a:lnTo>
                  <a:pt x="2623185" y="4440556"/>
                </a:lnTo>
                <a:lnTo>
                  <a:pt x="2280285" y="4440556"/>
                </a:lnTo>
                <a:close/>
                <a:moveTo>
                  <a:pt x="3103245" y="2657475"/>
                </a:moveTo>
                <a:lnTo>
                  <a:pt x="3446145" y="2657475"/>
                </a:lnTo>
                <a:lnTo>
                  <a:pt x="3446145" y="4440555"/>
                </a:lnTo>
                <a:lnTo>
                  <a:pt x="3103245" y="4440555"/>
                </a:lnTo>
                <a:close/>
                <a:moveTo>
                  <a:pt x="3926205" y="2280285"/>
                </a:moveTo>
                <a:lnTo>
                  <a:pt x="4269105" y="2280285"/>
                </a:lnTo>
                <a:lnTo>
                  <a:pt x="4269105" y="4440556"/>
                </a:lnTo>
                <a:lnTo>
                  <a:pt x="3926205" y="4440556"/>
                </a:lnTo>
                <a:close/>
                <a:moveTo>
                  <a:pt x="308611" y="0"/>
                </a:moveTo>
                <a:lnTo>
                  <a:pt x="365436" y="5492"/>
                </a:lnTo>
                <a:cubicBezTo>
                  <a:pt x="495062" y="30807"/>
                  <a:pt x="600075" y="141446"/>
                  <a:pt x="600075" y="291465"/>
                </a:cubicBezTo>
                <a:lnTo>
                  <a:pt x="600075" y="1337311"/>
                </a:lnTo>
                <a:lnTo>
                  <a:pt x="0" y="1337311"/>
                </a:lnTo>
                <a:lnTo>
                  <a:pt x="0" y="291465"/>
                </a:lnTo>
                <a:cubicBezTo>
                  <a:pt x="0" y="156448"/>
                  <a:pt x="105014" y="34558"/>
                  <a:pt x="246125" y="6195"/>
                </a:cubicBezTo>
                <a:close/>
              </a:path>
            </a:pathLst>
          </a:custGeom>
          <a:solidFill>
            <a:srgbClr val="142644"/>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71602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63DB16-CE82-6F37-4DAD-554770F12F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4FE75D-E127-FAE5-604E-7FBA85C78C8B}"/>
              </a:ext>
            </a:extLst>
          </p:cNvPr>
          <p:cNvSpPr>
            <a:spLocks noGrp="1"/>
          </p:cNvSpPr>
          <p:nvPr>
            <p:ph type="title"/>
          </p:nvPr>
        </p:nvSpPr>
        <p:spPr>
          <a:xfrm>
            <a:off x="495300" y="97659"/>
            <a:ext cx="8690912" cy="443818"/>
          </a:xfrm>
        </p:spPr>
        <p:txBody>
          <a:bodyPr/>
          <a:lstStyle/>
          <a:p>
            <a:r>
              <a:rPr lang="en-US" sz="2100"/>
              <a:t>Convert Business Questions into Data Questions</a:t>
            </a:r>
          </a:p>
        </p:txBody>
      </p:sp>
      <p:grpSp>
        <p:nvGrpSpPr>
          <p:cNvPr id="34" name="Group 33">
            <a:extLst>
              <a:ext uri="{FF2B5EF4-FFF2-40B4-BE49-F238E27FC236}">
                <a16:creationId xmlns:a16="http://schemas.microsoft.com/office/drawing/2014/main" id="{64BFC880-EC29-C9BF-BDD8-F5C874B0E623}"/>
              </a:ext>
            </a:extLst>
          </p:cNvPr>
          <p:cNvGrpSpPr/>
          <p:nvPr/>
        </p:nvGrpSpPr>
        <p:grpSpPr>
          <a:xfrm>
            <a:off x="3235077" y="1062399"/>
            <a:ext cx="4256291" cy="3519803"/>
            <a:chOff x="911176" y="3609967"/>
            <a:chExt cx="2470254" cy="2600191"/>
          </a:xfrm>
        </p:grpSpPr>
        <p:sp>
          <p:nvSpPr>
            <p:cNvPr id="54" name="Rectangle: Rounded Corners 53">
              <a:extLst>
                <a:ext uri="{FF2B5EF4-FFF2-40B4-BE49-F238E27FC236}">
                  <a16:creationId xmlns:a16="http://schemas.microsoft.com/office/drawing/2014/main" id="{9253CBE3-80D2-2F6A-4F2D-6A2E3CCA3AA8}"/>
                </a:ext>
              </a:extLst>
            </p:cNvPr>
            <p:cNvSpPr/>
            <p:nvPr/>
          </p:nvSpPr>
          <p:spPr>
            <a:xfrm>
              <a:off x="911176" y="3609967"/>
              <a:ext cx="2470254" cy="2600191"/>
            </a:xfrm>
            <a:prstGeom prst="roundRect">
              <a:avLst>
                <a:gd name="adj" fmla="val 2224"/>
              </a:avLst>
            </a:prstGeom>
            <a:solidFill>
              <a:srgbClr val="FFFFFF"/>
            </a:solidFill>
            <a:ln w="6350" cap="flat" cmpd="sng" algn="ctr">
              <a:solidFill>
                <a:srgbClr val="1C345E"/>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 name="Rectangle 54" hidden="1">
              <a:extLst>
                <a:ext uri="{FF2B5EF4-FFF2-40B4-BE49-F238E27FC236}">
                  <a16:creationId xmlns:a16="http://schemas.microsoft.com/office/drawing/2014/main" id="{7704835E-5138-2436-F6F0-642BB50DAAA2}"/>
                </a:ext>
              </a:extLst>
            </p:cNvPr>
            <p:cNvSpPr/>
            <p:nvPr/>
          </p:nvSpPr>
          <p:spPr>
            <a:xfrm>
              <a:off x="2108988" y="3926421"/>
              <a:ext cx="74618" cy="74618"/>
            </a:xfrm>
            <a:prstGeom prst="rect">
              <a:avLst/>
            </a:prstGeom>
            <a:solidFill>
              <a:srgbClr val="FFFFFF"/>
            </a:solidFill>
            <a:ln w="6350" cap="flat" cmpd="sng" algn="ctr">
              <a:solidFill>
                <a:schemeClr val="tx2"/>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 name="TextBox 56">
              <a:extLst>
                <a:ext uri="{FF2B5EF4-FFF2-40B4-BE49-F238E27FC236}">
                  <a16:creationId xmlns:a16="http://schemas.microsoft.com/office/drawing/2014/main" id="{3A13A492-93AF-902C-77CF-7EF6D79C7C17}"/>
                </a:ext>
              </a:extLst>
            </p:cNvPr>
            <p:cNvSpPr txBox="1"/>
            <p:nvPr/>
          </p:nvSpPr>
          <p:spPr>
            <a:xfrm>
              <a:off x="971121" y="3627134"/>
              <a:ext cx="2350363" cy="2137225"/>
            </a:xfrm>
            <a:prstGeom prst="rect">
              <a:avLst/>
            </a:prstGeom>
            <a:noFill/>
          </p:spPr>
          <p:txBody>
            <a:bodyPr wrap="square" rtlCol="0" anchor="ctr">
              <a:spAutoFit/>
            </a:bodyPr>
            <a:lstStyle/>
            <a:p>
              <a:pPr algn="ctr"/>
              <a:r>
                <a:rPr lang="en-US" sz="1400" b="1" dirty="0">
                  <a:solidFill>
                    <a:srgbClr val="1C345E"/>
                  </a:solidFill>
                  <a:latin typeface="Calibri" panose="020F0502020204030204" pitchFamily="34" charset="0"/>
                  <a:cs typeface="Calibri" panose="020F0502020204030204" pitchFamily="34" charset="0"/>
                </a:rPr>
                <a:t>Break the broad question into components</a:t>
              </a:r>
            </a:p>
            <a:p>
              <a:endParaRPr lang="en-US" sz="1200" b="1" dirty="0">
                <a:latin typeface="Calibri" panose="020F0502020204030204" pitchFamily="34" charset="0"/>
                <a:cs typeface="Calibri" panose="020F0502020204030204" pitchFamily="34" charset="0"/>
              </a:endParaRPr>
            </a:p>
            <a:p>
              <a:r>
                <a:rPr lang="en-US" sz="1200" b="1" dirty="0">
                  <a:solidFill>
                    <a:srgbClr val="1C345E"/>
                  </a:solidFill>
                  <a:latin typeface="Calibri" panose="020F0502020204030204" pitchFamily="34" charset="0"/>
                  <a:cs typeface="Calibri" panose="020F0502020204030204" pitchFamily="34" charset="0"/>
                </a:rPr>
                <a:t>Subjects</a:t>
              </a:r>
              <a:r>
                <a:rPr lang="en-US" sz="1200" b="1" dirty="0">
                  <a:latin typeface="Calibri" panose="020F0502020204030204" pitchFamily="34" charset="0"/>
                  <a:cs typeface="Calibri" panose="020F0502020204030204" pitchFamily="34" charset="0"/>
                </a:rPr>
                <a:t> </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Which employees or teams are being evaluated?</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Actions: What activities or behaviors are considered “productive”?</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Objectives: What outcome is desired (e.g., increase in output, reduction in time spent on tasks)?</a:t>
              </a:r>
            </a:p>
            <a:p>
              <a:endParaRPr lang="en-US" sz="1200" b="1" dirty="0">
                <a:latin typeface="Calibri" panose="020F0502020204030204" pitchFamily="34" charset="0"/>
                <a:cs typeface="Calibri" panose="020F0502020204030204" pitchFamily="34" charset="0"/>
              </a:endParaRPr>
            </a:p>
            <a:p>
              <a:r>
                <a:rPr lang="en-US" sz="1200" b="1" dirty="0">
                  <a:solidFill>
                    <a:srgbClr val="1C345E"/>
                  </a:solidFill>
                  <a:latin typeface="Calibri" panose="020F0502020204030204" pitchFamily="34" charset="0"/>
                  <a:cs typeface="Calibri" panose="020F0502020204030204" pitchFamily="34" charset="0"/>
                </a:rPr>
                <a:t>Resulting Question Components</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What are the productivity trends by team or role?”</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Which factors (e.g., tools, workload, environment) most correlate with changes in productivity?”</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What interventions could improve productivity sustainably?”</a:t>
              </a:r>
            </a:p>
          </p:txBody>
        </p:sp>
      </p:grpSp>
      <p:sp>
        <p:nvSpPr>
          <p:cNvPr id="51" name="Freeform 30">
            <a:extLst>
              <a:ext uri="{FF2B5EF4-FFF2-40B4-BE49-F238E27FC236}">
                <a16:creationId xmlns:a16="http://schemas.microsoft.com/office/drawing/2014/main" id="{F27CA339-F723-C962-2715-ED5C8A677AC3}"/>
              </a:ext>
            </a:extLst>
          </p:cNvPr>
          <p:cNvSpPr/>
          <p:nvPr/>
        </p:nvSpPr>
        <p:spPr>
          <a:xfrm>
            <a:off x="641144" y="1097886"/>
            <a:ext cx="2063419" cy="962846"/>
          </a:xfrm>
          <a:prstGeom prst="notchedRightArrow">
            <a:avLst/>
          </a:prstGeom>
          <a:solidFill>
            <a:srgbClr val="FFFFFF"/>
          </a:solidFill>
          <a:ln w="12700" cap="flat" cmpd="sng" algn="ctr">
            <a:noFill/>
            <a:prstDash val="solid"/>
            <a:miter lim="800000"/>
          </a:ln>
          <a:effectLst>
            <a:outerShdw blurRad="25400" dist="12700" dir="2700000" algn="tl" rotWithShape="0">
              <a:prstClr val="black">
                <a:alpha val="20000"/>
              </a:prstClr>
            </a:outerShdw>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cs typeface="+mn-cs"/>
            </a:endParaRPr>
          </a:p>
        </p:txBody>
      </p:sp>
      <p:sp>
        <p:nvSpPr>
          <p:cNvPr id="52" name="Freeform 28">
            <a:extLst>
              <a:ext uri="{FF2B5EF4-FFF2-40B4-BE49-F238E27FC236}">
                <a16:creationId xmlns:a16="http://schemas.microsoft.com/office/drawing/2014/main" id="{9EE600DD-F567-627B-8545-E91081DD150E}"/>
              </a:ext>
            </a:extLst>
          </p:cNvPr>
          <p:cNvSpPr/>
          <p:nvPr/>
        </p:nvSpPr>
        <p:spPr>
          <a:xfrm>
            <a:off x="641146" y="1189422"/>
            <a:ext cx="2002958" cy="808342"/>
          </a:xfrm>
          <a:prstGeom prst="notchedRightArrow">
            <a:avLst/>
          </a:prstGeom>
          <a:solidFill>
            <a:schemeClr val="tx1">
              <a:lumMod val="60000"/>
              <a:lumOff val="40000"/>
            </a:schemeClr>
          </a:solidFill>
          <a:ln w="12700" cap="flat" cmpd="sng" algn="ctr">
            <a:noFill/>
            <a:prstDash val="solid"/>
            <a:miter lim="800000"/>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Calibri" panose="020F0502020204030204"/>
              <a:cs typeface="+mn-cs"/>
            </a:endParaRPr>
          </a:p>
        </p:txBody>
      </p:sp>
      <p:sp>
        <p:nvSpPr>
          <p:cNvPr id="53" name="TextBox 52">
            <a:extLst>
              <a:ext uri="{FF2B5EF4-FFF2-40B4-BE49-F238E27FC236}">
                <a16:creationId xmlns:a16="http://schemas.microsoft.com/office/drawing/2014/main" id="{83DDBCAB-6244-5138-E66C-2907CB74F747}"/>
              </a:ext>
            </a:extLst>
          </p:cNvPr>
          <p:cNvSpPr txBox="1"/>
          <p:nvPr/>
        </p:nvSpPr>
        <p:spPr>
          <a:xfrm>
            <a:off x="1008386" y="1396583"/>
            <a:ext cx="1191523" cy="400110"/>
          </a:xfrm>
          <a:prstGeom prst="rect">
            <a:avLst/>
          </a:prstGeom>
          <a:noFill/>
        </p:spPr>
        <p:txBody>
          <a:bodyPr wrap="square" rtlCol="0" anchor="ctr">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rPr>
              <a:t>Clarify the </a:t>
            </a:r>
            <a:r>
              <a:rPr kumimoji="0" lang="en-US" sz="1000" b="1" i="0" u="none" strike="noStrike" kern="0" cap="none" spc="0" normalizeH="0" baseline="0" noProof="0" dirty="0" err="1">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rPr>
              <a:t>Busines</a:t>
            </a:r>
            <a:r>
              <a:rPr lang="en-US" sz="1000" b="1" kern="0" dirty="0">
                <a:solidFill>
                  <a:srgbClr val="FFFFFF"/>
                </a:solidFill>
                <a:effectLst>
                  <a:outerShdw blurRad="38100" dist="38100" dir="2700000" algn="tl">
                    <a:srgbClr val="000000">
                      <a:alpha val="43137"/>
                    </a:srgbClr>
                  </a:outerShdw>
                </a:effectLst>
                <a:latin typeface="Century Gothic" panose="020B0502020202020204" pitchFamily="34" charset="0"/>
                <a:cs typeface="Arial" panose="020B0604020202020204" pitchFamily="34" charset="0"/>
              </a:rPr>
              <a:t>s Goal</a:t>
            </a:r>
            <a:endParaRPr kumimoji="0" lang="en-US" sz="10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endParaRPr>
          </a:p>
        </p:txBody>
      </p:sp>
      <p:sp>
        <p:nvSpPr>
          <p:cNvPr id="56" name="Rectangle 55">
            <a:extLst>
              <a:ext uri="{FF2B5EF4-FFF2-40B4-BE49-F238E27FC236}">
                <a16:creationId xmlns:a16="http://schemas.microsoft.com/office/drawing/2014/main" id="{286C0FD8-B117-484F-E3A7-6906106EA53D}"/>
              </a:ext>
            </a:extLst>
          </p:cNvPr>
          <p:cNvSpPr/>
          <p:nvPr/>
        </p:nvSpPr>
        <p:spPr>
          <a:xfrm rot="5400000" flipH="1">
            <a:off x="1337239" y="870633"/>
            <a:ext cx="516492" cy="563573"/>
          </a:xfrm>
          <a:prstGeom prst="rect">
            <a:avLst/>
          </a:prstGeom>
          <a:solidFill>
            <a:srgbClr val="97999D"/>
          </a:solidFill>
          <a:ln w="6350" cap="flat" cmpd="sng" algn="ctr">
            <a:solidFill>
              <a:srgbClr val="97999D"/>
            </a:solid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9" name="Rectangle 58">
            <a:extLst>
              <a:ext uri="{FF2B5EF4-FFF2-40B4-BE49-F238E27FC236}">
                <a16:creationId xmlns:a16="http://schemas.microsoft.com/office/drawing/2014/main" id="{C0E82AAB-E721-00EC-65D4-3032D5555C58}"/>
              </a:ext>
            </a:extLst>
          </p:cNvPr>
          <p:cNvSpPr/>
          <p:nvPr/>
        </p:nvSpPr>
        <p:spPr>
          <a:xfrm flipH="1">
            <a:off x="1359753" y="940229"/>
            <a:ext cx="478741" cy="438745"/>
          </a:xfrm>
          <a:prstGeom prst="rect">
            <a:avLst/>
          </a:prstGeom>
          <a:solidFill>
            <a:srgbClr val="FFFFFF"/>
          </a:solidFill>
          <a:ln w="6350" cap="flat" cmpd="sng" algn="ctr">
            <a:solidFill>
              <a:schemeClr val="bg1">
                <a:lumMod val="50000"/>
              </a:schemeClr>
            </a:solidFill>
            <a:prstDash val="solid"/>
            <a:miter lim="800000"/>
          </a:ln>
          <a:effectLst>
            <a:outerShdw blurRad="63500" sx="102000" sy="102000" algn="ctr" rotWithShape="0">
              <a:prstClr val="black">
                <a:alpha val="10000"/>
              </a:prstClr>
            </a:outerShdw>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8C7B3F0A-A681-DD0A-D06D-0CB6E8C0EA91}"/>
              </a:ext>
            </a:extLst>
          </p:cNvPr>
          <p:cNvSpPr/>
          <p:nvPr/>
        </p:nvSpPr>
        <p:spPr>
          <a:xfrm>
            <a:off x="1478784" y="1059260"/>
            <a:ext cx="259493" cy="237814"/>
          </a:xfrm>
          <a:custGeom>
            <a:avLst/>
            <a:gdLst>
              <a:gd name="connsiteX0" fmla="*/ 1679376 w 5486401"/>
              <a:gd name="connsiteY0" fmla="*/ 2261882 h 5486400"/>
              <a:gd name="connsiteX1" fmla="*/ 3479601 w 5486401"/>
              <a:gd name="connsiteY1" fmla="*/ 2261882 h 5486400"/>
              <a:gd name="connsiteX2" fmla="*/ 3479601 w 5486401"/>
              <a:gd name="connsiteY2" fmla="*/ 2604782 h 5486400"/>
              <a:gd name="connsiteX3" fmla="*/ 1679376 w 5486401"/>
              <a:gd name="connsiteY3" fmla="*/ 2604782 h 5486400"/>
              <a:gd name="connsiteX4" fmla="*/ 4250356 w 5486401"/>
              <a:gd name="connsiteY4" fmla="*/ 1513966 h 5486400"/>
              <a:gd name="connsiteX5" fmla="*/ 4655047 w 5486401"/>
              <a:gd name="connsiteY5" fmla="*/ 1513966 h 5486400"/>
              <a:gd name="connsiteX6" fmla="*/ 4655047 w 5486401"/>
              <a:gd name="connsiteY6" fmla="*/ 1853471 h 5486400"/>
              <a:gd name="connsiteX7" fmla="*/ 4250356 w 5486401"/>
              <a:gd name="connsiteY7" fmla="*/ 1853471 h 5486400"/>
              <a:gd name="connsiteX8" fmla="*/ 3749946 w 5486401"/>
              <a:gd name="connsiteY8" fmla="*/ 1513966 h 5486400"/>
              <a:gd name="connsiteX9" fmla="*/ 4154637 w 5486401"/>
              <a:gd name="connsiteY9" fmla="*/ 1513966 h 5486400"/>
              <a:gd name="connsiteX10" fmla="*/ 4154637 w 5486401"/>
              <a:gd name="connsiteY10" fmla="*/ 1853471 h 5486400"/>
              <a:gd name="connsiteX11" fmla="*/ 3749946 w 5486401"/>
              <a:gd name="connsiteY11" fmla="*/ 1853471 h 5486400"/>
              <a:gd name="connsiteX12" fmla="*/ 1748373 w 5486401"/>
              <a:gd name="connsiteY12" fmla="*/ 1512292 h 5486400"/>
              <a:gd name="connsiteX13" fmla="*/ 3548598 w 5486401"/>
              <a:gd name="connsiteY13" fmla="*/ 1512292 h 5486400"/>
              <a:gd name="connsiteX14" fmla="*/ 3548598 w 5486401"/>
              <a:gd name="connsiteY14" fmla="*/ 1855193 h 5486400"/>
              <a:gd name="connsiteX15" fmla="*/ 1748373 w 5486401"/>
              <a:gd name="connsiteY15" fmla="*/ 1855193 h 5486400"/>
              <a:gd name="connsiteX16" fmla="*/ 1817369 w 5486401"/>
              <a:gd name="connsiteY16" fmla="*/ 771525 h 5486400"/>
              <a:gd name="connsiteX17" fmla="*/ 4629149 w 5486401"/>
              <a:gd name="connsiteY17" fmla="*/ 771525 h 5486400"/>
              <a:gd name="connsiteX18" fmla="*/ 4629149 w 5486401"/>
              <a:gd name="connsiteY18" fmla="*/ 1114426 h 5486400"/>
              <a:gd name="connsiteX19" fmla="*/ 1817369 w 5486401"/>
              <a:gd name="connsiteY19" fmla="*/ 1114426 h 5486400"/>
              <a:gd name="connsiteX20" fmla="*/ 1200150 w 5486401"/>
              <a:gd name="connsiteY20" fmla="*/ 342900 h 5486400"/>
              <a:gd name="connsiteX21" fmla="*/ 1244453 w 5486401"/>
              <a:gd name="connsiteY21" fmla="*/ 445670 h 5486400"/>
              <a:gd name="connsiteX22" fmla="*/ 1256018 w 5486401"/>
              <a:gd name="connsiteY22" fmla="*/ 507858 h 5486400"/>
              <a:gd name="connsiteX23" fmla="*/ 1256241 w 5486401"/>
              <a:gd name="connsiteY23" fmla="*/ 508657 h 5486400"/>
              <a:gd name="connsiteX24" fmla="*/ 1256326 w 5486401"/>
              <a:gd name="connsiteY24" fmla="*/ 509513 h 5486400"/>
              <a:gd name="connsiteX25" fmla="*/ 1265247 w 5486401"/>
              <a:gd name="connsiteY25" fmla="*/ 557480 h 5486400"/>
              <a:gd name="connsiteX26" fmla="*/ 1268729 w 5486401"/>
              <a:gd name="connsiteY26" fmla="*/ 634346 h 5486400"/>
              <a:gd name="connsiteX27" fmla="*/ 1268730 w 5486401"/>
              <a:gd name="connsiteY27" fmla="*/ 634365 h 5486400"/>
              <a:gd name="connsiteX28" fmla="*/ 1268730 w 5486401"/>
              <a:gd name="connsiteY28" fmla="*/ 2023112 h 5486400"/>
              <a:gd name="connsiteX29" fmla="*/ 1268730 w 5486401"/>
              <a:gd name="connsiteY29" fmla="*/ 5143500 h 5486400"/>
              <a:gd name="connsiteX30" fmla="*/ 1285875 w 5486401"/>
              <a:gd name="connsiteY30" fmla="*/ 5143500 h 5486400"/>
              <a:gd name="connsiteX31" fmla="*/ 5143501 w 5486401"/>
              <a:gd name="connsiteY31" fmla="*/ 5143500 h 5486400"/>
              <a:gd name="connsiteX32" fmla="*/ 5143501 w 5486401"/>
              <a:gd name="connsiteY32" fmla="*/ 634365 h 5486400"/>
              <a:gd name="connsiteX33" fmla="*/ 4852036 w 5486401"/>
              <a:gd name="connsiteY33" fmla="*/ 342900 h 5486400"/>
              <a:gd name="connsiteX34" fmla="*/ 651511 w 5486401"/>
              <a:gd name="connsiteY34" fmla="*/ 342900 h 5486400"/>
              <a:gd name="connsiteX35" fmla="*/ 589025 w 5486401"/>
              <a:gd name="connsiteY35" fmla="*/ 349096 h 5486400"/>
              <a:gd name="connsiteX36" fmla="*/ 342900 w 5486401"/>
              <a:gd name="connsiteY36" fmla="*/ 634365 h 5486400"/>
              <a:gd name="connsiteX37" fmla="*/ 342900 w 5486401"/>
              <a:gd name="connsiteY37" fmla="*/ 1680212 h 5486400"/>
              <a:gd name="connsiteX38" fmla="*/ 942975 w 5486401"/>
              <a:gd name="connsiteY38" fmla="*/ 1680212 h 5486400"/>
              <a:gd name="connsiteX39" fmla="*/ 942976 w 5486401"/>
              <a:gd name="connsiteY39" fmla="*/ 1680212 h 5486400"/>
              <a:gd name="connsiteX40" fmla="*/ 942976 w 5486401"/>
              <a:gd name="connsiteY40" fmla="*/ 634365 h 5486400"/>
              <a:gd name="connsiteX41" fmla="*/ 651511 w 5486401"/>
              <a:gd name="connsiteY41" fmla="*/ 342900 h 5486400"/>
              <a:gd name="connsiteX42" fmla="*/ 634366 w 5486401"/>
              <a:gd name="connsiteY42" fmla="*/ 0 h 5486400"/>
              <a:gd name="connsiteX43" fmla="*/ 651510 w 5486401"/>
              <a:gd name="connsiteY43" fmla="*/ 1733 h 5486400"/>
              <a:gd name="connsiteX44" fmla="*/ 764996 w 5486401"/>
              <a:gd name="connsiteY44" fmla="*/ 13195 h 5486400"/>
              <a:gd name="connsiteX45" fmla="*/ 1145556 w 5486401"/>
              <a:gd name="connsiteY45" fmla="*/ 258015 h 5486400"/>
              <a:gd name="connsiteX46" fmla="*/ 764996 w 5486401"/>
              <a:gd name="connsiteY46" fmla="*/ 13194 h 5486400"/>
              <a:gd name="connsiteX47" fmla="*/ 651510 w 5486401"/>
              <a:gd name="connsiteY47" fmla="*/ 1733 h 5486400"/>
              <a:gd name="connsiteX48" fmla="*/ 651510 w 5486401"/>
              <a:gd name="connsiteY48" fmla="*/ 0 h 5486400"/>
              <a:gd name="connsiteX49" fmla="*/ 4852036 w 5486401"/>
              <a:gd name="connsiteY49" fmla="*/ 0 h 5486400"/>
              <a:gd name="connsiteX50" fmla="*/ 5486401 w 5486401"/>
              <a:gd name="connsiteY50" fmla="*/ 634365 h 5486400"/>
              <a:gd name="connsiteX51" fmla="*/ 5486401 w 5486401"/>
              <a:gd name="connsiteY51" fmla="*/ 5486400 h 5486400"/>
              <a:gd name="connsiteX52" fmla="*/ 942975 w 5486401"/>
              <a:gd name="connsiteY52" fmla="*/ 5486400 h 5486400"/>
              <a:gd name="connsiteX53" fmla="*/ 942975 w 5486401"/>
              <a:gd name="connsiteY53" fmla="*/ 2023112 h 5486400"/>
              <a:gd name="connsiteX54" fmla="*/ 0 w 5486401"/>
              <a:gd name="connsiteY54" fmla="*/ 2023112 h 5486400"/>
              <a:gd name="connsiteX55" fmla="*/ 0 w 5486401"/>
              <a:gd name="connsiteY55" fmla="*/ 634365 h 5486400"/>
              <a:gd name="connsiteX56" fmla="*/ 634366 w 5486401"/>
              <a:gd name="connsiteY56" fmla="*/ 0 h 5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486401" h="5486400">
                <a:moveTo>
                  <a:pt x="1679376" y="2261882"/>
                </a:moveTo>
                <a:lnTo>
                  <a:pt x="3479601" y="2261882"/>
                </a:lnTo>
                <a:lnTo>
                  <a:pt x="3479601" y="2604782"/>
                </a:lnTo>
                <a:lnTo>
                  <a:pt x="1679376" y="2604782"/>
                </a:lnTo>
                <a:close/>
                <a:moveTo>
                  <a:pt x="4250356" y="1513966"/>
                </a:moveTo>
                <a:lnTo>
                  <a:pt x="4655047" y="1513966"/>
                </a:lnTo>
                <a:lnTo>
                  <a:pt x="4655047" y="1853471"/>
                </a:lnTo>
                <a:lnTo>
                  <a:pt x="4250356" y="1853471"/>
                </a:lnTo>
                <a:close/>
                <a:moveTo>
                  <a:pt x="3749946" y="1513966"/>
                </a:moveTo>
                <a:lnTo>
                  <a:pt x="4154637" y="1513966"/>
                </a:lnTo>
                <a:lnTo>
                  <a:pt x="4154637" y="1853471"/>
                </a:lnTo>
                <a:lnTo>
                  <a:pt x="3749946" y="1853471"/>
                </a:lnTo>
                <a:close/>
                <a:moveTo>
                  <a:pt x="1748373" y="1512292"/>
                </a:moveTo>
                <a:lnTo>
                  <a:pt x="3548598" y="1512292"/>
                </a:lnTo>
                <a:lnTo>
                  <a:pt x="3548598" y="1855193"/>
                </a:lnTo>
                <a:lnTo>
                  <a:pt x="1748373" y="1855193"/>
                </a:lnTo>
                <a:close/>
                <a:moveTo>
                  <a:pt x="1817369" y="771525"/>
                </a:moveTo>
                <a:lnTo>
                  <a:pt x="4629149" y="771525"/>
                </a:lnTo>
                <a:lnTo>
                  <a:pt x="4629149" y="1114426"/>
                </a:lnTo>
                <a:lnTo>
                  <a:pt x="1817369" y="1114426"/>
                </a:lnTo>
                <a:close/>
                <a:moveTo>
                  <a:pt x="1200150" y="342900"/>
                </a:moveTo>
                <a:cubicBezTo>
                  <a:pt x="1219438" y="375048"/>
                  <a:pt x="1233905" y="409605"/>
                  <a:pt x="1244453" y="445670"/>
                </a:cubicBezTo>
                <a:lnTo>
                  <a:pt x="1256018" y="507858"/>
                </a:lnTo>
                <a:lnTo>
                  <a:pt x="1256241" y="508657"/>
                </a:lnTo>
                <a:lnTo>
                  <a:pt x="1256326" y="509513"/>
                </a:lnTo>
                <a:lnTo>
                  <a:pt x="1265247" y="557480"/>
                </a:lnTo>
                <a:lnTo>
                  <a:pt x="1268729" y="634346"/>
                </a:lnTo>
                <a:lnTo>
                  <a:pt x="1268730" y="634365"/>
                </a:lnTo>
                <a:lnTo>
                  <a:pt x="1268730" y="2023112"/>
                </a:lnTo>
                <a:lnTo>
                  <a:pt x="1268730" y="5143500"/>
                </a:lnTo>
                <a:lnTo>
                  <a:pt x="1285875" y="5143500"/>
                </a:lnTo>
                <a:lnTo>
                  <a:pt x="5143501" y="5143500"/>
                </a:lnTo>
                <a:lnTo>
                  <a:pt x="5143501" y="634365"/>
                </a:lnTo>
                <a:cubicBezTo>
                  <a:pt x="5143501" y="462915"/>
                  <a:pt x="5006341" y="342900"/>
                  <a:pt x="4852036" y="342900"/>
                </a:cubicBezTo>
                <a:close/>
                <a:moveTo>
                  <a:pt x="651511" y="342900"/>
                </a:moveTo>
                <a:lnTo>
                  <a:pt x="589025" y="349096"/>
                </a:lnTo>
                <a:cubicBezTo>
                  <a:pt x="447914" y="377459"/>
                  <a:pt x="342900" y="499348"/>
                  <a:pt x="342900" y="634365"/>
                </a:cubicBezTo>
                <a:lnTo>
                  <a:pt x="342900" y="1680212"/>
                </a:lnTo>
                <a:lnTo>
                  <a:pt x="942975" y="1680212"/>
                </a:lnTo>
                <a:lnTo>
                  <a:pt x="942976" y="1680212"/>
                </a:lnTo>
                <a:lnTo>
                  <a:pt x="942976" y="634365"/>
                </a:lnTo>
                <a:cubicBezTo>
                  <a:pt x="942976" y="462916"/>
                  <a:pt x="805816" y="342900"/>
                  <a:pt x="651511" y="342900"/>
                </a:cubicBezTo>
                <a:close/>
                <a:moveTo>
                  <a:pt x="634366" y="0"/>
                </a:moveTo>
                <a:lnTo>
                  <a:pt x="651510" y="1733"/>
                </a:lnTo>
                <a:lnTo>
                  <a:pt x="764996" y="13195"/>
                </a:lnTo>
                <a:cubicBezTo>
                  <a:pt x="922341" y="45592"/>
                  <a:pt x="1055669" y="135440"/>
                  <a:pt x="1145556" y="258015"/>
                </a:cubicBezTo>
                <a:cubicBezTo>
                  <a:pt x="1055669" y="135440"/>
                  <a:pt x="922341" y="45592"/>
                  <a:pt x="764996" y="13194"/>
                </a:cubicBezTo>
                <a:lnTo>
                  <a:pt x="651510" y="1733"/>
                </a:lnTo>
                <a:lnTo>
                  <a:pt x="651510" y="0"/>
                </a:lnTo>
                <a:lnTo>
                  <a:pt x="4852036" y="0"/>
                </a:lnTo>
                <a:cubicBezTo>
                  <a:pt x="5194936" y="0"/>
                  <a:pt x="5486401" y="291465"/>
                  <a:pt x="5486401" y="634365"/>
                </a:cubicBezTo>
                <a:lnTo>
                  <a:pt x="5486401" y="5486400"/>
                </a:lnTo>
                <a:lnTo>
                  <a:pt x="942975" y="5486400"/>
                </a:lnTo>
                <a:lnTo>
                  <a:pt x="942975" y="2023112"/>
                </a:lnTo>
                <a:lnTo>
                  <a:pt x="0" y="2023112"/>
                </a:lnTo>
                <a:lnTo>
                  <a:pt x="0" y="634365"/>
                </a:lnTo>
                <a:cubicBezTo>
                  <a:pt x="0" y="291466"/>
                  <a:pt x="291465" y="0"/>
                  <a:pt x="634366" y="0"/>
                </a:cubicBezTo>
                <a:close/>
              </a:path>
            </a:pathLst>
          </a:custGeom>
          <a:solidFill>
            <a:schemeClr val="tx1">
              <a:lumMod val="60000"/>
              <a:lumOff val="40000"/>
            </a:scheme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 name="Freeform: Shape 62">
            <a:extLst>
              <a:ext uri="{FF2B5EF4-FFF2-40B4-BE49-F238E27FC236}">
                <a16:creationId xmlns:a16="http://schemas.microsoft.com/office/drawing/2014/main" id="{8BFBDE5D-FB3E-4DD8-99EA-BC83174E7999}"/>
              </a:ext>
            </a:extLst>
          </p:cNvPr>
          <p:cNvSpPr/>
          <p:nvPr/>
        </p:nvSpPr>
        <p:spPr>
          <a:xfrm>
            <a:off x="1496394" y="1076869"/>
            <a:ext cx="201918" cy="193225"/>
          </a:xfrm>
          <a:custGeom>
            <a:avLst/>
            <a:gdLst>
              <a:gd name="connsiteX0" fmla="*/ 1457325 w 4269105"/>
              <a:gd name="connsiteY0" fmla="*/ 3240405 h 4457701"/>
              <a:gd name="connsiteX1" fmla="*/ 1800225 w 4269105"/>
              <a:gd name="connsiteY1" fmla="*/ 3240405 h 4457701"/>
              <a:gd name="connsiteX2" fmla="*/ 1800225 w 4269105"/>
              <a:gd name="connsiteY2" fmla="*/ 4457701 h 4457701"/>
              <a:gd name="connsiteX3" fmla="*/ 1457325 w 4269105"/>
              <a:gd name="connsiteY3" fmla="*/ 4457701 h 4457701"/>
              <a:gd name="connsiteX4" fmla="*/ 2280285 w 4269105"/>
              <a:gd name="connsiteY4" fmla="*/ 3034665 h 4457701"/>
              <a:gd name="connsiteX5" fmla="*/ 2623185 w 4269105"/>
              <a:gd name="connsiteY5" fmla="*/ 3034665 h 4457701"/>
              <a:gd name="connsiteX6" fmla="*/ 2623185 w 4269105"/>
              <a:gd name="connsiteY6" fmla="*/ 4440556 h 4457701"/>
              <a:gd name="connsiteX7" fmla="*/ 2280285 w 4269105"/>
              <a:gd name="connsiteY7" fmla="*/ 4440556 h 4457701"/>
              <a:gd name="connsiteX8" fmla="*/ 3103245 w 4269105"/>
              <a:gd name="connsiteY8" fmla="*/ 2657475 h 4457701"/>
              <a:gd name="connsiteX9" fmla="*/ 3446145 w 4269105"/>
              <a:gd name="connsiteY9" fmla="*/ 2657475 h 4457701"/>
              <a:gd name="connsiteX10" fmla="*/ 3446145 w 4269105"/>
              <a:gd name="connsiteY10" fmla="*/ 4440555 h 4457701"/>
              <a:gd name="connsiteX11" fmla="*/ 3103245 w 4269105"/>
              <a:gd name="connsiteY11" fmla="*/ 4440555 h 4457701"/>
              <a:gd name="connsiteX12" fmla="*/ 3926205 w 4269105"/>
              <a:gd name="connsiteY12" fmla="*/ 2280285 h 4457701"/>
              <a:gd name="connsiteX13" fmla="*/ 4269105 w 4269105"/>
              <a:gd name="connsiteY13" fmla="*/ 2280285 h 4457701"/>
              <a:gd name="connsiteX14" fmla="*/ 4269105 w 4269105"/>
              <a:gd name="connsiteY14" fmla="*/ 4440556 h 4457701"/>
              <a:gd name="connsiteX15" fmla="*/ 3926205 w 4269105"/>
              <a:gd name="connsiteY15" fmla="*/ 4440556 h 4457701"/>
              <a:gd name="connsiteX16" fmla="*/ 308611 w 4269105"/>
              <a:gd name="connsiteY16" fmla="*/ 0 h 4457701"/>
              <a:gd name="connsiteX17" fmla="*/ 365436 w 4269105"/>
              <a:gd name="connsiteY17" fmla="*/ 5492 h 4457701"/>
              <a:gd name="connsiteX18" fmla="*/ 600075 w 4269105"/>
              <a:gd name="connsiteY18" fmla="*/ 291465 h 4457701"/>
              <a:gd name="connsiteX19" fmla="*/ 600075 w 4269105"/>
              <a:gd name="connsiteY19" fmla="*/ 1337311 h 4457701"/>
              <a:gd name="connsiteX20" fmla="*/ 0 w 4269105"/>
              <a:gd name="connsiteY20" fmla="*/ 1337311 h 4457701"/>
              <a:gd name="connsiteX21" fmla="*/ 0 w 4269105"/>
              <a:gd name="connsiteY21" fmla="*/ 291465 h 4457701"/>
              <a:gd name="connsiteX22" fmla="*/ 246125 w 4269105"/>
              <a:gd name="connsiteY22" fmla="*/ 6195 h 445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69105" h="4457701">
                <a:moveTo>
                  <a:pt x="1457325" y="3240405"/>
                </a:moveTo>
                <a:lnTo>
                  <a:pt x="1800225" y="3240405"/>
                </a:lnTo>
                <a:lnTo>
                  <a:pt x="1800225" y="4457701"/>
                </a:lnTo>
                <a:lnTo>
                  <a:pt x="1457325" y="4457701"/>
                </a:lnTo>
                <a:close/>
                <a:moveTo>
                  <a:pt x="2280285" y="3034665"/>
                </a:moveTo>
                <a:lnTo>
                  <a:pt x="2623185" y="3034665"/>
                </a:lnTo>
                <a:lnTo>
                  <a:pt x="2623185" y="4440556"/>
                </a:lnTo>
                <a:lnTo>
                  <a:pt x="2280285" y="4440556"/>
                </a:lnTo>
                <a:close/>
                <a:moveTo>
                  <a:pt x="3103245" y="2657475"/>
                </a:moveTo>
                <a:lnTo>
                  <a:pt x="3446145" y="2657475"/>
                </a:lnTo>
                <a:lnTo>
                  <a:pt x="3446145" y="4440555"/>
                </a:lnTo>
                <a:lnTo>
                  <a:pt x="3103245" y="4440555"/>
                </a:lnTo>
                <a:close/>
                <a:moveTo>
                  <a:pt x="3926205" y="2280285"/>
                </a:moveTo>
                <a:lnTo>
                  <a:pt x="4269105" y="2280285"/>
                </a:lnTo>
                <a:lnTo>
                  <a:pt x="4269105" y="4440556"/>
                </a:lnTo>
                <a:lnTo>
                  <a:pt x="3926205" y="4440556"/>
                </a:lnTo>
                <a:close/>
                <a:moveTo>
                  <a:pt x="308611" y="0"/>
                </a:moveTo>
                <a:lnTo>
                  <a:pt x="365436" y="5492"/>
                </a:lnTo>
                <a:cubicBezTo>
                  <a:pt x="495062" y="30807"/>
                  <a:pt x="600075" y="141446"/>
                  <a:pt x="600075" y="291465"/>
                </a:cubicBezTo>
                <a:lnTo>
                  <a:pt x="600075" y="1337311"/>
                </a:lnTo>
                <a:lnTo>
                  <a:pt x="0" y="1337311"/>
                </a:lnTo>
                <a:lnTo>
                  <a:pt x="0" y="291465"/>
                </a:lnTo>
                <a:cubicBezTo>
                  <a:pt x="0" y="156448"/>
                  <a:pt x="105014" y="34558"/>
                  <a:pt x="246125" y="6195"/>
                </a:cubicBezTo>
                <a:close/>
              </a:path>
            </a:pathLst>
          </a:custGeom>
          <a:solidFill>
            <a:schemeClr val="tx1">
              <a:lumMod val="60000"/>
              <a:lumOff val="40000"/>
            </a:scheme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 name="Freeform 30">
            <a:extLst>
              <a:ext uri="{FF2B5EF4-FFF2-40B4-BE49-F238E27FC236}">
                <a16:creationId xmlns:a16="http://schemas.microsoft.com/office/drawing/2014/main" id="{AD82E1C9-918C-D66D-B346-7F836F9FC362}"/>
              </a:ext>
            </a:extLst>
          </p:cNvPr>
          <p:cNvSpPr/>
          <p:nvPr/>
        </p:nvSpPr>
        <p:spPr>
          <a:xfrm>
            <a:off x="641145" y="2090327"/>
            <a:ext cx="2063418" cy="962846"/>
          </a:xfrm>
          <a:prstGeom prst="notchedRightArrow">
            <a:avLst/>
          </a:prstGeom>
          <a:solidFill>
            <a:srgbClr val="FFFFFF"/>
          </a:solidFill>
          <a:ln w="12700" cap="flat" cmpd="sng" algn="ctr">
            <a:noFill/>
            <a:prstDash val="solid"/>
            <a:miter lim="800000"/>
          </a:ln>
          <a:effectLst>
            <a:outerShdw blurRad="25400" dist="12700" dir="2700000" algn="tl" rotWithShape="0">
              <a:prstClr val="black">
                <a:alpha val="20000"/>
              </a:prstClr>
            </a:outerShdw>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cs typeface="+mn-cs"/>
            </a:endParaRPr>
          </a:p>
        </p:txBody>
      </p:sp>
      <p:sp>
        <p:nvSpPr>
          <p:cNvPr id="65" name="Freeform 28">
            <a:extLst>
              <a:ext uri="{FF2B5EF4-FFF2-40B4-BE49-F238E27FC236}">
                <a16:creationId xmlns:a16="http://schemas.microsoft.com/office/drawing/2014/main" id="{B64AB1E1-0503-4243-7A8D-35147B89897B}"/>
              </a:ext>
            </a:extLst>
          </p:cNvPr>
          <p:cNvSpPr/>
          <p:nvPr/>
        </p:nvSpPr>
        <p:spPr>
          <a:xfrm>
            <a:off x="641145" y="2180776"/>
            <a:ext cx="2002958" cy="808343"/>
          </a:xfrm>
          <a:prstGeom prst="notchedRightArrow">
            <a:avLst/>
          </a:prstGeom>
          <a:solidFill>
            <a:srgbClr val="1C345E"/>
          </a:solidFill>
          <a:ln w="12700" cap="flat" cmpd="sng" algn="ctr">
            <a:noFill/>
            <a:prstDash val="solid"/>
            <a:miter lim="800000"/>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Calibri" panose="020F0502020204030204"/>
              <a:cs typeface="+mn-cs"/>
            </a:endParaRPr>
          </a:p>
        </p:txBody>
      </p:sp>
      <p:sp>
        <p:nvSpPr>
          <p:cNvPr id="66" name="TextBox 65">
            <a:extLst>
              <a:ext uri="{FF2B5EF4-FFF2-40B4-BE49-F238E27FC236}">
                <a16:creationId xmlns:a16="http://schemas.microsoft.com/office/drawing/2014/main" id="{34C9B448-375C-308F-3C00-69F4F2299D0A}"/>
              </a:ext>
            </a:extLst>
          </p:cNvPr>
          <p:cNvSpPr txBox="1"/>
          <p:nvPr/>
        </p:nvSpPr>
        <p:spPr>
          <a:xfrm>
            <a:off x="948043" y="2376424"/>
            <a:ext cx="1506392" cy="400110"/>
          </a:xfrm>
          <a:prstGeom prst="rect">
            <a:avLst/>
          </a:prstGeom>
          <a:noFill/>
        </p:spPr>
        <p:txBody>
          <a:bodyPr wrap="square" rtlCol="0" anchor="ctr">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rPr>
              <a:t>Break Down the Business Question</a:t>
            </a:r>
          </a:p>
        </p:txBody>
      </p:sp>
      <p:sp>
        <p:nvSpPr>
          <p:cNvPr id="67" name="Rectangle 66">
            <a:extLst>
              <a:ext uri="{FF2B5EF4-FFF2-40B4-BE49-F238E27FC236}">
                <a16:creationId xmlns:a16="http://schemas.microsoft.com/office/drawing/2014/main" id="{63EFB977-2380-9948-9948-016B294A1A6E}"/>
              </a:ext>
            </a:extLst>
          </p:cNvPr>
          <p:cNvSpPr/>
          <p:nvPr/>
        </p:nvSpPr>
        <p:spPr>
          <a:xfrm rot="5400000" flipH="1">
            <a:off x="1349997" y="1863067"/>
            <a:ext cx="516494" cy="563573"/>
          </a:xfrm>
          <a:prstGeom prst="rect">
            <a:avLst/>
          </a:prstGeom>
          <a:solidFill>
            <a:srgbClr val="1C345E"/>
          </a:solidFill>
          <a:ln w="6350" cap="flat" cmpd="sng" algn="ctr">
            <a:solidFill>
              <a:srgbClr val="1C345E"/>
            </a:solid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8" name="Rectangle 67">
            <a:extLst>
              <a:ext uri="{FF2B5EF4-FFF2-40B4-BE49-F238E27FC236}">
                <a16:creationId xmlns:a16="http://schemas.microsoft.com/office/drawing/2014/main" id="{F1906F99-5B92-3A89-54C6-F55921D2D234}"/>
              </a:ext>
            </a:extLst>
          </p:cNvPr>
          <p:cNvSpPr/>
          <p:nvPr/>
        </p:nvSpPr>
        <p:spPr>
          <a:xfrm flipH="1">
            <a:off x="1372511" y="1932662"/>
            <a:ext cx="478741" cy="438745"/>
          </a:xfrm>
          <a:prstGeom prst="rect">
            <a:avLst/>
          </a:prstGeom>
          <a:solidFill>
            <a:srgbClr val="FFFFFF"/>
          </a:solidFill>
          <a:ln w="6350" cap="flat" cmpd="sng" algn="ctr">
            <a:solidFill>
              <a:srgbClr val="1C345E"/>
            </a:solidFill>
            <a:prstDash val="solid"/>
            <a:miter lim="800000"/>
          </a:ln>
          <a:effectLst>
            <a:outerShdw blurRad="63500" sx="102000" sy="102000" algn="ctr" rotWithShape="0">
              <a:prstClr val="black">
                <a:alpha val="10000"/>
              </a:prstClr>
            </a:outerShdw>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9" name="Freeform: Shape 68">
            <a:extLst>
              <a:ext uri="{FF2B5EF4-FFF2-40B4-BE49-F238E27FC236}">
                <a16:creationId xmlns:a16="http://schemas.microsoft.com/office/drawing/2014/main" id="{B3FD2103-CE9C-0DCD-08A8-F7CB1A632C3C}"/>
              </a:ext>
            </a:extLst>
          </p:cNvPr>
          <p:cNvSpPr/>
          <p:nvPr/>
        </p:nvSpPr>
        <p:spPr>
          <a:xfrm>
            <a:off x="1523208" y="2012414"/>
            <a:ext cx="201174" cy="141487"/>
          </a:xfrm>
          <a:custGeom>
            <a:avLst/>
            <a:gdLst>
              <a:gd name="connsiteX0" fmla="*/ 77650 w 3123639"/>
              <a:gd name="connsiteY0" fmla="*/ 1949367 h 2397124"/>
              <a:gd name="connsiteX1" fmla="*/ 3045989 w 3123639"/>
              <a:gd name="connsiteY1" fmla="*/ 1949367 h 2397124"/>
              <a:gd name="connsiteX2" fmla="*/ 3123639 w 3123639"/>
              <a:gd name="connsiteY2" fmla="*/ 2027017 h 2397124"/>
              <a:gd name="connsiteX3" fmla="*/ 3123601 w 3123639"/>
              <a:gd name="connsiteY3" fmla="*/ 2397124 h 2397124"/>
              <a:gd name="connsiteX4" fmla="*/ 0 w 3123639"/>
              <a:gd name="connsiteY4" fmla="*/ 2397124 h 2397124"/>
              <a:gd name="connsiteX5" fmla="*/ 0 w 3123639"/>
              <a:gd name="connsiteY5" fmla="*/ 2027017 h 2397124"/>
              <a:gd name="connsiteX6" fmla="*/ 77650 w 3123639"/>
              <a:gd name="connsiteY6" fmla="*/ 1949367 h 2397124"/>
              <a:gd name="connsiteX7" fmla="*/ 363671 w 3123639"/>
              <a:gd name="connsiteY7" fmla="*/ 577180 h 2397124"/>
              <a:gd name="connsiteX8" fmla="*/ 507258 w 3123639"/>
              <a:gd name="connsiteY8" fmla="*/ 720728 h 2397124"/>
              <a:gd name="connsiteX9" fmla="*/ 507258 w 3123639"/>
              <a:gd name="connsiteY9" fmla="*/ 1059690 h 2397124"/>
              <a:gd name="connsiteX10" fmla="*/ 363671 w 3123639"/>
              <a:gd name="connsiteY10" fmla="*/ 1203355 h 2397124"/>
              <a:gd name="connsiteX11" fmla="*/ 220084 w 3123639"/>
              <a:gd name="connsiteY11" fmla="*/ 1059690 h 2397124"/>
              <a:gd name="connsiteX12" fmla="*/ 220084 w 3123639"/>
              <a:gd name="connsiteY12" fmla="*/ 720728 h 2397124"/>
              <a:gd name="connsiteX13" fmla="*/ 363671 w 3123639"/>
              <a:gd name="connsiteY13" fmla="*/ 577180 h 2397124"/>
              <a:gd name="connsiteX14" fmla="*/ 1961096 w 3123639"/>
              <a:gd name="connsiteY14" fmla="*/ 0 h 2397124"/>
              <a:gd name="connsiteX15" fmla="*/ 2104683 w 3123639"/>
              <a:gd name="connsiteY15" fmla="*/ 143665 h 2397124"/>
              <a:gd name="connsiteX16" fmla="*/ 2104683 w 3123639"/>
              <a:gd name="connsiteY16" fmla="*/ 1274647 h 2397124"/>
              <a:gd name="connsiteX17" fmla="*/ 1961096 w 3123639"/>
              <a:gd name="connsiteY17" fmla="*/ 1418312 h 2397124"/>
              <a:gd name="connsiteX18" fmla="*/ 1817509 w 3123639"/>
              <a:gd name="connsiteY18" fmla="*/ 1274647 h 2397124"/>
              <a:gd name="connsiteX19" fmla="*/ 1817509 w 3123639"/>
              <a:gd name="connsiteY19" fmla="*/ 143665 h 2397124"/>
              <a:gd name="connsiteX20" fmla="*/ 1961096 w 3123639"/>
              <a:gd name="connsiteY20" fmla="*/ 0 h 2397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23639" h="2397124">
                <a:moveTo>
                  <a:pt x="77650" y="1949367"/>
                </a:moveTo>
                <a:lnTo>
                  <a:pt x="3045989" y="1949367"/>
                </a:lnTo>
                <a:cubicBezTo>
                  <a:pt x="3088813" y="1949367"/>
                  <a:pt x="3123639" y="1984231"/>
                  <a:pt x="3123639" y="2027017"/>
                </a:cubicBezTo>
                <a:lnTo>
                  <a:pt x="3123601" y="2397124"/>
                </a:lnTo>
                <a:lnTo>
                  <a:pt x="0" y="2397124"/>
                </a:lnTo>
                <a:lnTo>
                  <a:pt x="0" y="2027017"/>
                </a:lnTo>
                <a:cubicBezTo>
                  <a:pt x="0" y="1984269"/>
                  <a:pt x="34826" y="1949367"/>
                  <a:pt x="77650" y="1949367"/>
                </a:cubicBezTo>
                <a:close/>
                <a:moveTo>
                  <a:pt x="363671" y="577180"/>
                </a:moveTo>
                <a:cubicBezTo>
                  <a:pt x="442890" y="577180"/>
                  <a:pt x="507258" y="641588"/>
                  <a:pt x="507258" y="720728"/>
                </a:cubicBezTo>
                <a:lnTo>
                  <a:pt x="507258" y="1059690"/>
                </a:lnTo>
                <a:cubicBezTo>
                  <a:pt x="507258" y="1138947"/>
                  <a:pt x="442850" y="1203355"/>
                  <a:pt x="363671" y="1203355"/>
                </a:cubicBezTo>
                <a:cubicBezTo>
                  <a:pt x="284452" y="1203355"/>
                  <a:pt x="220084" y="1138947"/>
                  <a:pt x="220084" y="1059690"/>
                </a:cubicBezTo>
                <a:lnTo>
                  <a:pt x="220084" y="720728"/>
                </a:lnTo>
                <a:cubicBezTo>
                  <a:pt x="220084" y="641585"/>
                  <a:pt x="284493" y="577180"/>
                  <a:pt x="363671" y="577180"/>
                </a:cubicBezTo>
                <a:close/>
                <a:moveTo>
                  <a:pt x="1961096" y="0"/>
                </a:moveTo>
                <a:cubicBezTo>
                  <a:pt x="2040315" y="0"/>
                  <a:pt x="2104683" y="64408"/>
                  <a:pt x="2104683" y="143665"/>
                </a:cubicBezTo>
                <a:lnTo>
                  <a:pt x="2104683" y="1274647"/>
                </a:lnTo>
                <a:cubicBezTo>
                  <a:pt x="2104683" y="1353904"/>
                  <a:pt x="2040274" y="1418312"/>
                  <a:pt x="1961096" y="1418312"/>
                </a:cubicBezTo>
                <a:cubicBezTo>
                  <a:pt x="1881877" y="1418312"/>
                  <a:pt x="1817509" y="1353904"/>
                  <a:pt x="1817509" y="1274647"/>
                </a:cubicBezTo>
                <a:lnTo>
                  <a:pt x="1817509" y="143665"/>
                </a:lnTo>
                <a:cubicBezTo>
                  <a:pt x="1817509" y="64408"/>
                  <a:pt x="1881917" y="0"/>
                  <a:pt x="1961096" y="0"/>
                </a:cubicBezTo>
                <a:close/>
              </a:path>
            </a:pathLst>
          </a:custGeom>
          <a:solidFill>
            <a:srgbClr val="1C345E"/>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0" name="Freeform: Shape 69">
            <a:extLst>
              <a:ext uri="{FF2B5EF4-FFF2-40B4-BE49-F238E27FC236}">
                <a16:creationId xmlns:a16="http://schemas.microsoft.com/office/drawing/2014/main" id="{C95AD599-CFB9-F485-9BB2-176E41375824}"/>
              </a:ext>
            </a:extLst>
          </p:cNvPr>
          <p:cNvSpPr/>
          <p:nvPr/>
        </p:nvSpPr>
        <p:spPr>
          <a:xfrm>
            <a:off x="1512347" y="2001556"/>
            <a:ext cx="221172" cy="322450"/>
          </a:xfrm>
          <a:custGeom>
            <a:avLst/>
            <a:gdLst>
              <a:gd name="connsiteX0" fmla="*/ 1725087 w 3434154"/>
              <a:gd name="connsiteY0" fmla="*/ 4108496 h 5463085"/>
              <a:gd name="connsiteX1" fmla="*/ 1794473 w 3434154"/>
              <a:gd name="connsiteY1" fmla="*/ 4145199 h 5463085"/>
              <a:gd name="connsiteX2" fmla="*/ 1794473 w 3434154"/>
              <a:gd name="connsiteY2" fmla="*/ 5337800 h 5463085"/>
              <a:gd name="connsiteX3" fmla="*/ 2060452 w 3434154"/>
              <a:gd name="connsiteY3" fmla="*/ 5197105 h 5463085"/>
              <a:gd name="connsiteX4" fmla="*/ 2058597 w 3434154"/>
              <a:gd name="connsiteY4" fmla="*/ 5197105 h 5463085"/>
              <a:gd name="connsiteX5" fmla="*/ 2156896 w 3434154"/>
              <a:gd name="connsiteY5" fmla="*/ 5197236 h 5463085"/>
              <a:gd name="connsiteX6" fmla="*/ 2156669 w 3434154"/>
              <a:gd name="connsiteY6" fmla="*/ 5249233 h 5463085"/>
              <a:gd name="connsiteX7" fmla="*/ 1772276 w 3434154"/>
              <a:gd name="connsiteY7" fmla="*/ 5452325 h 5463085"/>
              <a:gd name="connsiteX8" fmla="*/ 1749601 w 3434154"/>
              <a:gd name="connsiteY8" fmla="*/ 5460398 h 5463085"/>
              <a:gd name="connsiteX9" fmla="*/ 1698718 w 3434154"/>
              <a:gd name="connsiteY9" fmla="*/ 5460398 h 5463085"/>
              <a:gd name="connsiteX10" fmla="*/ 1676064 w 3434154"/>
              <a:gd name="connsiteY10" fmla="*/ 5452325 h 5463085"/>
              <a:gd name="connsiteX11" fmla="*/ 1676043 w 3434154"/>
              <a:gd name="connsiteY11" fmla="*/ 5452325 h 5463085"/>
              <a:gd name="connsiteX12" fmla="*/ 1291650 w 3434154"/>
              <a:gd name="connsiteY12" fmla="*/ 5249233 h 5463085"/>
              <a:gd name="connsiteX13" fmla="*/ 1291423 w 3434154"/>
              <a:gd name="connsiteY13" fmla="*/ 5197236 h 5463085"/>
              <a:gd name="connsiteX14" fmla="*/ 1389722 w 3434154"/>
              <a:gd name="connsiteY14" fmla="*/ 5197105 h 5463085"/>
              <a:gd name="connsiteX15" fmla="*/ 1655700 w 3434154"/>
              <a:gd name="connsiteY15" fmla="*/ 5337800 h 5463085"/>
              <a:gd name="connsiteX16" fmla="*/ 1655700 w 3434154"/>
              <a:gd name="connsiteY16" fmla="*/ 4145199 h 5463085"/>
              <a:gd name="connsiteX17" fmla="*/ 1725087 w 3434154"/>
              <a:gd name="connsiteY17" fmla="*/ 4108496 h 5463085"/>
              <a:gd name="connsiteX18" fmla="*/ 2420520 w 3434154"/>
              <a:gd name="connsiteY18" fmla="*/ 2966601 h 5463085"/>
              <a:gd name="connsiteX19" fmla="*/ 2476451 w 3434154"/>
              <a:gd name="connsiteY19" fmla="*/ 2986502 h 5463085"/>
              <a:gd name="connsiteX20" fmla="*/ 2476454 w 3434154"/>
              <a:gd name="connsiteY20" fmla="*/ 2986502 h 5463085"/>
              <a:gd name="connsiteX21" fmla="*/ 2482004 w 3434154"/>
              <a:gd name="connsiteY21" fmla="*/ 3096181 h 5463085"/>
              <a:gd name="connsiteX22" fmla="*/ 2093145 w 3434154"/>
              <a:gd name="connsiteY22" fmla="*/ 3526717 h 5463085"/>
              <a:gd name="connsiteX23" fmla="*/ 2035510 w 3434154"/>
              <a:gd name="connsiteY23" fmla="*/ 3552282 h 5463085"/>
              <a:gd name="connsiteX24" fmla="*/ 1983463 w 3434154"/>
              <a:gd name="connsiteY24" fmla="*/ 3532266 h 5463085"/>
              <a:gd name="connsiteX25" fmla="*/ 1977914 w 3434154"/>
              <a:gd name="connsiteY25" fmla="*/ 3422587 h 5463085"/>
              <a:gd name="connsiteX26" fmla="*/ 2366772 w 3434154"/>
              <a:gd name="connsiteY26" fmla="*/ 2992051 h 5463085"/>
              <a:gd name="connsiteX27" fmla="*/ 2420520 w 3434154"/>
              <a:gd name="connsiteY27" fmla="*/ 2966601 h 5463085"/>
              <a:gd name="connsiteX28" fmla="*/ 1013749 w 3434154"/>
              <a:gd name="connsiteY28" fmla="*/ 2966522 h 5463085"/>
              <a:gd name="connsiteX29" fmla="*/ 1067426 w 3434154"/>
              <a:gd name="connsiteY29" fmla="*/ 2992087 h 5463085"/>
              <a:gd name="connsiteX30" fmla="*/ 1456288 w 3434154"/>
              <a:gd name="connsiteY30" fmla="*/ 3422623 h 5463085"/>
              <a:gd name="connsiteX31" fmla="*/ 1450738 w 3434154"/>
              <a:gd name="connsiteY31" fmla="*/ 3532302 h 5463085"/>
              <a:gd name="connsiteX32" fmla="*/ 1398691 w 3434154"/>
              <a:gd name="connsiteY32" fmla="*/ 3552318 h 5463085"/>
              <a:gd name="connsiteX33" fmla="*/ 1341057 w 3434154"/>
              <a:gd name="connsiteY33" fmla="*/ 3526753 h 5463085"/>
              <a:gd name="connsiteX34" fmla="*/ 952198 w 3434154"/>
              <a:gd name="connsiteY34" fmla="*/ 3096217 h 5463085"/>
              <a:gd name="connsiteX35" fmla="*/ 957747 w 3434154"/>
              <a:gd name="connsiteY35" fmla="*/ 2986538 h 5463085"/>
              <a:gd name="connsiteX36" fmla="*/ 1013749 w 3434154"/>
              <a:gd name="connsiteY36" fmla="*/ 2966522 h 5463085"/>
              <a:gd name="connsiteX37" fmla="*/ 232961 w 3434154"/>
              <a:gd name="connsiteY37" fmla="*/ 2104650 h 5463085"/>
              <a:gd name="connsiteX38" fmla="*/ 155311 w 3434154"/>
              <a:gd name="connsiteY38" fmla="*/ 2182300 h 5463085"/>
              <a:gd name="connsiteX39" fmla="*/ 155311 w 3434154"/>
              <a:gd name="connsiteY39" fmla="*/ 2552407 h 5463085"/>
              <a:gd name="connsiteX40" fmla="*/ 3278912 w 3434154"/>
              <a:gd name="connsiteY40" fmla="*/ 2552407 h 5463085"/>
              <a:gd name="connsiteX41" fmla="*/ 3278950 w 3434154"/>
              <a:gd name="connsiteY41" fmla="*/ 2182300 h 5463085"/>
              <a:gd name="connsiteX42" fmla="*/ 3201300 w 3434154"/>
              <a:gd name="connsiteY42" fmla="*/ 2104650 h 5463085"/>
              <a:gd name="connsiteX43" fmla="*/ 232907 w 3434154"/>
              <a:gd name="connsiteY43" fmla="*/ 1949430 h 5463085"/>
              <a:gd name="connsiteX44" fmla="*/ 3201246 w 3434154"/>
              <a:gd name="connsiteY44" fmla="*/ 1949430 h 5463085"/>
              <a:gd name="connsiteX45" fmla="*/ 3434154 w 3434154"/>
              <a:gd name="connsiteY45" fmla="*/ 2182337 h 5463085"/>
              <a:gd name="connsiteX46" fmla="*/ 3434154 w 3434154"/>
              <a:gd name="connsiteY46" fmla="*/ 2630057 h 5463085"/>
              <a:gd name="connsiteX47" fmla="*/ 3433044 w 3434154"/>
              <a:gd name="connsiteY47" fmla="*/ 2635568 h 5463085"/>
              <a:gd name="connsiteX48" fmla="*/ 3433032 w 3434154"/>
              <a:gd name="connsiteY48" fmla="*/ 2635626 h 5463085"/>
              <a:gd name="connsiteX49" fmla="*/ 3429320 w 3434154"/>
              <a:gd name="connsiteY49" fmla="*/ 2653995 h 5463085"/>
              <a:gd name="connsiteX50" fmla="*/ 3426794 w 3434154"/>
              <a:gd name="connsiteY50" fmla="*/ 2662185 h 5463085"/>
              <a:gd name="connsiteX51" fmla="*/ 3413897 w 3434154"/>
              <a:gd name="connsiteY51" fmla="*/ 2682163 h 5463085"/>
              <a:gd name="connsiteX52" fmla="*/ 3411639 w 3434154"/>
              <a:gd name="connsiteY52" fmla="*/ 2684650 h 5463085"/>
              <a:gd name="connsiteX53" fmla="*/ 3411218 w 3434154"/>
              <a:gd name="connsiteY53" fmla="*/ 2685148 h 5463085"/>
              <a:gd name="connsiteX54" fmla="*/ 2400446 w 3434154"/>
              <a:gd name="connsiteY54" fmla="*/ 3804275 h 5463085"/>
              <a:gd name="connsiteX55" fmla="*/ 2252265 w 3434154"/>
              <a:gd name="connsiteY55" fmla="*/ 4189421 h 5463085"/>
              <a:gd name="connsiteX56" fmla="*/ 2252265 w 3434154"/>
              <a:gd name="connsiteY56" fmla="*/ 4839549 h 5463085"/>
              <a:gd name="connsiteX57" fmla="*/ 2174614 w 3434154"/>
              <a:gd name="connsiteY57" fmla="*/ 4917200 h 5463085"/>
              <a:gd name="connsiteX58" fmla="*/ 2096964 w 3434154"/>
              <a:gd name="connsiteY58" fmla="*/ 4839549 h 5463085"/>
              <a:gd name="connsiteX59" fmla="*/ 2096964 w 3434154"/>
              <a:gd name="connsiteY59" fmla="*/ 4189460 h 5463085"/>
              <a:gd name="connsiteX60" fmla="*/ 2285177 w 3434154"/>
              <a:gd name="connsiteY60" fmla="*/ 3700181 h 5463085"/>
              <a:gd name="connsiteX61" fmla="*/ 3181498 w 3434154"/>
              <a:gd name="connsiteY61" fmla="*/ 2707730 h 5463085"/>
              <a:gd name="connsiteX62" fmla="*/ 252642 w 3434154"/>
              <a:gd name="connsiteY62" fmla="*/ 2707730 h 5463085"/>
              <a:gd name="connsiteX63" fmla="*/ 1149003 w 3434154"/>
              <a:gd name="connsiteY63" fmla="*/ 3700083 h 5463085"/>
              <a:gd name="connsiteX64" fmla="*/ 1337215 w 3434154"/>
              <a:gd name="connsiteY64" fmla="*/ 4189362 h 5463085"/>
              <a:gd name="connsiteX65" fmla="*/ 1337215 w 3434154"/>
              <a:gd name="connsiteY65" fmla="*/ 4839490 h 5463085"/>
              <a:gd name="connsiteX66" fmla="*/ 1259565 w 3434154"/>
              <a:gd name="connsiteY66" fmla="*/ 4917140 h 5463085"/>
              <a:gd name="connsiteX67" fmla="*/ 1181915 w 3434154"/>
              <a:gd name="connsiteY67" fmla="*/ 4839490 h 5463085"/>
              <a:gd name="connsiteX68" fmla="*/ 1181877 w 3434154"/>
              <a:gd name="connsiteY68" fmla="*/ 4189401 h 5463085"/>
              <a:gd name="connsiteX69" fmla="*/ 1033695 w 3434154"/>
              <a:gd name="connsiteY69" fmla="*/ 3804256 h 5463085"/>
              <a:gd name="connsiteX70" fmla="*/ 22924 w 3434154"/>
              <a:gd name="connsiteY70" fmla="*/ 2685128 h 5463085"/>
              <a:gd name="connsiteX71" fmla="*/ 22503 w 3434154"/>
              <a:gd name="connsiteY71" fmla="*/ 2684630 h 5463085"/>
              <a:gd name="connsiteX72" fmla="*/ 20245 w 3434154"/>
              <a:gd name="connsiteY72" fmla="*/ 2682143 h 5463085"/>
              <a:gd name="connsiteX73" fmla="*/ 7348 w 3434154"/>
              <a:gd name="connsiteY73" fmla="*/ 2662166 h 5463085"/>
              <a:gd name="connsiteX74" fmla="*/ 4822 w 3434154"/>
              <a:gd name="connsiteY74" fmla="*/ 2653976 h 5463085"/>
              <a:gd name="connsiteX75" fmla="*/ 1110 w 3434154"/>
              <a:gd name="connsiteY75" fmla="*/ 2635568 h 5463085"/>
              <a:gd name="connsiteX76" fmla="*/ 0 w 3434154"/>
              <a:gd name="connsiteY76" fmla="*/ 2630057 h 5463085"/>
              <a:gd name="connsiteX77" fmla="*/ 0 w 3434154"/>
              <a:gd name="connsiteY77" fmla="*/ 2182337 h 5463085"/>
              <a:gd name="connsiteX78" fmla="*/ 232907 w 3434154"/>
              <a:gd name="connsiteY78" fmla="*/ 1949430 h 5463085"/>
              <a:gd name="connsiteX79" fmla="*/ 518983 w 3434154"/>
              <a:gd name="connsiteY79" fmla="*/ 732463 h 5463085"/>
              <a:gd name="connsiteX80" fmla="*/ 375396 w 3434154"/>
              <a:gd name="connsiteY80" fmla="*/ 876011 h 5463085"/>
              <a:gd name="connsiteX81" fmla="*/ 375396 w 3434154"/>
              <a:gd name="connsiteY81" fmla="*/ 1214973 h 5463085"/>
              <a:gd name="connsiteX82" fmla="*/ 518983 w 3434154"/>
              <a:gd name="connsiteY82" fmla="*/ 1358638 h 5463085"/>
              <a:gd name="connsiteX83" fmla="*/ 662570 w 3434154"/>
              <a:gd name="connsiteY83" fmla="*/ 1214973 h 5463085"/>
              <a:gd name="connsiteX84" fmla="*/ 662570 w 3434154"/>
              <a:gd name="connsiteY84" fmla="*/ 876011 h 5463085"/>
              <a:gd name="connsiteX85" fmla="*/ 518983 w 3434154"/>
              <a:gd name="connsiteY85" fmla="*/ 732463 h 5463085"/>
              <a:gd name="connsiteX86" fmla="*/ 2915130 w 3434154"/>
              <a:gd name="connsiteY86" fmla="*/ 662531 h 5463085"/>
              <a:gd name="connsiteX87" fmla="*/ 2771543 w 3434154"/>
              <a:gd name="connsiteY87" fmla="*/ 806196 h 5463085"/>
              <a:gd name="connsiteX88" fmla="*/ 2771543 w 3434154"/>
              <a:gd name="connsiteY88" fmla="*/ 1331569 h 5463085"/>
              <a:gd name="connsiteX89" fmla="*/ 2915130 w 3434154"/>
              <a:gd name="connsiteY89" fmla="*/ 1475117 h 5463085"/>
              <a:gd name="connsiteX90" fmla="*/ 3058717 w 3434154"/>
              <a:gd name="connsiteY90" fmla="*/ 1331569 h 5463085"/>
              <a:gd name="connsiteX91" fmla="*/ 3058717 w 3434154"/>
              <a:gd name="connsiteY91" fmla="*/ 806196 h 5463085"/>
              <a:gd name="connsiteX92" fmla="*/ 2915130 w 3434154"/>
              <a:gd name="connsiteY92" fmla="*/ 662531 h 5463085"/>
              <a:gd name="connsiteX93" fmla="*/ 518983 w 3434154"/>
              <a:gd name="connsiteY93" fmla="*/ 577188 h 5463085"/>
              <a:gd name="connsiteX94" fmla="*/ 817874 w 3434154"/>
              <a:gd name="connsiteY94" fmla="*/ 876001 h 5463085"/>
              <a:gd name="connsiteX95" fmla="*/ 817874 w 3434154"/>
              <a:gd name="connsiteY95" fmla="*/ 1214963 h 5463085"/>
              <a:gd name="connsiteX96" fmla="*/ 518983 w 3434154"/>
              <a:gd name="connsiteY96" fmla="*/ 1513894 h 5463085"/>
              <a:gd name="connsiteX97" fmla="*/ 220091 w 3434154"/>
              <a:gd name="connsiteY97" fmla="*/ 1214963 h 5463085"/>
              <a:gd name="connsiteX98" fmla="*/ 220091 w 3434154"/>
              <a:gd name="connsiteY98" fmla="*/ 876001 h 5463085"/>
              <a:gd name="connsiteX99" fmla="*/ 518983 w 3434154"/>
              <a:gd name="connsiteY99" fmla="*/ 577188 h 5463085"/>
              <a:gd name="connsiteX100" fmla="*/ 2915169 w 3434154"/>
              <a:gd name="connsiteY100" fmla="*/ 507266 h 5463085"/>
              <a:gd name="connsiteX101" fmla="*/ 3214060 w 3434154"/>
              <a:gd name="connsiteY101" fmla="*/ 806196 h 5463085"/>
              <a:gd name="connsiteX102" fmla="*/ 3214060 w 3434154"/>
              <a:gd name="connsiteY102" fmla="*/ 1331569 h 5463085"/>
              <a:gd name="connsiteX103" fmla="*/ 2915169 w 3434154"/>
              <a:gd name="connsiteY103" fmla="*/ 1630382 h 5463085"/>
              <a:gd name="connsiteX104" fmla="*/ 2616277 w 3434154"/>
              <a:gd name="connsiteY104" fmla="*/ 1331569 h 5463085"/>
              <a:gd name="connsiteX105" fmla="*/ 2616277 w 3434154"/>
              <a:gd name="connsiteY105" fmla="*/ 806196 h 5463085"/>
              <a:gd name="connsiteX106" fmla="*/ 2915169 w 3434154"/>
              <a:gd name="connsiteY106" fmla="*/ 507266 h 5463085"/>
              <a:gd name="connsiteX107" fmla="*/ 1317705 w 3434154"/>
              <a:gd name="connsiteY107" fmla="*/ 388338 h 5463085"/>
              <a:gd name="connsiteX108" fmla="*/ 1174118 w 3434154"/>
              <a:gd name="connsiteY108" fmla="*/ 531886 h 5463085"/>
              <a:gd name="connsiteX109" fmla="*/ 1174118 w 3434154"/>
              <a:gd name="connsiteY109" fmla="*/ 1033911 h 5463085"/>
              <a:gd name="connsiteX110" fmla="*/ 1317705 w 3434154"/>
              <a:gd name="connsiteY110" fmla="*/ 1177576 h 5463085"/>
              <a:gd name="connsiteX111" fmla="*/ 1461292 w 3434154"/>
              <a:gd name="connsiteY111" fmla="*/ 1033911 h 5463085"/>
              <a:gd name="connsiteX112" fmla="*/ 1461292 w 3434154"/>
              <a:gd name="connsiteY112" fmla="*/ 531886 h 5463085"/>
              <a:gd name="connsiteX113" fmla="*/ 1317705 w 3434154"/>
              <a:gd name="connsiteY113" fmla="*/ 388338 h 5463085"/>
              <a:gd name="connsiteX114" fmla="*/ 1317706 w 3434154"/>
              <a:gd name="connsiteY114" fmla="*/ 233073 h 5463085"/>
              <a:gd name="connsiteX115" fmla="*/ 1616597 w 3434154"/>
              <a:gd name="connsiteY115" fmla="*/ 531886 h 5463085"/>
              <a:gd name="connsiteX116" fmla="*/ 1616636 w 3434154"/>
              <a:gd name="connsiteY116" fmla="*/ 1033911 h 5463085"/>
              <a:gd name="connsiteX117" fmla="*/ 1377899 w 3434154"/>
              <a:gd name="connsiteY117" fmla="*/ 1326758 h 5463085"/>
              <a:gd name="connsiteX118" fmla="*/ 1317745 w 3434154"/>
              <a:gd name="connsiteY118" fmla="*/ 1332841 h 5463085"/>
              <a:gd name="connsiteX119" fmla="*/ 1257587 w 3434154"/>
              <a:gd name="connsiteY119" fmla="*/ 1326760 h 5463085"/>
              <a:gd name="connsiteX120" fmla="*/ 1018814 w 3434154"/>
              <a:gd name="connsiteY120" fmla="*/ 1033911 h 5463085"/>
              <a:gd name="connsiteX121" fmla="*/ 1018814 w 3434154"/>
              <a:gd name="connsiteY121" fmla="*/ 531886 h 5463085"/>
              <a:gd name="connsiteX122" fmla="*/ 1317706 w 3434154"/>
              <a:gd name="connsiteY122" fmla="*/ 233073 h 5463085"/>
              <a:gd name="connsiteX123" fmla="*/ 2116408 w 3434154"/>
              <a:gd name="connsiteY123" fmla="*/ 155285 h 5463085"/>
              <a:gd name="connsiteX124" fmla="*/ 1972821 w 3434154"/>
              <a:gd name="connsiteY124" fmla="*/ 298950 h 5463085"/>
              <a:gd name="connsiteX125" fmla="*/ 1972821 w 3434154"/>
              <a:gd name="connsiteY125" fmla="*/ 1429932 h 5463085"/>
              <a:gd name="connsiteX126" fmla="*/ 2116408 w 3434154"/>
              <a:gd name="connsiteY126" fmla="*/ 1573597 h 5463085"/>
              <a:gd name="connsiteX127" fmla="*/ 2259995 w 3434154"/>
              <a:gd name="connsiteY127" fmla="*/ 1429932 h 5463085"/>
              <a:gd name="connsiteX128" fmla="*/ 2259995 w 3434154"/>
              <a:gd name="connsiteY128" fmla="*/ 298950 h 5463085"/>
              <a:gd name="connsiteX129" fmla="*/ 2116408 w 3434154"/>
              <a:gd name="connsiteY129" fmla="*/ 155285 h 5463085"/>
              <a:gd name="connsiteX130" fmla="*/ 2116408 w 3434154"/>
              <a:gd name="connsiteY130" fmla="*/ 0 h 5463085"/>
              <a:gd name="connsiteX131" fmla="*/ 2415299 w 3434154"/>
              <a:gd name="connsiteY131" fmla="*/ 298930 h 5463085"/>
              <a:gd name="connsiteX132" fmla="*/ 2415299 w 3434154"/>
              <a:gd name="connsiteY132" fmla="*/ 1430010 h 5463085"/>
              <a:gd name="connsiteX133" fmla="*/ 2116408 w 3434154"/>
              <a:gd name="connsiteY133" fmla="*/ 1728941 h 5463085"/>
              <a:gd name="connsiteX134" fmla="*/ 2116408 w 3434154"/>
              <a:gd name="connsiteY134" fmla="*/ 1728882 h 5463085"/>
              <a:gd name="connsiteX135" fmla="*/ 1817516 w 3434154"/>
              <a:gd name="connsiteY135" fmla="*/ 1429913 h 5463085"/>
              <a:gd name="connsiteX136" fmla="*/ 1817516 w 3434154"/>
              <a:gd name="connsiteY136" fmla="*/ 298930 h 5463085"/>
              <a:gd name="connsiteX137" fmla="*/ 2116408 w 3434154"/>
              <a:gd name="connsiteY137" fmla="*/ 0 h 546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3434154" h="5463085">
                <a:moveTo>
                  <a:pt x="1725087" y="4108496"/>
                </a:moveTo>
                <a:cubicBezTo>
                  <a:pt x="1763415" y="4108496"/>
                  <a:pt x="1794473" y="4124925"/>
                  <a:pt x="1794473" y="4145199"/>
                </a:cubicBezTo>
                <a:lnTo>
                  <a:pt x="1794473" y="5337800"/>
                </a:lnTo>
                <a:lnTo>
                  <a:pt x="2060452" y="5197105"/>
                </a:lnTo>
                <a:lnTo>
                  <a:pt x="2058597" y="5197105"/>
                </a:lnTo>
                <a:cubicBezTo>
                  <a:pt x="2085818" y="5182784"/>
                  <a:pt x="2129822" y="5182839"/>
                  <a:pt x="2156896" y="5197236"/>
                </a:cubicBezTo>
                <a:cubicBezTo>
                  <a:pt x="2183990" y="5211624"/>
                  <a:pt x="2183886" y="5234901"/>
                  <a:pt x="2156669" y="5249233"/>
                </a:cubicBezTo>
                <a:lnTo>
                  <a:pt x="1772276" y="5452325"/>
                </a:lnTo>
                <a:cubicBezTo>
                  <a:pt x="1765791" y="5455777"/>
                  <a:pt x="1758089" y="5458519"/>
                  <a:pt x="1749601" y="5460398"/>
                </a:cubicBezTo>
                <a:cubicBezTo>
                  <a:pt x="1733329" y="5463981"/>
                  <a:pt x="1715011" y="5463981"/>
                  <a:pt x="1698718" y="5460398"/>
                </a:cubicBezTo>
                <a:cubicBezTo>
                  <a:pt x="1690230" y="5458519"/>
                  <a:pt x="1682527" y="5455777"/>
                  <a:pt x="1676064" y="5452325"/>
                </a:cubicBezTo>
                <a:lnTo>
                  <a:pt x="1676043" y="5452325"/>
                </a:lnTo>
                <a:lnTo>
                  <a:pt x="1291650" y="5249233"/>
                </a:lnTo>
                <a:cubicBezTo>
                  <a:pt x="1264453" y="5234901"/>
                  <a:pt x="1264350" y="5211623"/>
                  <a:pt x="1291423" y="5197236"/>
                </a:cubicBezTo>
                <a:cubicBezTo>
                  <a:pt x="1318496" y="5182839"/>
                  <a:pt x="1362505" y="5182784"/>
                  <a:pt x="1389722" y="5197105"/>
                </a:cubicBezTo>
                <a:lnTo>
                  <a:pt x="1655700" y="5337800"/>
                </a:lnTo>
                <a:lnTo>
                  <a:pt x="1655700" y="4145199"/>
                </a:lnTo>
                <a:cubicBezTo>
                  <a:pt x="1655700" y="4124925"/>
                  <a:pt x="1686759" y="4108496"/>
                  <a:pt x="1725087" y="4108496"/>
                </a:cubicBezTo>
                <a:close/>
                <a:moveTo>
                  <a:pt x="2420520" y="2966601"/>
                </a:moveTo>
                <a:cubicBezTo>
                  <a:pt x="2440372" y="2965616"/>
                  <a:pt x="2460588" y="2972189"/>
                  <a:pt x="2476451" y="2986502"/>
                </a:cubicBezTo>
                <a:lnTo>
                  <a:pt x="2476454" y="2986502"/>
                </a:lnTo>
                <a:cubicBezTo>
                  <a:pt x="2508219" y="3015202"/>
                  <a:pt x="2510744" y="3064340"/>
                  <a:pt x="2482004" y="3096181"/>
                </a:cubicBezTo>
                <a:lnTo>
                  <a:pt x="2093145" y="3526717"/>
                </a:lnTo>
                <a:cubicBezTo>
                  <a:pt x="2077799" y="3543671"/>
                  <a:pt x="2056674" y="3552282"/>
                  <a:pt x="2035510" y="3552282"/>
                </a:cubicBezTo>
                <a:cubicBezTo>
                  <a:pt x="2016912" y="3552282"/>
                  <a:pt x="1998312" y="3545699"/>
                  <a:pt x="1983463" y="3532266"/>
                </a:cubicBezTo>
                <a:cubicBezTo>
                  <a:pt x="1951699" y="3503567"/>
                  <a:pt x="1949135" y="3454428"/>
                  <a:pt x="1977914" y="3422587"/>
                </a:cubicBezTo>
                <a:lnTo>
                  <a:pt x="2366772" y="2992051"/>
                </a:lnTo>
                <a:cubicBezTo>
                  <a:pt x="2381180" y="2976131"/>
                  <a:pt x="2400668" y="2967587"/>
                  <a:pt x="2420520" y="2966601"/>
                </a:cubicBezTo>
                <a:close/>
                <a:moveTo>
                  <a:pt x="1013749" y="2966522"/>
                </a:moveTo>
                <a:cubicBezTo>
                  <a:pt x="1033606" y="2967517"/>
                  <a:pt x="1053075" y="2976109"/>
                  <a:pt x="1067426" y="2992087"/>
                </a:cubicBezTo>
                <a:lnTo>
                  <a:pt x="1456288" y="3422623"/>
                </a:lnTo>
                <a:cubicBezTo>
                  <a:pt x="1485067" y="3454461"/>
                  <a:pt x="1482541" y="3503599"/>
                  <a:pt x="1450738" y="3532302"/>
                </a:cubicBezTo>
                <a:cubicBezTo>
                  <a:pt x="1435890" y="3545735"/>
                  <a:pt x="1417252" y="3552318"/>
                  <a:pt x="1398691" y="3552318"/>
                </a:cubicBezTo>
                <a:cubicBezTo>
                  <a:pt x="1377490" y="3552318"/>
                  <a:pt x="1356365" y="3543745"/>
                  <a:pt x="1341057" y="3526753"/>
                </a:cubicBezTo>
                <a:lnTo>
                  <a:pt x="952198" y="3096217"/>
                </a:lnTo>
                <a:cubicBezTo>
                  <a:pt x="923419" y="3064379"/>
                  <a:pt x="925945" y="3015240"/>
                  <a:pt x="957747" y="2986538"/>
                </a:cubicBezTo>
                <a:cubicBezTo>
                  <a:pt x="973647" y="2972129"/>
                  <a:pt x="993892" y="2965527"/>
                  <a:pt x="1013749" y="2966522"/>
                </a:cubicBezTo>
                <a:close/>
                <a:moveTo>
                  <a:pt x="232961" y="2104650"/>
                </a:moveTo>
                <a:cubicBezTo>
                  <a:pt x="190137" y="2104650"/>
                  <a:pt x="155311" y="2139552"/>
                  <a:pt x="155311" y="2182300"/>
                </a:cubicBezTo>
                <a:lnTo>
                  <a:pt x="155311" y="2552407"/>
                </a:lnTo>
                <a:lnTo>
                  <a:pt x="3278912" y="2552407"/>
                </a:lnTo>
                <a:lnTo>
                  <a:pt x="3278950" y="2182300"/>
                </a:lnTo>
                <a:cubicBezTo>
                  <a:pt x="3278950" y="2139514"/>
                  <a:pt x="3244124" y="2104650"/>
                  <a:pt x="3201300" y="2104650"/>
                </a:cubicBezTo>
                <a:close/>
                <a:moveTo>
                  <a:pt x="232907" y="1949430"/>
                </a:moveTo>
                <a:lnTo>
                  <a:pt x="3201246" y="1949430"/>
                </a:lnTo>
                <a:cubicBezTo>
                  <a:pt x="3329677" y="1949430"/>
                  <a:pt x="3434154" y="2053946"/>
                  <a:pt x="3434154" y="2182337"/>
                </a:cubicBezTo>
                <a:lnTo>
                  <a:pt x="3434154" y="2630057"/>
                </a:lnTo>
                <a:cubicBezTo>
                  <a:pt x="3434154" y="2632009"/>
                  <a:pt x="3433197" y="2633654"/>
                  <a:pt x="3433044" y="2635568"/>
                </a:cubicBezTo>
                <a:lnTo>
                  <a:pt x="3433032" y="2635626"/>
                </a:lnTo>
                <a:cubicBezTo>
                  <a:pt x="3432611" y="2641940"/>
                  <a:pt x="3431271" y="2648025"/>
                  <a:pt x="3429320" y="2653995"/>
                </a:cubicBezTo>
                <a:cubicBezTo>
                  <a:pt x="3428439" y="2656751"/>
                  <a:pt x="3427980" y="2659583"/>
                  <a:pt x="3426794" y="2662185"/>
                </a:cubicBezTo>
                <a:cubicBezTo>
                  <a:pt x="3423541" y="2669342"/>
                  <a:pt x="3419331" y="2676154"/>
                  <a:pt x="3413897" y="2682163"/>
                </a:cubicBezTo>
                <a:lnTo>
                  <a:pt x="3411639" y="2684650"/>
                </a:lnTo>
                <a:cubicBezTo>
                  <a:pt x="3411486" y="2684803"/>
                  <a:pt x="3411371" y="2684995"/>
                  <a:pt x="3411218" y="2685148"/>
                </a:cubicBezTo>
                <a:lnTo>
                  <a:pt x="2400446" y="3804275"/>
                </a:lnTo>
                <a:cubicBezTo>
                  <a:pt x="2304886" y="3910006"/>
                  <a:pt x="2252265" y="4046784"/>
                  <a:pt x="2252265" y="4189421"/>
                </a:cubicBezTo>
                <a:lnTo>
                  <a:pt x="2252265" y="4839549"/>
                </a:lnTo>
                <a:cubicBezTo>
                  <a:pt x="2252265" y="4882412"/>
                  <a:pt x="2217477" y="4917200"/>
                  <a:pt x="2174614" y="4917200"/>
                </a:cubicBezTo>
                <a:cubicBezTo>
                  <a:pt x="2131752" y="4917200"/>
                  <a:pt x="2096964" y="4882412"/>
                  <a:pt x="2096964" y="4839549"/>
                </a:cubicBezTo>
                <a:lnTo>
                  <a:pt x="2096964" y="4189460"/>
                </a:lnTo>
                <a:cubicBezTo>
                  <a:pt x="2096964" y="4008291"/>
                  <a:pt x="2163820" y="3834549"/>
                  <a:pt x="2285177" y="3700181"/>
                </a:cubicBezTo>
                <a:lnTo>
                  <a:pt x="3181498" y="2707730"/>
                </a:lnTo>
                <a:lnTo>
                  <a:pt x="252642" y="2707730"/>
                </a:lnTo>
                <a:lnTo>
                  <a:pt x="1149003" y="3700083"/>
                </a:lnTo>
                <a:cubicBezTo>
                  <a:pt x="1270358" y="3834441"/>
                  <a:pt x="1337215" y="4008193"/>
                  <a:pt x="1337215" y="4189362"/>
                </a:cubicBezTo>
                <a:lnTo>
                  <a:pt x="1337215" y="4839490"/>
                </a:lnTo>
                <a:cubicBezTo>
                  <a:pt x="1337215" y="4882353"/>
                  <a:pt x="1302428" y="4917140"/>
                  <a:pt x="1259565" y="4917140"/>
                </a:cubicBezTo>
                <a:cubicBezTo>
                  <a:pt x="1216703" y="4917140"/>
                  <a:pt x="1181915" y="4882353"/>
                  <a:pt x="1181915" y="4839490"/>
                </a:cubicBezTo>
                <a:lnTo>
                  <a:pt x="1181877" y="4189401"/>
                </a:lnTo>
                <a:cubicBezTo>
                  <a:pt x="1181877" y="4046774"/>
                  <a:pt x="1129293" y="3909996"/>
                  <a:pt x="1033695" y="3804256"/>
                </a:cubicBezTo>
                <a:lnTo>
                  <a:pt x="22924" y="2685128"/>
                </a:lnTo>
                <a:cubicBezTo>
                  <a:pt x="22771" y="2684975"/>
                  <a:pt x="22656" y="2684784"/>
                  <a:pt x="22503" y="2684630"/>
                </a:cubicBezTo>
                <a:lnTo>
                  <a:pt x="20245" y="2682143"/>
                </a:lnTo>
                <a:cubicBezTo>
                  <a:pt x="14810" y="2676134"/>
                  <a:pt x="10601" y="2669322"/>
                  <a:pt x="7348" y="2662166"/>
                </a:cubicBezTo>
                <a:cubicBezTo>
                  <a:pt x="6161" y="2659563"/>
                  <a:pt x="5741" y="2656731"/>
                  <a:pt x="4822" y="2653976"/>
                </a:cubicBezTo>
                <a:cubicBezTo>
                  <a:pt x="2870" y="2647967"/>
                  <a:pt x="1569" y="2641882"/>
                  <a:pt x="1110" y="2635568"/>
                </a:cubicBezTo>
                <a:cubicBezTo>
                  <a:pt x="957" y="2633654"/>
                  <a:pt x="0" y="2632009"/>
                  <a:pt x="0" y="2630057"/>
                </a:cubicBezTo>
                <a:lnTo>
                  <a:pt x="0" y="2182337"/>
                </a:lnTo>
                <a:cubicBezTo>
                  <a:pt x="0" y="2053946"/>
                  <a:pt x="104477" y="1949430"/>
                  <a:pt x="232907" y="1949430"/>
                </a:cubicBezTo>
                <a:close/>
                <a:moveTo>
                  <a:pt x="518983" y="732463"/>
                </a:moveTo>
                <a:cubicBezTo>
                  <a:pt x="439805" y="732463"/>
                  <a:pt x="375396" y="796868"/>
                  <a:pt x="375396" y="876011"/>
                </a:cubicBezTo>
                <a:lnTo>
                  <a:pt x="375396" y="1214973"/>
                </a:lnTo>
                <a:cubicBezTo>
                  <a:pt x="375396" y="1294230"/>
                  <a:pt x="439764" y="1358638"/>
                  <a:pt x="518983" y="1358638"/>
                </a:cubicBezTo>
                <a:cubicBezTo>
                  <a:pt x="598162" y="1358638"/>
                  <a:pt x="662570" y="1294230"/>
                  <a:pt x="662570" y="1214973"/>
                </a:cubicBezTo>
                <a:lnTo>
                  <a:pt x="662570" y="876011"/>
                </a:lnTo>
                <a:cubicBezTo>
                  <a:pt x="662570" y="796871"/>
                  <a:pt x="598202" y="732463"/>
                  <a:pt x="518983" y="732463"/>
                </a:cubicBezTo>
                <a:close/>
                <a:moveTo>
                  <a:pt x="2915130" y="662531"/>
                </a:moveTo>
                <a:cubicBezTo>
                  <a:pt x="2835951" y="662531"/>
                  <a:pt x="2771543" y="726939"/>
                  <a:pt x="2771543" y="806196"/>
                </a:cubicBezTo>
                <a:lnTo>
                  <a:pt x="2771543" y="1331569"/>
                </a:lnTo>
                <a:cubicBezTo>
                  <a:pt x="2771543" y="1410708"/>
                  <a:pt x="2835911" y="1475117"/>
                  <a:pt x="2915130" y="1475117"/>
                </a:cubicBezTo>
                <a:cubicBezTo>
                  <a:pt x="2994308" y="1475117"/>
                  <a:pt x="3058717" y="1410711"/>
                  <a:pt x="3058717" y="1331569"/>
                </a:cubicBezTo>
                <a:lnTo>
                  <a:pt x="3058717" y="806196"/>
                </a:lnTo>
                <a:cubicBezTo>
                  <a:pt x="3058717" y="726939"/>
                  <a:pt x="2994348" y="662531"/>
                  <a:pt x="2915130" y="662531"/>
                </a:cubicBezTo>
                <a:close/>
                <a:moveTo>
                  <a:pt x="518983" y="577188"/>
                </a:moveTo>
                <a:cubicBezTo>
                  <a:pt x="683771" y="577188"/>
                  <a:pt x="817874" y="711213"/>
                  <a:pt x="817874" y="876001"/>
                </a:cubicBezTo>
                <a:lnTo>
                  <a:pt x="817874" y="1214963"/>
                </a:lnTo>
                <a:cubicBezTo>
                  <a:pt x="817874" y="1379761"/>
                  <a:pt x="683771" y="1513894"/>
                  <a:pt x="518983" y="1513894"/>
                </a:cubicBezTo>
                <a:cubicBezTo>
                  <a:pt x="354224" y="1513894"/>
                  <a:pt x="220129" y="1379751"/>
                  <a:pt x="220091" y="1214963"/>
                </a:cubicBezTo>
                <a:lnTo>
                  <a:pt x="220091" y="876001"/>
                </a:lnTo>
                <a:cubicBezTo>
                  <a:pt x="220091" y="711252"/>
                  <a:pt x="354194" y="577188"/>
                  <a:pt x="518983" y="577188"/>
                </a:cubicBezTo>
                <a:close/>
                <a:moveTo>
                  <a:pt x="2915169" y="507266"/>
                </a:moveTo>
                <a:cubicBezTo>
                  <a:pt x="3079957" y="507266"/>
                  <a:pt x="3214060" y="641408"/>
                  <a:pt x="3214060" y="806196"/>
                </a:cubicBezTo>
                <a:lnTo>
                  <a:pt x="3214060" y="1331569"/>
                </a:lnTo>
                <a:cubicBezTo>
                  <a:pt x="3214060" y="1496318"/>
                  <a:pt x="3079957" y="1630382"/>
                  <a:pt x="2915169" y="1630382"/>
                </a:cubicBezTo>
                <a:cubicBezTo>
                  <a:pt x="2750380" y="1630382"/>
                  <a:pt x="2616277" y="1496318"/>
                  <a:pt x="2616277" y="1331569"/>
                </a:cubicBezTo>
                <a:lnTo>
                  <a:pt x="2616277" y="806196"/>
                </a:lnTo>
                <a:cubicBezTo>
                  <a:pt x="2616277" y="641399"/>
                  <a:pt x="2750380" y="507266"/>
                  <a:pt x="2915169" y="507266"/>
                </a:cubicBezTo>
                <a:close/>
                <a:moveTo>
                  <a:pt x="1317705" y="388338"/>
                </a:moveTo>
                <a:cubicBezTo>
                  <a:pt x="1238527" y="388338"/>
                  <a:pt x="1174118" y="452743"/>
                  <a:pt x="1174118" y="531886"/>
                </a:cubicBezTo>
                <a:lnTo>
                  <a:pt x="1174118" y="1033911"/>
                </a:lnTo>
                <a:cubicBezTo>
                  <a:pt x="1174118" y="1113168"/>
                  <a:pt x="1238486" y="1177576"/>
                  <a:pt x="1317705" y="1177576"/>
                </a:cubicBezTo>
                <a:cubicBezTo>
                  <a:pt x="1396884" y="1177576"/>
                  <a:pt x="1461292" y="1113168"/>
                  <a:pt x="1461292" y="1033911"/>
                </a:cubicBezTo>
                <a:lnTo>
                  <a:pt x="1461292" y="531886"/>
                </a:lnTo>
                <a:cubicBezTo>
                  <a:pt x="1461292" y="452746"/>
                  <a:pt x="1396924" y="388338"/>
                  <a:pt x="1317705" y="388338"/>
                </a:cubicBezTo>
                <a:close/>
                <a:moveTo>
                  <a:pt x="1317706" y="233073"/>
                </a:moveTo>
                <a:cubicBezTo>
                  <a:pt x="1482494" y="233073"/>
                  <a:pt x="1616597" y="367098"/>
                  <a:pt x="1616597" y="531886"/>
                </a:cubicBezTo>
                <a:lnTo>
                  <a:pt x="1616636" y="1033911"/>
                </a:lnTo>
                <a:cubicBezTo>
                  <a:pt x="1616636" y="1178169"/>
                  <a:pt x="1513963" y="1298844"/>
                  <a:pt x="1377899" y="1326758"/>
                </a:cubicBezTo>
                <a:lnTo>
                  <a:pt x="1317745" y="1332841"/>
                </a:lnTo>
                <a:lnTo>
                  <a:pt x="1257587" y="1326760"/>
                </a:lnTo>
                <a:cubicBezTo>
                  <a:pt x="1121518" y="1298852"/>
                  <a:pt x="1018847" y="1178203"/>
                  <a:pt x="1018814" y="1033911"/>
                </a:cubicBezTo>
                <a:lnTo>
                  <a:pt x="1018814" y="531886"/>
                </a:lnTo>
                <a:cubicBezTo>
                  <a:pt x="1018814" y="367137"/>
                  <a:pt x="1152917" y="233073"/>
                  <a:pt x="1317706" y="233073"/>
                </a:cubicBezTo>
                <a:close/>
                <a:moveTo>
                  <a:pt x="2116408" y="155285"/>
                </a:moveTo>
                <a:cubicBezTo>
                  <a:pt x="2037229" y="155285"/>
                  <a:pt x="1972821" y="219693"/>
                  <a:pt x="1972821" y="298950"/>
                </a:cubicBezTo>
                <a:lnTo>
                  <a:pt x="1972821" y="1429932"/>
                </a:lnTo>
                <a:cubicBezTo>
                  <a:pt x="1972821" y="1509189"/>
                  <a:pt x="2037189" y="1573597"/>
                  <a:pt x="2116408" y="1573597"/>
                </a:cubicBezTo>
                <a:cubicBezTo>
                  <a:pt x="2195586" y="1573597"/>
                  <a:pt x="2259995" y="1509189"/>
                  <a:pt x="2259995" y="1429932"/>
                </a:cubicBezTo>
                <a:lnTo>
                  <a:pt x="2259995" y="298950"/>
                </a:lnTo>
                <a:cubicBezTo>
                  <a:pt x="2259995" y="219693"/>
                  <a:pt x="2195627" y="155285"/>
                  <a:pt x="2116408" y="155285"/>
                </a:cubicBezTo>
                <a:close/>
                <a:moveTo>
                  <a:pt x="2116408" y="0"/>
                </a:moveTo>
                <a:cubicBezTo>
                  <a:pt x="2281196" y="0"/>
                  <a:pt x="2415299" y="134142"/>
                  <a:pt x="2415299" y="298930"/>
                </a:cubicBezTo>
                <a:lnTo>
                  <a:pt x="2415299" y="1430010"/>
                </a:lnTo>
                <a:cubicBezTo>
                  <a:pt x="2415299" y="1594808"/>
                  <a:pt x="2281196" y="1728941"/>
                  <a:pt x="2116408" y="1728941"/>
                </a:cubicBezTo>
                <a:lnTo>
                  <a:pt x="2116408" y="1728882"/>
                </a:lnTo>
                <a:cubicBezTo>
                  <a:pt x="1951648" y="1728882"/>
                  <a:pt x="1817554" y="1594700"/>
                  <a:pt x="1817516" y="1429913"/>
                </a:cubicBezTo>
                <a:lnTo>
                  <a:pt x="1817516" y="298930"/>
                </a:lnTo>
                <a:cubicBezTo>
                  <a:pt x="1817516" y="134133"/>
                  <a:pt x="1951619" y="0"/>
                  <a:pt x="2116408" y="0"/>
                </a:cubicBezTo>
                <a:close/>
              </a:path>
            </a:pathLst>
          </a:custGeom>
          <a:solidFill>
            <a:srgbClr val="1C345E"/>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41483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575913-4F37-1B42-F025-7BC78B47A7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58E4B4-AE3B-70B3-A8A1-4CC65BC16822}"/>
              </a:ext>
            </a:extLst>
          </p:cNvPr>
          <p:cNvSpPr>
            <a:spLocks noGrp="1"/>
          </p:cNvSpPr>
          <p:nvPr>
            <p:ph type="title"/>
          </p:nvPr>
        </p:nvSpPr>
        <p:spPr>
          <a:xfrm>
            <a:off x="495300" y="97659"/>
            <a:ext cx="8690912" cy="443818"/>
          </a:xfrm>
        </p:spPr>
        <p:txBody>
          <a:bodyPr/>
          <a:lstStyle/>
          <a:p>
            <a:r>
              <a:rPr lang="en-US" sz="2100"/>
              <a:t>Convert Business Questions into Data Questions</a:t>
            </a:r>
          </a:p>
        </p:txBody>
      </p:sp>
      <p:grpSp>
        <p:nvGrpSpPr>
          <p:cNvPr id="34" name="Group 33">
            <a:extLst>
              <a:ext uri="{FF2B5EF4-FFF2-40B4-BE49-F238E27FC236}">
                <a16:creationId xmlns:a16="http://schemas.microsoft.com/office/drawing/2014/main" id="{0228A94E-58A4-58A1-9995-DBBB45A52708}"/>
              </a:ext>
            </a:extLst>
          </p:cNvPr>
          <p:cNvGrpSpPr/>
          <p:nvPr/>
        </p:nvGrpSpPr>
        <p:grpSpPr>
          <a:xfrm>
            <a:off x="3235077" y="1846122"/>
            <a:ext cx="4256291" cy="2378147"/>
            <a:chOff x="911176" y="3538862"/>
            <a:chExt cx="2470254" cy="2321839"/>
          </a:xfrm>
        </p:grpSpPr>
        <p:sp>
          <p:nvSpPr>
            <p:cNvPr id="54" name="Rectangle: Rounded Corners 53">
              <a:extLst>
                <a:ext uri="{FF2B5EF4-FFF2-40B4-BE49-F238E27FC236}">
                  <a16:creationId xmlns:a16="http://schemas.microsoft.com/office/drawing/2014/main" id="{07BE21E0-ACB6-6C68-1EDB-8F2929C018EF}"/>
                </a:ext>
              </a:extLst>
            </p:cNvPr>
            <p:cNvSpPr/>
            <p:nvPr/>
          </p:nvSpPr>
          <p:spPr>
            <a:xfrm>
              <a:off x="911176" y="3609967"/>
              <a:ext cx="2470254" cy="2250734"/>
            </a:xfrm>
            <a:prstGeom prst="roundRect">
              <a:avLst>
                <a:gd name="adj" fmla="val 2224"/>
              </a:avLst>
            </a:prstGeom>
            <a:solidFill>
              <a:srgbClr val="FFFFFF"/>
            </a:solidFill>
            <a:ln w="6350" cap="flat" cmpd="sng" algn="ctr">
              <a:solidFill>
                <a:srgbClr val="4C79CA"/>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 name="Rectangle 54" hidden="1">
              <a:extLst>
                <a:ext uri="{FF2B5EF4-FFF2-40B4-BE49-F238E27FC236}">
                  <a16:creationId xmlns:a16="http://schemas.microsoft.com/office/drawing/2014/main" id="{897BBF26-3487-E0B3-24C4-AF8DBD795D41}"/>
                </a:ext>
              </a:extLst>
            </p:cNvPr>
            <p:cNvSpPr/>
            <p:nvPr/>
          </p:nvSpPr>
          <p:spPr>
            <a:xfrm>
              <a:off x="2108988" y="3926421"/>
              <a:ext cx="74618" cy="74618"/>
            </a:xfrm>
            <a:prstGeom prst="rect">
              <a:avLst/>
            </a:prstGeom>
            <a:solidFill>
              <a:srgbClr val="FFFFFF"/>
            </a:solidFill>
            <a:ln w="6350" cap="flat" cmpd="sng" algn="ctr">
              <a:solidFill>
                <a:schemeClr val="tx2"/>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 name="TextBox 56">
              <a:extLst>
                <a:ext uri="{FF2B5EF4-FFF2-40B4-BE49-F238E27FC236}">
                  <a16:creationId xmlns:a16="http://schemas.microsoft.com/office/drawing/2014/main" id="{3A2BC0E3-55F3-EA80-7D03-EEB4C9DDFCC7}"/>
                </a:ext>
              </a:extLst>
            </p:cNvPr>
            <p:cNvSpPr txBox="1"/>
            <p:nvPr/>
          </p:nvSpPr>
          <p:spPr>
            <a:xfrm>
              <a:off x="971121" y="3538862"/>
              <a:ext cx="2350363" cy="2313767"/>
            </a:xfrm>
            <a:prstGeom prst="rect">
              <a:avLst/>
            </a:prstGeom>
            <a:noFill/>
          </p:spPr>
          <p:txBody>
            <a:bodyPr wrap="square" rtlCol="0" anchor="ctr">
              <a:spAutoFit/>
            </a:bodyPr>
            <a:lstStyle/>
            <a:p>
              <a:pPr algn="ctr"/>
              <a:r>
                <a:rPr lang="en-US" sz="1400" b="1" dirty="0">
                  <a:solidFill>
                    <a:srgbClr val="0070C0"/>
                  </a:solidFill>
                  <a:latin typeface="Calibri" panose="020F0502020204030204" pitchFamily="34" charset="0"/>
                  <a:cs typeface="Calibri" panose="020F0502020204030204" pitchFamily="34" charset="0"/>
                </a:rPr>
                <a:t>Translate the components into measurable data questions</a:t>
              </a:r>
            </a:p>
            <a:p>
              <a:pPr algn="ctr"/>
              <a:endParaRPr lang="en-US" sz="1200" b="1"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What are the output rates for each department over the past 12 months?”</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How do employee engagement survey scores correlate with productivity metrics?”</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What percentage of employees report barriers to productivity (e.g., technology, work environment)?”</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Which teams or roles are exceeding productivity benchmarks, and what practices contribute to their success?”</a:t>
              </a:r>
            </a:p>
          </p:txBody>
        </p:sp>
      </p:grpSp>
      <p:sp>
        <p:nvSpPr>
          <p:cNvPr id="63" name="Freeform 30">
            <a:extLst>
              <a:ext uri="{FF2B5EF4-FFF2-40B4-BE49-F238E27FC236}">
                <a16:creationId xmlns:a16="http://schemas.microsoft.com/office/drawing/2014/main" id="{B416184F-8D23-C7F6-237D-9237F9CADDC0}"/>
              </a:ext>
            </a:extLst>
          </p:cNvPr>
          <p:cNvSpPr/>
          <p:nvPr/>
        </p:nvSpPr>
        <p:spPr>
          <a:xfrm>
            <a:off x="641144" y="1097886"/>
            <a:ext cx="2063419" cy="962846"/>
          </a:xfrm>
          <a:prstGeom prst="notchedRightArrow">
            <a:avLst/>
          </a:prstGeom>
          <a:solidFill>
            <a:srgbClr val="FFFFFF"/>
          </a:solidFill>
          <a:ln w="12700" cap="flat" cmpd="sng" algn="ctr">
            <a:noFill/>
            <a:prstDash val="solid"/>
            <a:miter lim="800000"/>
          </a:ln>
          <a:effectLst>
            <a:outerShdw blurRad="25400" dist="12700" dir="2700000" algn="tl" rotWithShape="0">
              <a:prstClr val="black">
                <a:alpha val="20000"/>
              </a:prstClr>
            </a:outerShdw>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cs typeface="+mn-cs"/>
            </a:endParaRPr>
          </a:p>
        </p:txBody>
      </p:sp>
      <p:sp>
        <p:nvSpPr>
          <p:cNvPr id="64" name="Freeform 28">
            <a:extLst>
              <a:ext uri="{FF2B5EF4-FFF2-40B4-BE49-F238E27FC236}">
                <a16:creationId xmlns:a16="http://schemas.microsoft.com/office/drawing/2014/main" id="{911055BE-BD26-3C5F-6DD5-2CC0359B2311}"/>
              </a:ext>
            </a:extLst>
          </p:cNvPr>
          <p:cNvSpPr/>
          <p:nvPr/>
        </p:nvSpPr>
        <p:spPr>
          <a:xfrm>
            <a:off x="641146" y="1189422"/>
            <a:ext cx="2002958" cy="808342"/>
          </a:xfrm>
          <a:prstGeom prst="notchedRightArrow">
            <a:avLst/>
          </a:prstGeom>
          <a:solidFill>
            <a:schemeClr val="tx1">
              <a:lumMod val="60000"/>
              <a:lumOff val="40000"/>
            </a:schemeClr>
          </a:solidFill>
          <a:ln w="12700" cap="flat" cmpd="sng" algn="ctr">
            <a:noFill/>
            <a:prstDash val="solid"/>
            <a:miter lim="800000"/>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Calibri" panose="020F0502020204030204"/>
              <a:cs typeface="+mn-cs"/>
            </a:endParaRPr>
          </a:p>
        </p:txBody>
      </p:sp>
      <p:sp>
        <p:nvSpPr>
          <p:cNvPr id="65" name="TextBox 64">
            <a:extLst>
              <a:ext uri="{FF2B5EF4-FFF2-40B4-BE49-F238E27FC236}">
                <a16:creationId xmlns:a16="http://schemas.microsoft.com/office/drawing/2014/main" id="{BA1CA006-4D85-69AE-15CC-C1F32EAE79B0}"/>
              </a:ext>
            </a:extLst>
          </p:cNvPr>
          <p:cNvSpPr txBox="1"/>
          <p:nvPr/>
        </p:nvSpPr>
        <p:spPr>
          <a:xfrm>
            <a:off x="1008386" y="1396583"/>
            <a:ext cx="1191523" cy="400110"/>
          </a:xfrm>
          <a:prstGeom prst="rect">
            <a:avLst/>
          </a:prstGeom>
          <a:noFill/>
        </p:spPr>
        <p:txBody>
          <a:bodyPr wrap="square" rtlCol="0" anchor="ctr">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rPr>
              <a:t>Clarify the </a:t>
            </a:r>
            <a:r>
              <a:rPr kumimoji="0" lang="en-US" sz="1000" b="1" i="0" u="none" strike="noStrike" kern="0" cap="none" spc="0" normalizeH="0" baseline="0" noProof="0" dirty="0" err="1">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rPr>
              <a:t>Busines</a:t>
            </a:r>
            <a:r>
              <a:rPr lang="en-US" sz="1000" b="1" kern="0" dirty="0">
                <a:solidFill>
                  <a:srgbClr val="FFFFFF"/>
                </a:solidFill>
                <a:effectLst>
                  <a:outerShdw blurRad="38100" dist="38100" dir="2700000" algn="tl">
                    <a:srgbClr val="000000">
                      <a:alpha val="43137"/>
                    </a:srgbClr>
                  </a:outerShdw>
                </a:effectLst>
                <a:latin typeface="Century Gothic" panose="020B0502020202020204" pitchFamily="34" charset="0"/>
                <a:cs typeface="Arial" panose="020B0604020202020204" pitchFamily="34" charset="0"/>
              </a:rPr>
              <a:t>s Goal</a:t>
            </a:r>
            <a:endParaRPr kumimoji="0" lang="en-US" sz="10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endParaRPr>
          </a:p>
        </p:txBody>
      </p:sp>
      <p:sp>
        <p:nvSpPr>
          <p:cNvPr id="66" name="Rectangle 65">
            <a:extLst>
              <a:ext uri="{FF2B5EF4-FFF2-40B4-BE49-F238E27FC236}">
                <a16:creationId xmlns:a16="http://schemas.microsoft.com/office/drawing/2014/main" id="{48B470C9-A995-EE5C-E663-D56057F15EA3}"/>
              </a:ext>
            </a:extLst>
          </p:cNvPr>
          <p:cNvSpPr/>
          <p:nvPr/>
        </p:nvSpPr>
        <p:spPr>
          <a:xfrm rot="5400000" flipH="1">
            <a:off x="1337239" y="870633"/>
            <a:ext cx="516492" cy="563573"/>
          </a:xfrm>
          <a:prstGeom prst="rect">
            <a:avLst/>
          </a:prstGeom>
          <a:solidFill>
            <a:schemeClr val="tx1">
              <a:lumMod val="60000"/>
              <a:lumOff val="40000"/>
            </a:schemeClr>
          </a:solidFill>
          <a:ln w="6350" cap="flat" cmpd="sng" algn="ctr">
            <a:solidFill>
              <a:schemeClr val="tx1">
                <a:lumMod val="60000"/>
                <a:lumOff val="40000"/>
              </a:schemeClr>
            </a:solid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67" name="Rectangle 66">
            <a:extLst>
              <a:ext uri="{FF2B5EF4-FFF2-40B4-BE49-F238E27FC236}">
                <a16:creationId xmlns:a16="http://schemas.microsoft.com/office/drawing/2014/main" id="{07C04821-C3F7-DA76-B4D1-0500479E3011}"/>
              </a:ext>
            </a:extLst>
          </p:cNvPr>
          <p:cNvSpPr/>
          <p:nvPr/>
        </p:nvSpPr>
        <p:spPr>
          <a:xfrm flipH="1">
            <a:off x="1359753" y="940229"/>
            <a:ext cx="478741" cy="438745"/>
          </a:xfrm>
          <a:prstGeom prst="rect">
            <a:avLst/>
          </a:prstGeom>
          <a:solidFill>
            <a:srgbClr val="FFFFFF"/>
          </a:solidFill>
          <a:ln w="6350" cap="flat" cmpd="sng" algn="ctr">
            <a:solidFill>
              <a:schemeClr val="tx1">
                <a:lumMod val="40000"/>
                <a:lumOff val="60000"/>
              </a:schemeClr>
            </a:solidFill>
            <a:prstDash val="solid"/>
            <a:miter lim="800000"/>
          </a:ln>
          <a:effectLst>
            <a:outerShdw blurRad="63500" sx="102000" sy="102000" algn="ctr" rotWithShape="0">
              <a:prstClr val="black">
                <a:alpha val="10000"/>
              </a:prstClr>
            </a:outerShdw>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8" name="Freeform: Shape 67">
            <a:extLst>
              <a:ext uri="{FF2B5EF4-FFF2-40B4-BE49-F238E27FC236}">
                <a16:creationId xmlns:a16="http://schemas.microsoft.com/office/drawing/2014/main" id="{6E4D324A-EF8B-82E0-2DD7-A148C5D11B5F}"/>
              </a:ext>
            </a:extLst>
          </p:cNvPr>
          <p:cNvSpPr/>
          <p:nvPr/>
        </p:nvSpPr>
        <p:spPr>
          <a:xfrm>
            <a:off x="1478784" y="1059260"/>
            <a:ext cx="259493" cy="237814"/>
          </a:xfrm>
          <a:custGeom>
            <a:avLst/>
            <a:gdLst>
              <a:gd name="connsiteX0" fmla="*/ 1679376 w 5486401"/>
              <a:gd name="connsiteY0" fmla="*/ 2261882 h 5486400"/>
              <a:gd name="connsiteX1" fmla="*/ 3479601 w 5486401"/>
              <a:gd name="connsiteY1" fmla="*/ 2261882 h 5486400"/>
              <a:gd name="connsiteX2" fmla="*/ 3479601 w 5486401"/>
              <a:gd name="connsiteY2" fmla="*/ 2604782 h 5486400"/>
              <a:gd name="connsiteX3" fmla="*/ 1679376 w 5486401"/>
              <a:gd name="connsiteY3" fmla="*/ 2604782 h 5486400"/>
              <a:gd name="connsiteX4" fmla="*/ 4250356 w 5486401"/>
              <a:gd name="connsiteY4" fmla="*/ 1513966 h 5486400"/>
              <a:gd name="connsiteX5" fmla="*/ 4655047 w 5486401"/>
              <a:gd name="connsiteY5" fmla="*/ 1513966 h 5486400"/>
              <a:gd name="connsiteX6" fmla="*/ 4655047 w 5486401"/>
              <a:gd name="connsiteY6" fmla="*/ 1853471 h 5486400"/>
              <a:gd name="connsiteX7" fmla="*/ 4250356 w 5486401"/>
              <a:gd name="connsiteY7" fmla="*/ 1853471 h 5486400"/>
              <a:gd name="connsiteX8" fmla="*/ 3749946 w 5486401"/>
              <a:gd name="connsiteY8" fmla="*/ 1513966 h 5486400"/>
              <a:gd name="connsiteX9" fmla="*/ 4154637 w 5486401"/>
              <a:gd name="connsiteY9" fmla="*/ 1513966 h 5486400"/>
              <a:gd name="connsiteX10" fmla="*/ 4154637 w 5486401"/>
              <a:gd name="connsiteY10" fmla="*/ 1853471 h 5486400"/>
              <a:gd name="connsiteX11" fmla="*/ 3749946 w 5486401"/>
              <a:gd name="connsiteY11" fmla="*/ 1853471 h 5486400"/>
              <a:gd name="connsiteX12" fmla="*/ 1748373 w 5486401"/>
              <a:gd name="connsiteY12" fmla="*/ 1512292 h 5486400"/>
              <a:gd name="connsiteX13" fmla="*/ 3548598 w 5486401"/>
              <a:gd name="connsiteY13" fmla="*/ 1512292 h 5486400"/>
              <a:gd name="connsiteX14" fmla="*/ 3548598 w 5486401"/>
              <a:gd name="connsiteY14" fmla="*/ 1855193 h 5486400"/>
              <a:gd name="connsiteX15" fmla="*/ 1748373 w 5486401"/>
              <a:gd name="connsiteY15" fmla="*/ 1855193 h 5486400"/>
              <a:gd name="connsiteX16" fmla="*/ 1817369 w 5486401"/>
              <a:gd name="connsiteY16" fmla="*/ 771525 h 5486400"/>
              <a:gd name="connsiteX17" fmla="*/ 4629149 w 5486401"/>
              <a:gd name="connsiteY17" fmla="*/ 771525 h 5486400"/>
              <a:gd name="connsiteX18" fmla="*/ 4629149 w 5486401"/>
              <a:gd name="connsiteY18" fmla="*/ 1114426 h 5486400"/>
              <a:gd name="connsiteX19" fmla="*/ 1817369 w 5486401"/>
              <a:gd name="connsiteY19" fmla="*/ 1114426 h 5486400"/>
              <a:gd name="connsiteX20" fmla="*/ 1200150 w 5486401"/>
              <a:gd name="connsiteY20" fmla="*/ 342900 h 5486400"/>
              <a:gd name="connsiteX21" fmla="*/ 1244453 w 5486401"/>
              <a:gd name="connsiteY21" fmla="*/ 445670 h 5486400"/>
              <a:gd name="connsiteX22" fmla="*/ 1256018 w 5486401"/>
              <a:gd name="connsiteY22" fmla="*/ 507858 h 5486400"/>
              <a:gd name="connsiteX23" fmla="*/ 1256241 w 5486401"/>
              <a:gd name="connsiteY23" fmla="*/ 508657 h 5486400"/>
              <a:gd name="connsiteX24" fmla="*/ 1256326 w 5486401"/>
              <a:gd name="connsiteY24" fmla="*/ 509513 h 5486400"/>
              <a:gd name="connsiteX25" fmla="*/ 1265247 w 5486401"/>
              <a:gd name="connsiteY25" fmla="*/ 557480 h 5486400"/>
              <a:gd name="connsiteX26" fmla="*/ 1268729 w 5486401"/>
              <a:gd name="connsiteY26" fmla="*/ 634346 h 5486400"/>
              <a:gd name="connsiteX27" fmla="*/ 1268730 w 5486401"/>
              <a:gd name="connsiteY27" fmla="*/ 634365 h 5486400"/>
              <a:gd name="connsiteX28" fmla="*/ 1268730 w 5486401"/>
              <a:gd name="connsiteY28" fmla="*/ 2023112 h 5486400"/>
              <a:gd name="connsiteX29" fmla="*/ 1268730 w 5486401"/>
              <a:gd name="connsiteY29" fmla="*/ 5143500 h 5486400"/>
              <a:gd name="connsiteX30" fmla="*/ 1285875 w 5486401"/>
              <a:gd name="connsiteY30" fmla="*/ 5143500 h 5486400"/>
              <a:gd name="connsiteX31" fmla="*/ 5143501 w 5486401"/>
              <a:gd name="connsiteY31" fmla="*/ 5143500 h 5486400"/>
              <a:gd name="connsiteX32" fmla="*/ 5143501 w 5486401"/>
              <a:gd name="connsiteY32" fmla="*/ 634365 h 5486400"/>
              <a:gd name="connsiteX33" fmla="*/ 4852036 w 5486401"/>
              <a:gd name="connsiteY33" fmla="*/ 342900 h 5486400"/>
              <a:gd name="connsiteX34" fmla="*/ 651511 w 5486401"/>
              <a:gd name="connsiteY34" fmla="*/ 342900 h 5486400"/>
              <a:gd name="connsiteX35" fmla="*/ 589025 w 5486401"/>
              <a:gd name="connsiteY35" fmla="*/ 349096 h 5486400"/>
              <a:gd name="connsiteX36" fmla="*/ 342900 w 5486401"/>
              <a:gd name="connsiteY36" fmla="*/ 634365 h 5486400"/>
              <a:gd name="connsiteX37" fmla="*/ 342900 w 5486401"/>
              <a:gd name="connsiteY37" fmla="*/ 1680212 h 5486400"/>
              <a:gd name="connsiteX38" fmla="*/ 942975 w 5486401"/>
              <a:gd name="connsiteY38" fmla="*/ 1680212 h 5486400"/>
              <a:gd name="connsiteX39" fmla="*/ 942976 w 5486401"/>
              <a:gd name="connsiteY39" fmla="*/ 1680212 h 5486400"/>
              <a:gd name="connsiteX40" fmla="*/ 942976 w 5486401"/>
              <a:gd name="connsiteY40" fmla="*/ 634365 h 5486400"/>
              <a:gd name="connsiteX41" fmla="*/ 651511 w 5486401"/>
              <a:gd name="connsiteY41" fmla="*/ 342900 h 5486400"/>
              <a:gd name="connsiteX42" fmla="*/ 634366 w 5486401"/>
              <a:gd name="connsiteY42" fmla="*/ 0 h 5486400"/>
              <a:gd name="connsiteX43" fmla="*/ 651510 w 5486401"/>
              <a:gd name="connsiteY43" fmla="*/ 1733 h 5486400"/>
              <a:gd name="connsiteX44" fmla="*/ 764996 w 5486401"/>
              <a:gd name="connsiteY44" fmla="*/ 13195 h 5486400"/>
              <a:gd name="connsiteX45" fmla="*/ 1145556 w 5486401"/>
              <a:gd name="connsiteY45" fmla="*/ 258015 h 5486400"/>
              <a:gd name="connsiteX46" fmla="*/ 764996 w 5486401"/>
              <a:gd name="connsiteY46" fmla="*/ 13194 h 5486400"/>
              <a:gd name="connsiteX47" fmla="*/ 651510 w 5486401"/>
              <a:gd name="connsiteY47" fmla="*/ 1733 h 5486400"/>
              <a:gd name="connsiteX48" fmla="*/ 651510 w 5486401"/>
              <a:gd name="connsiteY48" fmla="*/ 0 h 5486400"/>
              <a:gd name="connsiteX49" fmla="*/ 4852036 w 5486401"/>
              <a:gd name="connsiteY49" fmla="*/ 0 h 5486400"/>
              <a:gd name="connsiteX50" fmla="*/ 5486401 w 5486401"/>
              <a:gd name="connsiteY50" fmla="*/ 634365 h 5486400"/>
              <a:gd name="connsiteX51" fmla="*/ 5486401 w 5486401"/>
              <a:gd name="connsiteY51" fmla="*/ 5486400 h 5486400"/>
              <a:gd name="connsiteX52" fmla="*/ 942975 w 5486401"/>
              <a:gd name="connsiteY52" fmla="*/ 5486400 h 5486400"/>
              <a:gd name="connsiteX53" fmla="*/ 942975 w 5486401"/>
              <a:gd name="connsiteY53" fmla="*/ 2023112 h 5486400"/>
              <a:gd name="connsiteX54" fmla="*/ 0 w 5486401"/>
              <a:gd name="connsiteY54" fmla="*/ 2023112 h 5486400"/>
              <a:gd name="connsiteX55" fmla="*/ 0 w 5486401"/>
              <a:gd name="connsiteY55" fmla="*/ 634365 h 5486400"/>
              <a:gd name="connsiteX56" fmla="*/ 634366 w 5486401"/>
              <a:gd name="connsiteY56" fmla="*/ 0 h 5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486401" h="5486400">
                <a:moveTo>
                  <a:pt x="1679376" y="2261882"/>
                </a:moveTo>
                <a:lnTo>
                  <a:pt x="3479601" y="2261882"/>
                </a:lnTo>
                <a:lnTo>
                  <a:pt x="3479601" y="2604782"/>
                </a:lnTo>
                <a:lnTo>
                  <a:pt x="1679376" y="2604782"/>
                </a:lnTo>
                <a:close/>
                <a:moveTo>
                  <a:pt x="4250356" y="1513966"/>
                </a:moveTo>
                <a:lnTo>
                  <a:pt x="4655047" y="1513966"/>
                </a:lnTo>
                <a:lnTo>
                  <a:pt x="4655047" y="1853471"/>
                </a:lnTo>
                <a:lnTo>
                  <a:pt x="4250356" y="1853471"/>
                </a:lnTo>
                <a:close/>
                <a:moveTo>
                  <a:pt x="3749946" y="1513966"/>
                </a:moveTo>
                <a:lnTo>
                  <a:pt x="4154637" y="1513966"/>
                </a:lnTo>
                <a:lnTo>
                  <a:pt x="4154637" y="1853471"/>
                </a:lnTo>
                <a:lnTo>
                  <a:pt x="3749946" y="1853471"/>
                </a:lnTo>
                <a:close/>
                <a:moveTo>
                  <a:pt x="1748373" y="1512292"/>
                </a:moveTo>
                <a:lnTo>
                  <a:pt x="3548598" y="1512292"/>
                </a:lnTo>
                <a:lnTo>
                  <a:pt x="3548598" y="1855193"/>
                </a:lnTo>
                <a:lnTo>
                  <a:pt x="1748373" y="1855193"/>
                </a:lnTo>
                <a:close/>
                <a:moveTo>
                  <a:pt x="1817369" y="771525"/>
                </a:moveTo>
                <a:lnTo>
                  <a:pt x="4629149" y="771525"/>
                </a:lnTo>
                <a:lnTo>
                  <a:pt x="4629149" y="1114426"/>
                </a:lnTo>
                <a:lnTo>
                  <a:pt x="1817369" y="1114426"/>
                </a:lnTo>
                <a:close/>
                <a:moveTo>
                  <a:pt x="1200150" y="342900"/>
                </a:moveTo>
                <a:cubicBezTo>
                  <a:pt x="1219438" y="375048"/>
                  <a:pt x="1233905" y="409605"/>
                  <a:pt x="1244453" y="445670"/>
                </a:cubicBezTo>
                <a:lnTo>
                  <a:pt x="1256018" y="507858"/>
                </a:lnTo>
                <a:lnTo>
                  <a:pt x="1256241" y="508657"/>
                </a:lnTo>
                <a:lnTo>
                  <a:pt x="1256326" y="509513"/>
                </a:lnTo>
                <a:lnTo>
                  <a:pt x="1265247" y="557480"/>
                </a:lnTo>
                <a:lnTo>
                  <a:pt x="1268729" y="634346"/>
                </a:lnTo>
                <a:lnTo>
                  <a:pt x="1268730" y="634365"/>
                </a:lnTo>
                <a:lnTo>
                  <a:pt x="1268730" y="2023112"/>
                </a:lnTo>
                <a:lnTo>
                  <a:pt x="1268730" y="5143500"/>
                </a:lnTo>
                <a:lnTo>
                  <a:pt x="1285875" y="5143500"/>
                </a:lnTo>
                <a:lnTo>
                  <a:pt x="5143501" y="5143500"/>
                </a:lnTo>
                <a:lnTo>
                  <a:pt x="5143501" y="634365"/>
                </a:lnTo>
                <a:cubicBezTo>
                  <a:pt x="5143501" y="462915"/>
                  <a:pt x="5006341" y="342900"/>
                  <a:pt x="4852036" y="342900"/>
                </a:cubicBezTo>
                <a:close/>
                <a:moveTo>
                  <a:pt x="651511" y="342900"/>
                </a:moveTo>
                <a:lnTo>
                  <a:pt x="589025" y="349096"/>
                </a:lnTo>
                <a:cubicBezTo>
                  <a:pt x="447914" y="377459"/>
                  <a:pt x="342900" y="499348"/>
                  <a:pt x="342900" y="634365"/>
                </a:cubicBezTo>
                <a:lnTo>
                  <a:pt x="342900" y="1680212"/>
                </a:lnTo>
                <a:lnTo>
                  <a:pt x="942975" y="1680212"/>
                </a:lnTo>
                <a:lnTo>
                  <a:pt x="942976" y="1680212"/>
                </a:lnTo>
                <a:lnTo>
                  <a:pt x="942976" y="634365"/>
                </a:lnTo>
                <a:cubicBezTo>
                  <a:pt x="942976" y="462916"/>
                  <a:pt x="805816" y="342900"/>
                  <a:pt x="651511" y="342900"/>
                </a:cubicBezTo>
                <a:close/>
                <a:moveTo>
                  <a:pt x="634366" y="0"/>
                </a:moveTo>
                <a:lnTo>
                  <a:pt x="651510" y="1733"/>
                </a:lnTo>
                <a:lnTo>
                  <a:pt x="764996" y="13195"/>
                </a:lnTo>
                <a:cubicBezTo>
                  <a:pt x="922341" y="45592"/>
                  <a:pt x="1055669" y="135440"/>
                  <a:pt x="1145556" y="258015"/>
                </a:cubicBezTo>
                <a:cubicBezTo>
                  <a:pt x="1055669" y="135440"/>
                  <a:pt x="922341" y="45592"/>
                  <a:pt x="764996" y="13194"/>
                </a:cubicBezTo>
                <a:lnTo>
                  <a:pt x="651510" y="1733"/>
                </a:lnTo>
                <a:lnTo>
                  <a:pt x="651510" y="0"/>
                </a:lnTo>
                <a:lnTo>
                  <a:pt x="4852036" y="0"/>
                </a:lnTo>
                <a:cubicBezTo>
                  <a:pt x="5194936" y="0"/>
                  <a:pt x="5486401" y="291465"/>
                  <a:pt x="5486401" y="634365"/>
                </a:cubicBezTo>
                <a:lnTo>
                  <a:pt x="5486401" y="5486400"/>
                </a:lnTo>
                <a:lnTo>
                  <a:pt x="942975" y="5486400"/>
                </a:lnTo>
                <a:lnTo>
                  <a:pt x="942975" y="2023112"/>
                </a:lnTo>
                <a:lnTo>
                  <a:pt x="0" y="2023112"/>
                </a:lnTo>
                <a:lnTo>
                  <a:pt x="0" y="634365"/>
                </a:lnTo>
                <a:cubicBezTo>
                  <a:pt x="0" y="291466"/>
                  <a:pt x="291465" y="0"/>
                  <a:pt x="634366" y="0"/>
                </a:cubicBezTo>
                <a:close/>
              </a:path>
            </a:pathLst>
          </a:custGeom>
          <a:solidFill>
            <a:schemeClr val="tx1">
              <a:lumMod val="60000"/>
              <a:lumOff val="40000"/>
            </a:scheme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9" name="Freeform: Shape 68">
            <a:extLst>
              <a:ext uri="{FF2B5EF4-FFF2-40B4-BE49-F238E27FC236}">
                <a16:creationId xmlns:a16="http://schemas.microsoft.com/office/drawing/2014/main" id="{68171FC7-2EC8-433B-1172-8DD20110FB36}"/>
              </a:ext>
            </a:extLst>
          </p:cNvPr>
          <p:cNvSpPr/>
          <p:nvPr/>
        </p:nvSpPr>
        <p:spPr>
          <a:xfrm>
            <a:off x="1496394" y="1076869"/>
            <a:ext cx="201918" cy="193225"/>
          </a:xfrm>
          <a:custGeom>
            <a:avLst/>
            <a:gdLst>
              <a:gd name="connsiteX0" fmla="*/ 1457325 w 4269105"/>
              <a:gd name="connsiteY0" fmla="*/ 3240405 h 4457701"/>
              <a:gd name="connsiteX1" fmla="*/ 1800225 w 4269105"/>
              <a:gd name="connsiteY1" fmla="*/ 3240405 h 4457701"/>
              <a:gd name="connsiteX2" fmla="*/ 1800225 w 4269105"/>
              <a:gd name="connsiteY2" fmla="*/ 4457701 h 4457701"/>
              <a:gd name="connsiteX3" fmla="*/ 1457325 w 4269105"/>
              <a:gd name="connsiteY3" fmla="*/ 4457701 h 4457701"/>
              <a:gd name="connsiteX4" fmla="*/ 2280285 w 4269105"/>
              <a:gd name="connsiteY4" fmla="*/ 3034665 h 4457701"/>
              <a:gd name="connsiteX5" fmla="*/ 2623185 w 4269105"/>
              <a:gd name="connsiteY5" fmla="*/ 3034665 h 4457701"/>
              <a:gd name="connsiteX6" fmla="*/ 2623185 w 4269105"/>
              <a:gd name="connsiteY6" fmla="*/ 4440556 h 4457701"/>
              <a:gd name="connsiteX7" fmla="*/ 2280285 w 4269105"/>
              <a:gd name="connsiteY7" fmla="*/ 4440556 h 4457701"/>
              <a:gd name="connsiteX8" fmla="*/ 3103245 w 4269105"/>
              <a:gd name="connsiteY8" fmla="*/ 2657475 h 4457701"/>
              <a:gd name="connsiteX9" fmla="*/ 3446145 w 4269105"/>
              <a:gd name="connsiteY9" fmla="*/ 2657475 h 4457701"/>
              <a:gd name="connsiteX10" fmla="*/ 3446145 w 4269105"/>
              <a:gd name="connsiteY10" fmla="*/ 4440555 h 4457701"/>
              <a:gd name="connsiteX11" fmla="*/ 3103245 w 4269105"/>
              <a:gd name="connsiteY11" fmla="*/ 4440555 h 4457701"/>
              <a:gd name="connsiteX12" fmla="*/ 3926205 w 4269105"/>
              <a:gd name="connsiteY12" fmla="*/ 2280285 h 4457701"/>
              <a:gd name="connsiteX13" fmla="*/ 4269105 w 4269105"/>
              <a:gd name="connsiteY13" fmla="*/ 2280285 h 4457701"/>
              <a:gd name="connsiteX14" fmla="*/ 4269105 w 4269105"/>
              <a:gd name="connsiteY14" fmla="*/ 4440556 h 4457701"/>
              <a:gd name="connsiteX15" fmla="*/ 3926205 w 4269105"/>
              <a:gd name="connsiteY15" fmla="*/ 4440556 h 4457701"/>
              <a:gd name="connsiteX16" fmla="*/ 308611 w 4269105"/>
              <a:gd name="connsiteY16" fmla="*/ 0 h 4457701"/>
              <a:gd name="connsiteX17" fmla="*/ 365436 w 4269105"/>
              <a:gd name="connsiteY17" fmla="*/ 5492 h 4457701"/>
              <a:gd name="connsiteX18" fmla="*/ 600075 w 4269105"/>
              <a:gd name="connsiteY18" fmla="*/ 291465 h 4457701"/>
              <a:gd name="connsiteX19" fmla="*/ 600075 w 4269105"/>
              <a:gd name="connsiteY19" fmla="*/ 1337311 h 4457701"/>
              <a:gd name="connsiteX20" fmla="*/ 0 w 4269105"/>
              <a:gd name="connsiteY20" fmla="*/ 1337311 h 4457701"/>
              <a:gd name="connsiteX21" fmla="*/ 0 w 4269105"/>
              <a:gd name="connsiteY21" fmla="*/ 291465 h 4457701"/>
              <a:gd name="connsiteX22" fmla="*/ 246125 w 4269105"/>
              <a:gd name="connsiteY22" fmla="*/ 6195 h 445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69105" h="4457701">
                <a:moveTo>
                  <a:pt x="1457325" y="3240405"/>
                </a:moveTo>
                <a:lnTo>
                  <a:pt x="1800225" y="3240405"/>
                </a:lnTo>
                <a:lnTo>
                  <a:pt x="1800225" y="4457701"/>
                </a:lnTo>
                <a:lnTo>
                  <a:pt x="1457325" y="4457701"/>
                </a:lnTo>
                <a:close/>
                <a:moveTo>
                  <a:pt x="2280285" y="3034665"/>
                </a:moveTo>
                <a:lnTo>
                  <a:pt x="2623185" y="3034665"/>
                </a:lnTo>
                <a:lnTo>
                  <a:pt x="2623185" y="4440556"/>
                </a:lnTo>
                <a:lnTo>
                  <a:pt x="2280285" y="4440556"/>
                </a:lnTo>
                <a:close/>
                <a:moveTo>
                  <a:pt x="3103245" y="2657475"/>
                </a:moveTo>
                <a:lnTo>
                  <a:pt x="3446145" y="2657475"/>
                </a:lnTo>
                <a:lnTo>
                  <a:pt x="3446145" y="4440555"/>
                </a:lnTo>
                <a:lnTo>
                  <a:pt x="3103245" y="4440555"/>
                </a:lnTo>
                <a:close/>
                <a:moveTo>
                  <a:pt x="3926205" y="2280285"/>
                </a:moveTo>
                <a:lnTo>
                  <a:pt x="4269105" y="2280285"/>
                </a:lnTo>
                <a:lnTo>
                  <a:pt x="4269105" y="4440556"/>
                </a:lnTo>
                <a:lnTo>
                  <a:pt x="3926205" y="4440556"/>
                </a:lnTo>
                <a:close/>
                <a:moveTo>
                  <a:pt x="308611" y="0"/>
                </a:moveTo>
                <a:lnTo>
                  <a:pt x="365436" y="5492"/>
                </a:lnTo>
                <a:cubicBezTo>
                  <a:pt x="495062" y="30807"/>
                  <a:pt x="600075" y="141446"/>
                  <a:pt x="600075" y="291465"/>
                </a:cubicBezTo>
                <a:lnTo>
                  <a:pt x="600075" y="1337311"/>
                </a:lnTo>
                <a:lnTo>
                  <a:pt x="0" y="1337311"/>
                </a:lnTo>
                <a:lnTo>
                  <a:pt x="0" y="291465"/>
                </a:lnTo>
                <a:cubicBezTo>
                  <a:pt x="0" y="156448"/>
                  <a:pt x="105014" y="34558"/>
                  <a:pt x="246125" y="6195"/>
                </a:cubicBezTo>
                <a:close/>
              </a:path>
            </a:pathLst>
          </a:custGeom>
          <a:solidFill>
            <a:schemeClr val="tx1">
              <a:lumMod val="60000"/>
              <a:lumOff val="40000"/>
            </a:scheme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0" name="Freeform 30">
            <a:extLst>
              <a:ext uri="{FF2B5EF4-FFF2-40B4-BE49-F238E27FC236}">
                <a16:creationId xmlns:a16="http://schemas.microsoft.com/office/drawing/2014/main" id="{35AC31AB-5FD8-C9FB-65EE-CB42C781E2F5}"/>
              </a:ext>
            </a:extLst>
          </p:cNvPr>
          <p:cNvSpPr/>
          <p:nvPr/>
        </p:nvSpPr>
        <p:spPr>
          <a:xfrm>
            <a:off x="641145" y="2090327"/>
            <a:ext cx="2063418" cy="962846"/>
          </a:xfrm>
          <a:prstGeom prst="notchedRightArrow">
            <a:avLst/>
          </a:prstGeom>
          <a:solidFill>
            <a:srgbClr val="FFFFFF"/>
          </a:solidFill>
          <a:ln w="12700" cap="flat" cmpd="sng" algn="ctr">
            <a:noFill/>
            <a:prstDash val="solid"/>
            <a:miter lim="800000"/>
          </a:ln>
          <a:effectLst>
            <a:outerShdw blurRad="25400" dist="12700" dir="2700000" algn="tl" rotWithShape="0">
              <a:prstClr val="black">
                <a:alpha val="20000"/>
              </a:prstClr>
            </a:outerShdw>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cs typeface="+mn-cs"/>
            </a:endParaRPr>
          </a:p>
        </p:txBody>
      </p:sp>
      <p:sp>
        <p:nvSpPr>
          <p:cNvPr id="71" name="Freeform 28">
            <a:extLst>
              <a:ext uri="{FF2B5EF4-FFF2-40B4-BE49-F238E27FC236}">
                <a16:creationId xmlns:a16="http://schemas.microsoft.com/office/drawing/2014/main" id="{8220DED9-7763-BD0B-77E9-6B8AD326624A}"/>
              </a:ext>
            </a:extLst>
          </p:cNvPr>
          <p:cNvSpPr/>
          <p:nvPr/>
        </p:nvSpPr>
        <p:spPr>
          <a:xfrm>
            <a:off x="641145" y="2180776"/>
            <a:ext cx="2002958" cy="808343"/>
          </a:xfrm>
          <a:prstGeom prst="notchedRightArrow">
            <a:avLst/>
          </a:prstGeom>
          <a:solidFill>
            <a:schemeClr val="tx1">
              <a:lumMod val="60000"/>
              <a:lumOff val="40000"/>
            </a:schemeClr>
          </a:solidFill>
          <a:ln w="12700" cap="flat" cmpd="sng" algn="ctr">
            <a:noFill/>
            <a:prstDash val="solid"/>
            <a:miter lim="800000"/>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Calibri" panose="020F0502020204030204"/>
              <a:cs typeface="+mn-cs"/>
            </a:endParaRPr>
          </a:p>
        </p:txBody>
      </p:sp>
      <p:sp>
        <p:nvSpPr>
          <p:cNvPr id="72" name="TextBox 71">
            <a:extLst>
              <a:ext uri="{FF2B5EF4-FFF2-40B4-BE49-F238E27FC236}">
                <a16:creationId xmlns:a16="http://schemas.microsoft.com/office/drawing/2014/main" id="{503DC291-E776-C5E6-A66A-74DACB1B0BE9}"/>
              </a:ext>
            </a:extLst>
          </p:cNvPr>
          <p:cNvSpPr txBox="1"/>
          <p:nvPr/>
        </p:nvSpPr>
        <p:spPr>
          <a:xfrm>
            <a:off x="948043" y="2376424"/>
            <a:ext cx="1506392" cy="400110"/>
          </a:xfrm>
          <a:prstGeom prst="rect">
            <a:avLst/>
          </a:prstGeom>
          <a:noFill/>
        </p:spPr>
        <p:txBody>
          <a:bodyPr wrap="square" rtlCol="0" anchor="ctr">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rPr>
              <a:t>Break Down the Business Question</a:t>
            </a:r>
          </a:p>
        </p:txBody>
      </p:sp>
      <p:sp>
        <p:nvSpPr>
          <p:cNvPr id="73" name="Rectangle 72">
            <a:extLst>
              <a:ext uri="{FF2B5EF4-FFF2-40B4-BE49-F238E27FC236}">
                <a16:creationId xmlns:a16="http://schemas.microsoft.com/office/drawing/2014/main" id="{85D738F7-EA04-0B72-0E81-D90162E4A988}"/>
              </a:ext>
            </a:extLst>
          </p:cNvPr>
          <p:cNvSpPr/>
          <p:nvPr/>
        </p:nvSpPr>
        <p:spPr>
          <a:xfrm rot="5400000" flipH="1">
            <a:off x="1349997" y="1863067"/>
            <a:ext cx="516494" cy="563573"/>
          </a:xfrm>
          <a:prstGeom prst="rect">
            <a:avLst/>
          </a:prstGeom>
          <a:solidFill>
            <a:schemeClr val="tx1">
              <a:lumMod val="60000"/>
              <a:lumOff val="40000"/>
            </a:schemeClr>
          </a:solidFill>
          <a:ln w="6350" cap="flat" cmpd="sng" algn="ctr">
            <a:solidFill>
              <a:schemeClr val="tx1">
                <a:lumMod val="60000"/>
                <a:lumOff val="40000"/>
              </a:schemeClr>
            </a:solid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328F4A44-E70F-273F-A655-59A6B59757C6}"/>
              </a:ext>
            </a:extLst>
          </p:cNvPr>
          <p:cNvSpPr/>
          <p:nvPr/>
        </p:nvSpPr>
        <p:spPr>
          <a:xfrm flipH="1">
            <a:off x="1372511" y="1932662"/>
            <a:ext cx="478741" cy="438745"/>
          </a:xfrm>
          <a:prstGeom prst="rect">
            <a:avLst/>
          </a:prstGeom>
          <a:solidFill>
            <a:srgbClr val="FFFFFF"/>
          </a:solidFill>
          <a:ln w="6350" cap="flat" cmpd="sng" algn="ctr">
            <a:solidFill>
              <a:schemeClr val="tx1">
                <a:lumMod val="40000"/>
                <a:lumOff val="60000"/>
              </a:schemeClr>
            </a:solidFill>
            <a:prstDash val="solid"/>
            <a:miter lim="800000"/>
          </a:ln>
          <a:effectLst>
            <a:outerShdw blurRad="63500" sx="102000" sy="102000" algn="ctr" rotWithShape="0">
              <a:prstClr val="black">
                <a:alpha val="10000"/>
              </a:prstClr>
            </a:outerShdw>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5" name="Freeform: Shape 74">
            <a:extLst>
              <a:ext uri="{FF2B5EF4-FFF2-40B4-BE49-F238E27FC236}">
                <a16:creationId xmlns:a16="http://schemas.microsoft.com/office/drawing/2014/main" id="{C4AFB20C-2F36-DBE9-5F0C-DC97589A489D}"/>
              </a:ext>
            </a:extLst>
          </p:cNvPr>
          <p:cNvSpPr/>
          <p:nvPr/>
        </p:nvSpPr>
        <p:spPr>
          <a:xfrm>
            <a:off x="1523208" y="2012414"/>
            <a:ext cx="201174" cy="141487"/>
          </a:xfrm>
          <a:custGeom>
            <a:avLst/>
            <a:gdLst>
              <a:gd name="connsiteX0" fmla="*/ 77650 w 3123639"/>
              <a:gd name="connsiteY0" fmla="*/ 1949367 h 2397124"/>
              <a:gd name="connsiteX1" fmla="*/ 3045989 w 3123639"/>
              <a:gd name="connsiteY1" fmla="*/ 1949367 h 2397124"/>
              <a:gd name="connsiteX2" fmla="*/ 3123639 w 3123639"/>
              <a:gd name="connsiteY2" fmla="*/ 2027017 h 2397124"/>
              <a:gd name="connsiteX3" fmla="*/ 3123601 w 3123639"/>
              <a:gd name="connsiteY3" fmla="*/ 2397124 h 2397124"/>
              <a:gd name="connsiteX4" fmla="*/ 0 w 3123639"/>
              <a:gd name="connsiteY4" fmla="*/ 2397124 h 2397124"/>
              <a:gd name="connsiteX5" fmla="*/ 0 w 3123639"/>
              <a:gd name="connsiteY5" fmla="*/ 2027017 h 2397124"/>
              <a:gd name="connsiteX6" fmla="*/ 77650 w 3123639"/>
              <a:gd name="connsiteY6" fmla="*/ 1949367 h 2397124"/>
              <a:gd name="connsiteX7" fmla="*/ 363671 w 3123639"/>
              <a:gd name="connsiteY7" fmla="*/ 577180 h 2397124"/>
              <a:gd name="connsiteX8" fmla="*/ 507258 w 3123639"/>
              <a:gd name="connsiteY8" fmla="*/ 720728 h 2397124"/>
              <a:gd name="connsiteX9" fmla="*/ 507258 w 3123639"/>
              <a:gd name="connsiteY9" fmla="*/ 1059690 h 2397124"/>
              <a:gd name="connsiteX10" fmla="*/ 363671 w 3123639"/>
              <a:gd name="connsiteY10" fmla="*/ 1203355 h 2397124"/>
              <a:gd name="connsiteX11" fmla="*/ 220084 w 3123639"/>
              <a:gd name="connsiteY11" fmla="*/ 1059690 h 2397124"/>
              <a:gd name="connsiteX12" fmla="*/ 220084 w 3123639"/>
              <a:gd name="connsiteY12" fmla="*/ 720728 h 2397124"/>
              <a:gd name="connsiteX13" fmla="*/ 363671 w 3123639"/>
              <a:gd name="connsiteY13" fmla="*/ 577180 h 2397124"/>
              <a:gd name="connsiteX14" fmla="*/ 1961096 w 3123639"/>
              <a:gd name="connsiteY14" fmla="*/ 0 h 2397124"/>
              <a:gd name="connsiteX15" fmla="*/ 2104683 w 3123639"/>
              <a:gd name="connsiteY15" fmla="*/ 143665 h 2397124"/>
              <a:gd name="connsiteX16" fmla="*/ 2104683 w 3123639"/>
              <a:gd name="connsiteY16" fmla="*/ 1274647 h 2397124"/>
              <a:gd name="connsiteX17" fmla="*/ 1961096 w 3123639"/>
              <a:gd name="connsiteY17" fmla="*/ 1418312 h 2397124"/>
              <a:gd name="connsiteX18" fmla="*/ 1817509 w 3123639"/>
              <a:gd name="connsiteY18" fmla="*/ 1274647 h 2397124"/>
              <a:gd name="connsiteX19" fmla="*/ 1817509 w 3123639"/>
              <a:gd name="connsiteY19" fmla="*/ 143665 h 2397124"/>
              <a:gd name="connsiteX20" fmla="*/ 1961096 w 3123639"/>
              <a:gd name="connsiteY20" fmla="*/ 0 h 2397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23639" h="2397124">
                <a:moveTo>
                  <a:pt x="77650" y="1949367"/>
                </a:moveTo>
                <a:lnTo>
                  <a:pt x="3045989" y="1949367"/>
                </a:lnTo>
                <a:cubicBezTo>
                  <a:pt x="3088813" y="1949367"/>
                  <a:pt x="3123639" y="1984231"/>
                  <a:pt x="3123639" y="2027017"/>
                </a:cubicBezTo>
                <a:lnTo>
                  <a:pt x="3123601" y="2397124"/>
                </a:lnTo>
                <a:lnTo>
                  <a:pt x="0" y="2397124"/>
                </a:lnTo>
                <a:lnTo>
                  <a:pt x="0" y="2027017"/>
                </a:lnTo>
                <a:cubicBezTo>
                  <a:pt x="0" y="1984269"/>
                  <a:pt x="34826" y="1949367"/>
                  <a:pt x="77650" y="1949367"/>
                </a:cubicBezTo>
                <a:close/>
                <a:moveTo>
                  <a:pt x="363671" y="577180"/>
                </a:moveTo>
                <a:cubicBezTo>
                  <a:pt x="442890" y="577180"/>
                  <a:pt x="507258" y="641588"/>
                  <a:pt x="507258" y="720728"/>
                </a:cubicBezTo>
                <a:lnTo>
                  <a:pt x="507258" y="1059690"/>
                </a:lnTo>
                <a:cubicBezTo>
                  <a:pt x="507258" y="1138947"/>
                  <a:pt x="442850" y="1203355"/>
                  <a:pt x="363671" y="1203355"/>
                </a:cubicBezTo>
                <a:cubicBezTo>
                  <a:pt x="284452" y="1203355"/>
                  <a:pt x="220084" y="1138947"/>
                  <a:pt x="220084" y="1059690"/>
                </a:cubicBezTo>
                <a:lnTo>
                  <a:pt x="220084" y="720728"/>
                </a:lnTo>
                <a:cubicBezTo>
                  <a:pt x="220084" y="641585"/>
                  <a:pt x="284493" y="577180"/>
                  <a:pt x="363671" y="577180"/>
                </a:cubicBezTo>
                <a:close/>
                <a:moveTo>
                  <a:pt x="1961096" y="0"/>
                </a:moveTo>
                <a:cubicBezTo>
                  <a:pt x="2040315" y="0"/>
                  <a:pt x="2104683" y="64408"/>
                  <a:pt x="2104683" y="143665"/>
                </a:cubicBezTo>
                <a:lnTo>
                  <a:pt x="2104683" y="1274647"/>
                </a:lnTo>
                <a:cubicBezTo>
                  <a:pt x="2104683" y="1353904"/>
                  <a:pt x="2040274" y="1418312"/>
                  <a:pt x="1961096" y="1418312"/>
                </a:cubicBezTo>
                <a:cubicBezTo>
                  <a:pt x="1881877" y="1418312"/>
                  <a:pt x="1817509" y="1353904"/>
                  <a:pt x="1817509" y="1274647"/>
                </a:cubicBezTo>
                <a:lnTo>
                  <a:pt x="1817509" y="143665"/>
                </a:lnTo>
                <a:cubicBezTo>
                  <a:pt x="1817509" y="64408"/>
                  <a:pt x="1881917" y="0"/>
                  <a:pt x="1961096" y="0"/>
                </a:cubicBezTo>
                <a:close/>
              </a:path>
            </a:pathLst>
          </a:custGeom>
          <a:solidFill>
            <a:schemeClr val="tx1">
              <a:lumMod val="60000"/>
              <a:lumOff val="40000"/>
            </a:scheme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6" name="Freeform: Shape 75">
            <a:extLst>
              <a:ext uri="{FF2B5EF4-FFF2-40B4-BE49-F238E27FC236}">
                <a16:creationId xmlns:a16="http://schemas.microsoft.com/office/drawing/2014/main" id="{88E473AB-3E7F-E235-3D22-9659F25451E2}"/>
              </a:ext>
            </a:extLst>
          </p:cNvPr>
          <p:cNvSpPr/>
          <p:nvPr/>
        </p:nvSpPr>
        <p:spPr>
          <a:xfrm>
            <a:off x="1512347" y="2001556"/>
            <a:ext cx="221172" cy="322450"/>
          </a:xfrm>
          <a:custGeom>
            <a:avLst/>
            <a:gdLst>
              <a:gd name="connsiteX0" fmla="*/ 1725087 w 3434154"/>
              <a:gd name="connsiteY0" fmla="*/ 4108496 h 5463085"/>
              <a:gd name="connsiteX1" fmla="*/ 1794473 w 3434154"/>
              <a:gd name="connsiteY1" fmla="*/ 4145199 h 5463085"/>
              <a:gd name="connsiteX2" fmla="*/ 1794473 w 3434154"/>
              <a:gd name="connsiteY2" fmla="*/ 5337800 h 5463085"/>
              <a:gd name="connsiteX3" fmla="*/ 2060452 w 3434154"/>
              <a:gd name="connsiteY3" fmla="*/ 5197105 h 5463085"/>
              <a:gd name="connsiteX4" fmla="*/ 2058597 w 3434154"/>
              <a:gd name="connsiteY4" fmla="*/ 5197105 h 5463085"/>
              <a:gd name="connsiteX5" fmla="*/ 2156896 w 3434154"/>
              <a:gd name="connsiteY5" fmla="*/ 5197236 h 5463085"/>
              <a:gd name="connsiteX6" fmla="*/ 2156669 w 3434154"/>
              <a:gd name="connsiteY6" fmla="*/ 5249233 h 5463085"/>
              <a:gd name="connsiteX7" fmla="*/ 1772276 w 3434154"/>
              <a:gd name="connsiteY7" fmla="*/ 5452325 h 5463085"/>
              <a:gd name="connsiteX8" fmla="*/ 1749601 w 3434154"/>
              <a:gd name="connsiteY8" fmla="*/ 5460398 h 5463085"/>
              <a:gd name="connsiteX9" fmla="*/ 1698718 w 3434154"/>
              <a:gd name="connsiteY9" fmla="*/ 5460398 h 5463085"/>
              <a:gd name="connsiteX10" fmla="*/ 1676064 w 3434154"/>
              <a:gd name="connsiteY10" fmla="*/ 5452325 h 5463085"/>
              <a:gd name="connsiteX11" fmla="*/ 1676043 w 3434154"/>
              <a:gd name="connsiteY11" fmla="*/ 5452325 h 5463085"/>
              <a:gd name="connsiteX12" fmla="*/ 1291650 w 3434154"/>
              <a:gd name="connsiteY12" fmla="*/ 5249233 h 5463085"/>
              <a:gd name="connsiteX13" fmla="*/ 1291423 w 3434154"/>
              <a:gd name="connsiteY13" fmla="*/ 5197236 h 5463085"/>
              <a:gd name="connsiteX14" fmla="*/ 1389722 w 3434154"/>
              <a:gd name="connsiteY14" fmla="*/ 5197105 h 5463085"/>
              <a:gd name="connsiteX15" fmla="*/ 1655700 w 3434154"/>
              <a:gd name="connsiteY15" fmla="*/ 5337800 h 5463085"/>
              <a:gd name="connsiteX16" fmla="*/ 1655700 w 3434154"/>
              <a:gd name="connsiteY16" fmla="*/ 4145199 h 5463085"/>
              <a:gd name="connsiteX17" fmla="*/ 1725087 w 3434154"/>
              <a:gd name="connsiteY17" fmla="*/ 4108496 h 5463085"/>
              <a:gd name="connsiteX18" fmla="*/ 2420520 w 3434154"/>
              <a:gd name="connsiteY18" fmla="*/ 2966601 h 5463085"/>
              <a:gd name="connsiteX19" fmla="*/ 2476451 w 3434154"/>
              <a:gd name="connsiteY19" fmla="*/ 2986502 h 5463085"/>
              <a:gd name="connsiteX20" fmla="*/ 2476454 w 3434154"/>
              <a:gd name="connsiteY20" fmla="*/ 2986502 h 5463085"/>
              <a:gd name="connsiteX21" fmla="*/ 2482004 w 3434154"/>
              <a:gd name="connsiteY21" fmla="*/ 3096181 h 5463085"/>
              <a:gd name="connsiteX22" fmla="*/ 2093145 w 3434154"/>
              <a:gd name="connsiteY22" fmla="*/ 3526717 h 5463085"/>
              <a:gd name="connsiteX23" fmla="*/ 2035510 w 3434154"/>
              <a:gd name="connsiteY23" fmla="*/ 3552282 h 5463085"/>
              <a:gd name="connsiteX24" fmla="*/ 1983463 w 3434154"/>
              <a:gd name="connsiteY24" fmla="*/ 3532266 h 5463085"/>
              <a:gd name="connsiteX25" fmla="*/ 1977914 w 3434154"/>
              <a:gd name="connsiteY25" fmla="*/ 3422587 h 5463085"/>
              <a:gd name="connsiteX26" fmla="*/ 2366772 w 3434154"/>
              <a:gd name="connsiteY26" fmla="*/ 2992051 h 5463085"/>
              <a:gd name="connsiteX27" fmla="*/ 2420520 w 3434154"/>
              <a:gd name="connsiteY27" fmla="*/ 2966601 h 5463085"/>
              <a:gd name="connsiteX28" fmla="*/ 1013749 w 3434154"/>
              <a:gd name="connsiteY28" fmla="*/ 2966522 h 5463085"/>
              <a:gd name="connsiteX29" fmla="*/ 1067426 w 3434154"/>
              <a:gd name="connsiteY29" fmla="*/ 2992087 h 5463085"/>
              <a:gd name="connsiteX30" fmla="*/ 1456288 w 3434154"/>
              <a:gd name="connsiteY30" fmla="*/ 3422623 h 5463085"/>
              <a:gd name="connsiteX31" fmla="*/ 1450738 w 3434154"/>
              <a:gd name="connsiteY31" fmla="*/ 3532302 h 5463085"/>
              <a:gd name="connsiteX32" fmla="*/ 1398691 w 3434154"/>
              <a:gd name="connsiteY32" fmla="*/ 3552318 h 5463085"/>
              <a:gd name="connsiteX33" fmla="*/ 1341057 w 3434154"/>
              <a:gd name="connsiteY33" fmla="*/ 3526753 h 5463085"/>
              <a:gd name="connsiteX34" fmla="*/ 952198 w 3434154"/>
              <a:gd name="connsiteY34" fmla="*/ 3096217 h 5463085"/>
              <a:gd name="connsiteX35" fmla="*/ 957747 w 3434154"/>
              <a:gd name="connsiteY35" fmla="*/ 2986538 h 5463085"/>
              <a:gd name="connsiteX36" fmla="*/ 1013749 w 3434154"/>
              <a:gd name="connsiteY36" fmla="*/ 2966522 h 5463085"/>
              <a:gd name="connsiteX37" fmla="*/ 232961 w 3434154"/>
              <a:gd name="connsiteY37" fmla="*/ 2104650 h 5463085"/>
              <a:gd name="connsiteX38" fmla="*/ 155311 w 3434154"/>
              <a:gd name="connsiteY38" fmla="*/ 2182300 h 5463085"/>
              <a:gd name="connsiteX39" fmla="*/ 155311 w 3434154"/>
              <a:gd name="connsiteY39" fmla="*/ 2552407 h 5463085"/>
              <a:gd name="connsiteX40" fmla="*/ 3278912 w 3434154"/>
              <a:gd name="connsiteY40" fmla="*/ 2552407 h 5463085"/>
              <a:gd name="connsiteX41" fmla="*/ 3278950 w 3434154"/>
              <a:gd name="connsiteY41" fmla="*/ 2182300 h 5463085"/>
              <a:gd name="connsiteX42" fmla="*/ 3201300 w 3434154"/>
              <a:gd name="connsiteY42" fmla="*/ 2104650 h 5463085"/>
              <a:gd name="connsiteX43" fmla="*/ 232907 w 3434154"/>
              <a:gd name="connsiteY43" fmla="*/ 1949430 h 5463085"/>
              <a:gd name="connsiteX44" fmla="*/ 3201246 w 3434154"/>
              <a:gd name="connsiteY44" fmla="*/ 1949430 h 5463085"/>
              <a:gd name="connsiteX45" fmla="*/ 3434154 w 3434154"/>
              <a:gd name="connsiteY45" fmla="*/ 2182337 h 5463085"/>
              <a:gd name="connsiteX46" fmla="*/ 3434154 w 3434154"/>
              <a:gd name="connsiteY46" fmla="*/ 2630057 h 5463085"/>
              <a:gd name="connsiteX47" fmla="*/ 3433044 w 3434154"/>
              <a:gd name="connsiteY47" fmla="*/ 2635568 h 5463085"/>
              <a:gd name="connsiteX48" fmla="*/ 3433032 w 3434154"/>
              <a:gd name="connsiteY48" fmla="*/ 2635626 h 5463085"/>
              <a:gd name="connsiteX49" fmla="*/ 3429320 w 3434154"/>
              <a:gd name="connsiteY49" fmla="*/ 2653995 h 5463085"/>
              <a:gd name="connsiteX50" fmla="*/ 3426794 w 3434154"/>
              <a:gd name="connsiteY50" fmla="*/ 2662185 h 5463085"/>
              <a:gd name="connsiteX51" fmla="*/ 3413897 w 3434154"/>
              <a:gd name="connsiteY51" fmla="*/ 2682163 h 5463085"/>
              <a:gd name="connsiteX52" fmla="*/ 3411639 w 3434154"/>
              <a:gd name="connsiteY52" fmla="*/ 2684650 h 5463085"/>
              <a:gd name="connsiteX53" fmla="*/ 3411218 w 3434154"/>
              <a:gd name="connsiteY53" fmla="*/ 2685148 h 5463085"/>
              <a:gd name="connsiteX54" fmla="*/ 2400446 w 3434154"/>
              <a:gd name="connsiteY54" fmla="*/ 3804275 h 5463085"/>
              <a:gd name="connsiteX55" fmla="*/ 2252265 w 3434154"/>
              <a:gd name="connsiteY55" fmla="*/ 4189421 h 5463085"/>
              <a:gd name="connsiteX56" fmla="*/ 2252265 w 3434154"/>
              <a:gd name="connsiteY56" fmla="*/ 4839549 h 5463085"/>
              <a:gd name="connsiteX57" fmla="*/ 2174614 w 3434154"/>
              <a:gd name="connsiteY57" fmla="*/ 4917200 h 5463085"/>
              <a:gd name="connsiteX58" fmla="*/ 2096964 w 3434154"/>
              <a:gd name="connsiteY58" fmla="*/ 4839549 h 5463085"/>
              <a:gd name="connsiteX59" fmla="*/ 2096964 w 3434154"/>
              <a:gd name="connsiteY59" fmla="*/ 4189460 h 5463085"/>
              <a:gd name="connsiteX60" fmla="*/ 2285177 w 3434154"/>
              <a:gd name="connsiteY60" fmla="*/ 3700181 h 5463085"/>
              <a:gd name="connsiteX61" fmla="*/ 3181498 w 3434154"/>
              <a:gd name="connsiteY61" fmla="*/ 2707730 h 5463085"/>
              <a:gd name="connsiteX62" fmla="*/ 252642 w 3434154"/>
              <a:gd name="connsiteY62" fmla="*/ 2707730 h 5463085"/>
              <a:gd name="connsiteX63" fmla="*/ 1149003 w 3434154"/>
              <a:gd name="connsiteY63" fmla="*/ 3700083 h 5463085"/>
              <a:gd name="connsiteX64" fmla="*/ 1337215 w 3434154"/>
              <a:gd name="connsiteY64" fmla="*/ 4189362 h 5463085"/>
              <a:gd name="connsiteX65" fmla="*/ 1337215 w 3434154"/>
              <a:gd name="connsiteY65" fmla="*/ 4839490 h 5463085"/>
              <a:gd name="connsiteX66" fmla="*/ 1259565 w 3434154"/>
              <a:gd name="connsiteY66" fmla="*/ 4917140 h 5463085"/>
              <a:gd name="connsiteX67" fmla="*/ 1181915 w 3434154"/>
              <a:gd name="connsiteY67" fmla="*/ 4839490 h 5463085"/>
              <a:gd name="connsiteX68" fmla="*/ 1181877 w 3434154"/>
              <a:gd name="connsiteY68" fmla="*/ 4189401 h 5463085"/>
              <a:gd name="connsiteX69" fmla="*/ 1033695 w 3434154"/>
              <a:gd name="connsiteY69" fmla="*/ 3804256 h 5463085"/>
              <a:gd name="connsiteX70" fmla="*/ 22924 w 3434154"/>
              <a:gd name="connsiteY70" fmla="*/ 2685128 h 5463085"/>
              <a:gd name="connsiteX71" fmla="*/ 22503 w 3434154"/>
              <a:gd name="connsiteY71" fmla="*/ 2684630 h 5463085"/>
              <a:gd name="connsiteX72" fmla="*/ 20245 w 3434154"/>
              <a:gd name="connsiteY72" fmla="*/ 2682143 h 5463085"/>
              <a:gd name="connsiteX73" fmla="*/ 7348 w 3434154"/>
              <a:gd name="connsiteY73" fmla="*/ 2662166 h 5463085"/>
              <a:gd name="connsiteX74" fmla="*/ 4822 w 3434154"/>
              <a:gd name="connsiteY74" fmla="*/ 2653976 h 5463085"/>
              <a:gd name="connsiteX75" fmla="*/ 1110 w 3434154"/>
              <a:gd name="connsiteY75" fmla="*/ 2635568 h 5463085"/>
              <a:gd name="connsiteX76" fmla="*/ 0 w 3434154"/>
              <a:gd name="connsiteY76" fmla="*/ 2630057 h 5463085"/>
              <a:gd name="connsiteX77" fmla="*/ 0 w 3434154"/>
              <a:gd name="connsiteY77" fmla="*/ 2182337 h 5463085"/>
              <a:gd name="connsiteX78" fmla="*/ 232907 w 3434154"/>
              <a:gd name="connsiteY78" fmla="*/ 1949430 h 5463085"/>
              <a:gd name="connsiteX79" fmla="*/ 518983 w 3434154"/>
              <a:gd name="connsiteY79" fmla="*/ 732463 h 5463085"/>
              <a:gd name="connsiteX80" fmla="*/ 375396 w 3434154"/>
              <a:gd name="connsiteY80" fmla="*/ 876011 h 5463085"/>
              <a:gd name="connsiteX81" fmla="*/ 375396 w 3434154"/>
              <a:gd name="connsiteY81" fmla="*/ 1214973 h 5463085"/>
              <a:gd name="connsiteX82" fmla="*/ 518983 w 3434154"/>
              <a:gd name="connsiteY82" fmla="*/ 1358638 h 5463085"/>
              <a:gd name="connsiteX83" fmla="*/ 662570 w 3434154"/>
              <a:gd name="connsiteY83" fmla="*/ 1214973 h 5463085"/>
              <a:gd name="connsiteX84" fmla="*/ 662570 w 3434154"/>
              <a:gd name="connsiteY84" fmla="*/ 876011 h 5463085"/>
              <a:gd name="connsiteX85" fmla="*/ 518983 w 3434154"/>
              <a:gd name="connsiteY85" fmla="*/ 732463 h 5463085"/>
              <a:gd name="connsiteX86" fmla="*/ 2915130 w 3434154"/>
              <a:gd name="connsiteY86" fmla="*/ 662531 h 5463085"/>
              <a:gd name="connsiteX87" fmla="*/ 2771543 w 3434154"/>
              <a:gd name="connsiteY87" fmla="*/ 806196 h 5463085"/>
              <a:gd name="connsiteX88" fmla="*/ 2771543 w 3434154"/>
              <a:gd name="connsiteY88" fmla="*/ 1331569 h 5463085"/>
              <a:gd name="connsiteX89" fmla="*/ 2915130 w 3434154"/>
              <a:gd name="connsiteY89" fmla="*/ 1475117 h 5463085"/>
              <a:gd name="connsiteX90" fmla="*/ 3058717 w 3434154"/>
              <a:gd name="connsiteY90" fmla="*/ 1331569 h 5463085"/>
              <a:gd name="connsiteX91" fmla="*/ 3058717 w 3434154"/>
              <a:gd name="connsiteY91" fmla="*/ 806196 h 5463085"/>
              <a:gd name="connsiteX92" fmla="*/ 2915130 w 3434154"/>
              <a:gd name="connsiteY92" fmla="*/ 662531 h 5463085"/>
              <a:gd name="connsiteX93" fmla="*/ 518983 w 3434154"/>
              <a:gd name="connsiteY93" fmla="*/ 577188 h 5463085"/>
              <a:gd name="connsiteX94" fmla="*/ 817874 w 3434154"/>
              <a:gd name="connsiteY94" fmla="*/ 876001 h 5463085"/>
              <a:gd name="connsiteX95" fmla="*/ 817874 w 3434154"/>
              <a:gd name="connsiteY95" fmla="*/ 1214963 h 5463085"/>
              <a:gd name="connsiteX96" fmla="*/ 518983 w 3434154"/>
              <a:gd name="connsiteY96" fmla="*/ 1513894 h 5463085"/>
              <a:gd name="connsiteX97" fmla="*/ 220091 w 3434154"/>
              <a:gd name="connsiteY97" fmla="*/ 1214963 h 5463085"/>
              <a:gd name="connsiteX98" fmla="*/ 220091 w 3434154"/>
              <a:gd name="connsiteY98" fmla="*/ 876001 h 5463085"/>
              <a:gd name="connsiteX99" fmla="*/ 518983 w 3434154"/>
              <a:gd name="connsiteY99" fmla="*/ 577188 h 5463085"/>
              <a:gd name="connsiteX100" fmla="*/ 2915169 w 3434154"/>
              <a:gd name="connsiteY100" fmla="*/ 507266 h 5463085"/>
              <a:gd name="connsiteX101" fmla="*/ 3214060 w 3434154"/>
              <a:gd name="connsiteY101" fmla="*/ 806196 h 5463085"/>
              <a:gd name="connsiteX102" fmla="*/ 3214060 w 3434154"/>
              <a:gd name="connsiteY102" fmla="*/ 1331569 h 5463085"/>
              <a:gd name="connsiteX103" fmla="*/ 2915169 w 3434154"/>
              <a:gd name="connsiteY103" fmla="*/ 1630382 h 5463085"/>
              <a:gd name="connsiteX104" fmla="*/ 2616277 w 3434154"/>
              <a:gd name="connsiteY104" fmla="*/ 1331569 h 5463085"/>
              <a:gd name="connsiteX105" fmla="*/ 2616277 w 3434154"/>
              <a:gd name="connsiteY105" fmla="*/ 806196 h 5463085"/>
              <a:gd name="connsiteX106" fmla="*/ 2915169 w 3434154"/>
              <a:gd name="connsiteY106" fmla="*/ 507266 h 5463085"/>
              <a:gd name="connsiteX107" fmla="*/ 1317705 w 3434154"/>
              <a:gd name="connsiteY107" fmla="*/ 388338 h 5463085"/>
              <a:gd name="connsiteX108" fmla="*/ 1174118 w 3434154"/>
              <a:gd name="connsiteY108" fmla="*/ 531886 h 5463085"/>
              <a:gd name="connsiteX109" fmla="*/ 1174118 w 3434154"/>
              <a:gd name="connsiteY109" fmla="*/ 1033911 h 5463085"/>
              <a:gd name="connsiteX110" fmla="*/ 1317705 w 3434154"/>
              <a:gd name="connsiteY110" fmla="*/ 1177576 h 5463085"/>
              <a:gd name="connsiteX111" fmla="*/ 1461292 w 3434154"/>
              <a:gd name="connsiteY111" fmla="*/ 1033911 h 5463085"/>
              <a:gd name="connsiteX112" fmla="*/ 1461292 w 3434154"/>
              <a:gd name="connsiteY112" fmla="*/ 531886 h 5463085"/>
              <a:gd name="connsiteX113" fmla="*/ 1317705 w 3434154"/>
              <a:gd name="connsiteY113" fmla="*/ 388338 h 5463085"/>
              <a:gd name="connsiteX114" fmla="*/ 1317706 w 3434154"/>
              <a:gd name="connsiteY114" fmla="*/ 233073 h 5463085"/>
              <a:gd name="connsiteX115" fmla="*/ 1616597 w 3434154"/>
              <a:gd name="connsiteY115" fmla="*/ 531886 h 5463085"/>
              <a:gd name="connsiteX116" fmla="*/ 1616636 w 3434154"/>
              <a:gd name="connsiteY116" fmla="*/ 1033911 h 5463085"/>
              <a:gd name="connsiteX117" fmla="*/ 1377899 w 3434154"/>
              <a:gd name="connsiteY117" fmla="*/ 1326758 h 5463085"/>
              <a:gd name="connsiteX118" fmla="*/ 1317745 w 3434154"/>
              <a:gd name="connsiteY118" fmla="*/ 1332841 h 5463085"/>
              <a:gd name="connsiteX119" fmla="*/ 1257587 w 3434154"/>
              <a:gd name="connsiteY119" fmla="*/ 1326760 h 5463085"/>
              <a:gd name="connsiteX120" fmla="*/ 1018814 w 3434154"/>
              <a:gd name="connsiteY120" fmla="*/ 1033911 h 5463085"/>
              <a:gd name="connsiteX121" fmla="*/ 1018814 w 3434154"/>
              <a:gd name="connsiteY121" fmla="*/ 531886 h 5463085"/>
              <a:gd name="connsiteX122" fmla="*/ 1317706 w 3434154"/>
              <a:gd name="connsiteY122" fmla="*/ 233073 h 5463085"/>
              <a:gd name="connsiteX123" fmla="*/ 2116408 w 3434154"/>
              <a:gd name="connsiteY123" fmla="*/ 155285 h 5463085"/>
              <a:gd name="connsiteX124" fmla="*/ 1972821 w 3434154"/>
              <a:gd name="connsiteY124" fmla="*/ 298950 h 5463085"/>
              <a:gd name="connsiteX125" fmla="*/ 1972821 w 3434154"/>
              <a:gd name="connsiteY125" fmla="*/ 1429932 h 5463085"/>
              <a:gd name="connsiteX126" fmla="*/ 2116408 w 3434154"/>
              <a:gd name="connsiteY126" fmla="*/ 1573597 h 5463085"/>
              <a:gd name="connsiteX127" fmla="*/ 2259995 w 3434154"/>
              <a:gd name="connsiteY127" fmla="*/ 1429932 h 5463085"/>
              <a:gd name="connsiteX128" fmla="*/ 2259995 w 3434154"/>
              <a:gd name="connsiteY128" fmla="*/ 298950 h 5463085"/>
              <a:gd name="connsiteX129" fmla="*/ 2116408 w 3434154"/>
              <a:gd name="connsiteY129" fmla="*/ 155285 h 5463085"/>
              <a:gd name="connsiteX130" fmla="*/ 2116408 w 3434154"/>
              <a:gd name="connsiteY130" fmla="*/ 0 h 5463085"/>
              <a:gd name="connsiteX131" fmla="*/ 2415299 w 3434154"/>
              <a:gd name="connsiteY131" fmla="*/ 298930 h 5463085"/>
              <a:gd name="connsiteX132" fmla="*/ 2415299 w 3434154"/>
              <a:gd name="connsiteY132" fmla="*/ 1430010 h 5463085"/>
              <a:gd name="connsiteX133" fmla="*/ 2116408 w 3434154"/>
              <a:gd name="connsiteY133" fmla="*/ 1728941 h 5463085"/>
              <a:gd name="connsiteX134" fmla="*/ 2116408 w 3434154"/>
              <a:gd name="connsiteY134" fmla="*/ 1728882 h 5463085"/>
              <a:gd name="connsiteX135" fmla="*/ 1817516 w 3434154"/>
              <a:gd name="connsiteY135" fmla="*/ 1429913 h 5463085"/>
              <a:gd name="connsiteX136" fmla="*/ 1817516 w 3434154"/>
              <a:gd name="connsiteY136" fmla="*/ 298930 h 5463085"/>
              <a:gd name="connsiteX137" fmla="*/ 2116408 w 3434154"/>
              <a:gd name="connsiteY137" fmla="*/ 0 h 546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3434154" h="5463085">
                <a:moveTo>
                  <a:pt x="1725087" y="4108496"/>
                </a:moveTo>
                <a:cubicBezTo>
                  <a:pt x="1763415" y="4108496"/>
                  <a:pt x="1794473" y="4124925"/>
                  <a:pt x="1794473" y="4145199"/>
                </a:cubicBezTo>
                <a:lnTo>
                  <a:pt x="1794473" y="5337800"/>
                </a:lnTo>
                <a:lnTo>
                  <a:pt x="2060452" y="5197105"/>
                </a:lnTo>
                <a:lnTo>
                  <a:pt x="2058597" y="5197105"/>
                </a:lnTo>
                <a:cubicBezTo>
                  <a:pt x="2085818" y="5182784"/>
                  <a:pt x="2129822" y="5182839"/>
                  <a:pt x="2156896" y="5197236"/>
                </a:cubicBezTo>
                <a:cubicBezTo>
                  <a:pt x="2183990" y="5211624"/>
                  <a:pt x="2183886" y="5234901"/>
                  <a:pt x="2156669" y="5249233"/>
                </a:cubicBezTo>
                <a:lnTo>
                  <a:pt x="1772276" y="5452325"/>
                </a:lnTo>
                <a:cubicBezTo>
                  <a:pt x="1765791" y="5455777"/>
                  <a:pt x="1758089" y="5458519"/>
                  <a:pt x="1749601" y="5460398"/>
                </a:cubicBezTo>
                <a:cubicBezTo>
                  <a:pt x="1733329" y="5463981"/>
                  <a:pt x="1715011" y="5463981"/>
                  <a:pt x="1698718" y="5460398"/>
                </a:cubicBezTo>
                <a:cubicBezTo>
                  <a:pt x="1690230" y="5458519"/>
                  <a:pt x="1682527" y="5455777"/>
                  <a:pt x="1676064" y="5452325"/>
                </a:cubicBezTo>
                <a:lnTo>
                  <a:pt x="1676043" y="5452325"/>
                </a:lnTo>
                <a:lnTo>
                  <a:pt x="1291650" y="5249233"/>
                </a:lnTo>
                <a:cubicBezTo>
                  <a:pt x="1264453" y="5234901"/>
                  <a:pt x="1264350" y="5211623"/>
                  <a:pt x="1291423" y="5197236"/>
                </a:cubicBezTo>
                <a:cubicBezTo>
                  <a:pt x="1318496" y="5182839"/>
                  <a:pt x="1362505" y="5182784"/>
                  <a:pt x="1389722" y="5197105"/>
                </a:cubicBezTo>
                <a:lnTo>
                  <a:pt x="1655700" y="5337800"/>
                </a:lnTo>
                <a:lnTo>
                  <a:pt x="1655700" y="4145199"/>
                </a:lnTo>
                <a:cubicBezTo>
                  <a:pt x="1655700" y="4124925"/>
                  <a:pt x="1686759" y="4108496"/>
                  <a:pt x="1725087" y="4108496"/>
                </a:cubicBezTo>
                <a:close/>
                <a:moveTo>
                  <a:pt x="2420520" y="2966601"/>
                </a:moveTo>
                <a:cubicBezTo>
                  <a:pt x="2440372" y="2965616"/>
                  <a:pt x="2460588" y="2972189"/>
                  <a:pt x="2476451" y="2986502"/>
                </a:cubicBezTo>
                <a:lnTo>
                  <a:pt x="2476454" y="2986502"/>
                </a:lnTo>
                <a:cubicBezTo>
                  <a:pt x="2508219" y="3015202"/>
                  <a:pt x="2510744" y="3064340"/>
                  <a:pt x="2482004" y="3096181"/>
                </a:cubicBezTo>
                <a:lnTo>
                  <a:pt x="2093145" y="3526717"/>
                </a:lnTo>
                <a:cubicBezTo>
                  <a:pt x="2077799" y="3543671"/>
                  <a:pt x="2056674" y="3552282"/>
                  <a:pt x="2035510" y="3552282"/>
                </a:cubicBezTo>
                <a:cubicBezTo>
                  <a:pt x="2016912" y="3552282"/>
                  <a:pt x="1998312" y="3545699"/>
                  <a:pt x="1983463" y="3532266"/>
                </a:cubicBezTo>
                <a:cubicBezTo>
                  <a:pt x="1951699" y="3503567"/>
                  <a:pt x="1949135" y="3454428"/>
                  <a:pt x="1977914" y="3422587"/>
                </a:cubicBezTo>
                <a:lnTo>
                  <a:pt x="2366772" y="2992051"/>
                </a:lnTo>
                <a:cubicBezTo>
                  <a:pt x="2381180" y="2976131"/>
                  <a:pt x="2400668" y="2967587"/>
                  <a:pt x="2420520" y="2966601"/>
                </a:cubicBezTo>
                <a:close/>
                <a:moveTo>
                  <a:pt x="1013749" y="2966522"/>
                </a:moveTo>
                <a:cubicBezTo>
                  <a:pt x="1033606" y="2967517"/>
                  <a:pt x="1053075" y="2976109"/>
                  <a:pt x="1067426" y="2992087"/>
                </a:cubicBezTo>
                <a:lnTo>
                  <a:pt x="1456288" y="3422623"/>
                </a:lnTo>
                <a:cubicBezTo>
                  <a:pt x="1485067" y="3454461"/>
                  <a:pt x="1482541" y="3503599"/>
                  <a:pt x="1450738" y="3532302"/>
                </a:cubicBezTo>
                <a:cubicBezTo>
                  <a:pt x="1435890" y="3545735"/>
                  <a:pt x="1417252" y="3552318"/>
                  <a:pt x="1398691" y="3552318"/>
                </a:cubicBezTo>
                <a:cubicBezTo>
                  <a:pt x="1377490" y="3552318"/>
                  <a:pt x="1356365" y="3543745"/>
                  <a:pt x="1341057" y="3526753"/>
                </a:cubicBezTo>
                <a:lnTo>
                  <a:pt x="952198" y="3096217"/>
                </a:lnTo>
                <a:cubicBezTo>
                  <a:pt x="923419" y="3064379"/>
                  <a:pt x="925945" y="3015240"/>
                  <a:pt x="957747" y="2986538"/>
                </a:cubicBezTo>
                <a:cubicBezTo>
                  <a:pt x="973647" y="2972129"/>
                  <a:pt x="993892" y="2965527"/>
                  <a:pt x="1013749" y="2966522"/>
                </a:cubicBezTo>
                <a:close/>
                <a:moveTo>
                  <a:pt x="232961" y="2104650"/>
                </a:moveTo>
                <a:cubicBezTo>
                  <a:pt x="190137" y="2104650"/>
                  <a:pt x="155311" y="2139552"/>
                  <a:pt x="155311" y="2182300"/>
                </a:cubicBezTo>
                <a:lnTo>
                  <a:pt x="155311" y="2552407"/>
                </a:lnTo>
                <a:lnTo>
                  <a:pt x="3278912" y="2552407"/>
                </a:lnTo>
                <a:lnTo>
                  <a:pt x="3278950" y="2182300"/>
                </a:lnTo>
                <a:cubicBezTo>
                  <a:pt x="3278950" y="2139514"/>
                  <a:pt x="3244124" y="2104650"/>
                  <a:pt x="3201300" y="2104650"/>
                </a:cubicBezTo>
                <a:close/>
                <a:moveTo>
                  <a:pt x="232907" y="1949430"/>
                </a:moveTo>
                <a:lnTo>
                  <a:pt x="3201246" y="1949430"/>
                </a:lnTo>
                <a:cubicBezTo>
                  <a:pt x="3329677" y="1949430"/>
                  <a:pt x="3434154" y="2053946"/>
                  <a:pt x="3434154" y="2182337"/>
                </a:cubicBezTo>
                <a:lnTo>
                  <a:pt x="3434154" y="2630057"/>
                </a:lnTo>
                <a:cubicBezTo>
                  <a:pt x="3434154" y="2632009"/>
                  <a:pt x="3433197" y="2633654"/>
                  <a:pt x="3433044" y="2635568"/>
                </a:cubicBezTo>
                <a:lnTo>
                  <a:pt x="3433032" y="2635626"/>
                </a:lnTo>
                <a:cubicBezTo>
                  <a:pt x="3432611" y="2641940"/>
                  <a:pt x="3431271" y="2648025"/>
                  <a:pt x="3429320" y="2653995"/>
                </a:cubicBezTo>
                <a:cubicBezTo>
                  <a:pt x="3428439" y="2656751"/>
                  <a:pt x="3427980" y="2659583"/>
                  <a:pt x="3426794" y="2662185"/>
                </a:cubicBezTo>
                <a:cubicBezTo>
                  <a:pt x="3423541" y="2669342"/>
                  <a:pt x="3419331" y="2676154"/>
                  <a:pt x="3413897" y="2682163"/>
                </a:cubicBezTo>
                <a:lnTo>
                  <a:pt x="3411639" y="2684650"/>
                </a:lnTo>
                <a:cubicBezTo>
                  <a:pt x="3411486" y="2684803"/>
                  <a:pt x="3411371" y="2684995"/>
                  <a:pt x="3411218" y="2685148"/>
                </a:cubicBezTo>
                <a:lnTo>
                  <a:pt x="2400446" y="3804275"/>
                </a:lnTo>
                <a:cubicBezTo>
                  <a:pt x="2304886" y="3910006"/>
                  <a:pt x="2252265" y="4046784"/>
                  <a:pt x="2252265" y="4189421"/>
                </a:cubicBezTo>
                <a:lnTo>
                  <a:pt x="2252265" y="4839549"/>
                </a:lnTo>
                <a:cubicBezTo>
                  <a:pt x="2252265" y="4882412"/>
                  <a:pt x="2217477" y="4917200"/>
                  <a:pt x="2174614" y="4917200"/>
                </a:cubicBezTo>
                <a:cubicBezTo>
                  <a:pt x="2131752" y="4917200"/>
                  <a:pt x="2096964" y="4882412"/>
                  <a:pt x="2096964" y="4839549"/>
                </a:cubicBezTo>
                <a:lnTo>
                  <a:pt x="2096964" y="4189460"/>
                </a:lnTo>
                <a:cubicBezTo>
                  <a:pt x="2096964" y="4008291"/>
                  <a:pt x="2163820" y="3834549"/>
                  <a:pt x="2285177" y="3700181"/>
                </a:cubicBezTo>
                <a:lnTo>
                  <a:pt x="3181498" y="2707730"/>
                </a:lnTo>
                <a:lnTo>
                  <a:pt x="252642" y="2707730"/>
                </a:lnTo>
                <a:lnTo>
                  <a:pt x="1149003" y="3700083"/>
                </a:lnTo>
                <a:cubicBezTo>
                  <a:pt x="1270358" y="3834441"/>
                  <a:pt x="1337215" y="4008193"/>
                  <a:pt x="1337215" y="4189362"/>
                </a:cubicBezTo>
                <a:lnTo>
                  <a:pt x="1337215" y="4839490"/>
                </a:lnTo>
                <a:cubicBezTo>
                  <a:pt x="1337215" y="4882353"/>
                  <a:pt x="1302428" y="4917140"/>
                  <a:pt x="1259565" y="4917140"/>
                </a:cubicBezTo>
                <a:cubicBezTo>
                  <a:pt x="1216703" y="4917140"/>
                  <a:pt x="1181915" y="4882353"/>
                  <a:pt x="1181915" y="4839490"/>
                </a:cubicBezTo>
                <a:lnTo>
                  <a:pt x="1181877" y="4189401"/>
                </a:lnTo>
                <a:cubicBezTo>
                  <a:pt x="1181877" y="4046774"/>
                  <a:pt x="1129293" y="3909996"/>
                  <a:pt x="1033695" y="3804256"/>
                </a:cubicBezTo>
                <a:lnTo>
                  <a:pt x="22924" y="2685128"/>
                </a:lnTo>
                <a:cubicBezTo>
                  <a:pt x="22771" y="2684975"/>
                  <a:pt x="22656" y="2684784"/>
                  <a:pt x="22503" y="2684630"/>
                </a:cubicBezTo>
                <a:lnTo>
                  <a:pt x="20245" y="2682143"/>
                </a:lnTo>
                <a:cubicBezTo>
                  <a:pt x="14810" y="2676134"/>
                  <a:pt x="10601" y="2669322"/>
                  <a:pt x="7348" y="2662166"/>
                </a:cubicBezTo>
                <a:cubicBezTo>
                  <a:pt x="6161" y="2659563"/>
                  <a:pt x="5741" y="2656731"/>
                  <a:pt x="4822" y="2653976"/>
                </a:cubicBezTo>
                <a:cubicBezTo>
                  <a:pt x="2870" y="2647967"/>
                  <a:pt x="1569" y="2641882"/>
                  <a:pt x="1110" y="2635568"/>
                </a:cubicBezTo>
                <a:cubicBezTo>
                  <a:pt x="957" y="2633654"/>
                  <a:pt x="0" y="2632009"/>
                  <a:pt x="0" y="2630057"/>
                </a:cubicBezTo>
                <a:lnTo>
                  <a:pt x="0" y="2182337"/>
                </a:lnTo>
                <a:cubicBezTo>
                  <a:pt x="0" y="2053946"/>
                  <a:pt x="104477" y="1949430"/>
                  <a:pt x="232907" y="1949430"/>
                </a:cubicBezTo>
                <a:close/>
                <a:moveTo>
                  <a:pt x="518983" y="732463"/>
                </a:moveTo>
                <a:cubicBezTo>
                  <a:pt x="439805" y="732463"/>
                  <a:pt x="375396" y="796868"/>
                  <a:pt x="375396" y="876011"/>
                </a:cubicBezTo>
                <a:lnTo>
                  <a:pt x="375396" y="1214973"/>
                </a:lnTo>
                <a:cubicBezTo>
                  <a:pt x="375396" y="1294230"/>
                  <a:pt x="439764" y="1358638"/>
                  <a:pt x="518983" y="1358638"/>
                </a:cubicBezTo>
                <a:cubicBezTo>
                  <a:pt x="598162" y="1358638"/>
                  <a:pt x="662570" y="1294230"/>
                  <a:pt x="662570" y="1214973"/>
                </a:cubicBezTo>
                <a:lnTo>
                  <a:pt x="662570" y="876011"/>
                </a:lnTo>
                <a:cubicBezTo>
                  <a:pt x="662570" y="796871"/>
                  <a:pt x="598202" y="732463"/>
                  <a:pt x="518983" y="732463"/>
                </a:cubicBezTo>
                <a:close/>
                <a:moveTo>
                  <a:pt x="2915130" y="662531"/>
                </a:moveTo>
                <a:cubicBezTo>
                  <a:pt x="2835951" y="662531"/>
                  <a:pt x="2771543" y="726939"/>
                  <a:pt x="2771543" y="806196"/>
                </a:cubicBezTo>
                <a:lnTo>
                  <a:pt x="2771543" y="1331569"/>
                </a:lnTo>
                <a:cubicBezTo>
                  <a:pt x="2771543" y="1410708"/>
                  <a:pt x="2835911" y="1475117"/>
                  <a:pt x="2915130" y="1475117"/>
                </a:cubicBezTo>
                <a:cubicBezTo>
                  <a:pt x="2994308" y="1475117"/>
                  <a:pt x="3058717" y="1410711"/>
                  <a:pt x="3058717" y="1331569"/>
                </a:cubicBezTo>
                <a:lnTo>
                  <a:pt x="3058717" y="806196"/>
                </a:lnTo>
                <a:cubicBezTo>
                  <a:pt x="3058717" y="726939"/>
                  <a:pt x="2994348" y="662531"/>
                  <a:pt x="2915130" y="662531"/>
                </a:cubicBezTo>
                <a:close/>
                <a:moveTo>
                  <a:pt x="518983" y="577188"/>
                </a:moveTo>
                <a:cubicBezTo>
                  <a:pt x="683771" y="577188"/>
                  <a:pt x="817874" y="711213"/>
                  <a:pt x="817874" y="876001"/>
                </a:cubicBezTo>
                <a:lnTo>
                  <a:pt x="817874" y="1214963"/>
                </a:lnTo>
                <a:cubicBezTo>
                  <a:pt x="817874" y="1379761"/>
                  <a:pt x="683771" y="1513894"/>
                  <a:pt x="518983" y="1513894"/>
                </a:cubicBezTo>
                <a:cubicBezTo>
                  <a:pt x="354224" y="1513894"/>
                  <a:pt x="220129" y="1379751"/>
                  <a:pt x="220091" y="1214963"/>
                </a:cubicBezTo>
                <a:lnTo>
                  <a:pt x="220091" y="876001"/>
                </a:lnTo>
                <a:cubicBezTo>
                  <a:pt x="220091" y="711252"/>
                  <a:pt x="354194" y="577188"/>
                  <a:pt x="518983" y="577188"/>
                </a:cubicBezTo>
                <a:close/>
                <a:moveTo>
                  <a:pt x="2915169" y="507266"/>
                </a:moveTo>
                <a:cubicBezTo>
                  <a:pt x="3079957" y="507266"/>
                  <a:pt x="3214060" y="641408"/>
                  <a:pt x="3214060" y="806196"/>
                </a:cubicBezTo>
                <a:lnTo>
                  <a:pt x="3214060" y="1331569"/>
                </a:lnTo>
                <a:cubicBezTo>
                  <a:pt x="3214060" y="1496318"/>
                  <a:pt x="3079957" y="1630382"/>
                  <a:pt x="2915169" y="1630382"/>
                </a:cubicBezTo>
                <a:cubicBezTo>
                  <a:pt x="2750380" y="1630382"/>
                  <a:pt x="2616277" y="1496318"/>
                  <a:pt x="2616277" y="1331569"/>
                </a:cubicBezTo>
                <a:lnTo>
                  <a:pt x="2616277" y="806196"/>
                </a:lnTo>
                <a:cubicBezTo>
                  <a:pt x="2616277" y="641399"/>
                  <a:pt x="2750380" y="507266"/>
                  <a:pt x="2915169" y="507266"/>
                </a:cubicBezTo>
                <a:close/>
                <a:moveTo>
                  <a:pt x="1317705" y="388338"/>
                </a:moveTo>
                <a:cubicBezTo>
                  <a:pt x="1238527" y="388338"/>
                  <a:pt x="1174118" y="452743"/>
                  <a:pt x="1174118" y="531886"/>
                </a:cubicBezTo>
                <a:lnTo>
                  <a:pt x="1174118" y="1033911"/>
                </a:lnTo>
                <a:cubicBezTo>
                  <a:pt x="1174118" y="1113168"/>
                  <a:pt x="1238486" y="1177576"/>
                  <a:pt x="1317705" y="1177576"/>
                </a:cubicBezTo>
                <a:cubicBezTo>
                  <a:pt x="1396884" y="1177576"/>
                  <a:pt x="1461292" y="1113168"/>
                  <a:pt x="1461292" y="1033911"/>
                </a:cubicBezTo>
                <a:lnTo>
                  <a:pt x="1461292" y="531886"/>
                </a:lnTo>
                <a:cubicBezTo>
                  <a:pt x="1461292" y="452746"/>
                  <a:pt x="1396924" y="388338"/>
                  <a:pt x="1317705" y="388338"/>
                </a:cubicBezTo>
                <a:close/>
                <a:moveTo>
                  <a:pt x="1317706" y="233073"/>
                </a:moveTo>
                <a:cubicBezTo>
                  <a:pt x="1482494" y="233073"/>
                  <a:pt x="1616597" y="367098"/>
                  <a:pt x="1616597" y="531886"/>
                </a:cubicBezTo>
                <a:lnTo>
                  <a:pt x="1616636" y="1033911"/>
                </a:lnTo>
                <a:cubicBezTo>
                  <a:pt x="1616636" y="1178169"/>
                  <a:pt x="1513963" y="1298844"/>
                  <a:pt x="1377899" y="1326758"/>
                </a:cubicBezTo>
                <a:lnTo>
                  <a:pt x="1317745" y="1332841"/>
                </a:lnTo>
                <a:lnTo>
                  <a:pt x="1257587" y="1326760"/>
                </a:lnTo>
                <a:cubicBezTo>
                  <a:pt x="1121518" y="1298852"/>
                  <a:pt x="1018847" y="1178203"/>
                  <a:pt x="1018814" y="1033911"/>
                </a:cubicBezTo>
                <a:lnTo>
                  <a:pt x="1018814" y="531886"/>
                </a:lnTo>
                <a:cubicBezTo>
                  <a:pt x="1018814" y="367137"/>
                  <a:pt x="1152917" y="233073"/>
                  <a:pt x="1317706" y="233073"/>
                </a:cubicBezTo>
                <a:close/>
                <a:moveTo>
                  <a:pt x="2116408" y="155285"/>
                </a:moveTo>
                <a:cubicBezTo>
                  <a:pt x="2037229" y="155285"/>
                  <a:pt x="1972821" y="219693"/>
                  <a:pt x="1972821" y="298950"/>
                </a:cubicBezTo>
                <a:lnTo>
                  <a:pt x="1972821" y="1429932"/>
                </a:lnTo>
                <a:cubicBezTo>
                  <a:pt x="1972821" y="1509189"/>
                  <a:pt x="2037189" y="1573597"/>
                  <a:pt x="2116408" y="1573597"/>
                </a:cubicBezTo>
                <a:cubicBezTo>
                  <a:pt x="2195586" y="1573597"/>
                  <a:pt x="2259995" y="1509189"/>
                  <a:pt x="2259995" y="1429932"/>
                </a:cubicBezTo>
                <a:lnTo>
                  <a:pt x="2259995" y="298950"/>
                </a:lnTo>
                <a:cubicBezTo>
                  <a:pt x="2259995" y="219693"/>
                  <a:pt x="2195627" y="155285"/>
                  <a:pt x="2116408" y="155285"/>
                </a:cubicBezTo>
                <a:close/>
                <a:moveTo>
                  <a:pt x="2116408" y="0"/>
                </a:moveTo>
                <a:cubicBezTo>
                  <a:pt x="2281196" y="0"/>
                  <a:pt x="2415299" y="134142"/>
                  <a:pt x="2415299" y="298930"/>
                </a:cubicBezTo>
                <a:lnTo>
                  <a:pt x="2415299" y="1430010"/>
                </a:lnTo>
                <a:cubicBezTo>
                  <a:pt x="2415299" y="1594808"/>
                  <a:pt x="2281196" y="1728941"/>
                  <a:pt x="2116408" y="1728941"/>
                </a:cubicBezTo>
                <a:lnTo>
                  <a:pt x="2116408" y="1728882"/>
                </a:lnTo>
                <a:cubicBezTo>
                  <a:pt x="1951648" y="1728882"/>
                  <a:pt x="1817554" y="1594700"/>
                  <a:pt x="1817516" y="1429913"/>
                </a:cubicBezTo>
                <a:lnTo>
                  <a:pt x="1817516" y="298930"/>
                </a:lnTo>
                <a:cubicBezTo>
                  <a:pt x="1817516" y="134133"/>
                  <a:pt x="1951619" y="0"/>
                  <a:pt x="2116408" y="0"/>
                </a:cubicBezTo>
                <a:close/>
              </a:path>
            </a:pathLst>
          </a:custGeom>
          <a:solidFill>
            <a:schemeClr val="tx1">
              <a:lumMod val="60000"/>
              <a:lumOff val="40000"/>
            </a:scheme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7" name="Freeform 30">
            <a:extLst>
              <a:ext uri="{FF2B5EF4-FFF2-40B4-BE49-F238E27FC236}">
                <a16:creationId xmlns:a16="http://schemas.microsoft.com/office/drawing/2014/main" id="{5FFEAF88-FE8B-F67F-F09D-2149FC537633}"/>
              </a:ext>
            </a:extLst>
          </p:cNvPr>
          <p:cNvSpPr/>
          <p:nvPr/>
        </p:nvSpPr>
        <p:spPr>
          <a:xfrm>
            <a:off x="641145" y="3103947"/>
            <a:ext cx="2063418" cy="962846"/>
          </a:xfrm>
          <a:prstGeom prst="notchedRightArrow">
            <a:avLst/>
          </a:prstGeom>
          <a:solidFill>
            <a:srgbClr val="FFFFFF"/>
          </a:solidFill>
          <a:ln w="12700" cap="flat" cmpd="sng" algn="ctr">
            <a:noFill/>
            <a:prstDash val="solid"/>
            <a:miter lim="800000"/>
          </a:ln>
          <a:effectLst>
            <a:outerShdw blurRad="25400" dist="12700" dir="2700000" algn="tl" rotWithShape="0">
              <a:prstClr val="black">
                <a:alpha val="20000"/>
              </a:prstClr>
            </a:outerShdw>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cs typeface="+mn-cs"/>
            </a:endParaRPr>
          </a:p>
        </p:txBody>
      </p:sp>
      <p:sp>
        <p:nvSpPr>
          <p:cNvPr id="78" name="Freeform 28">
            <a:extLst>
              <a:ext uri="{FF2B5EF4-FFF2-40B4-BE49-F238E27FC236}">
                <a16:creationId xmlns:a16="http://schemas.microsoft.com/office/drawing/2014/main" id="{880715E5-9914-CA50-F336-8EAD4AD2DEFC}"/>
              </a:ext>
            </a:extLst>
          </p:cNvPr>
          <p:cNvSpPr/>
          <p:nvPr/>
        </p:nvSpPr>
        <p:spPr>
          <a:xfrm>
            <a:off x="641145" y="3195488"/>
            <a:ext cx="2002958" cy="808341"/>
          </a:xfrm>
          <a:prstGeom prst="notchedRightArrow">
            <a:avLst/>
          </a:prstGeom>
          <a:solidFill>
            <a:srgbClr val="0070C0"/>
          </a:solidFill>
          <a:ln w="12700" cap="flat" cmpd="sng" algn="ctr">
            <a:noFill/>
            <a:prstDash val="solid"/>
            <a:miter lim="800000"/>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cs typeface="+mn-cs"/>
            </a:endParaRPr>
          </a:p>
        </p:txBody>
      </p:sp>
      <p:sp>
        <p:nvSpPr>
          <p:cNvPr id="79" name="TextBox 78">
            <a:extLst>
              <a:ext uri="{FF2B5EF4-FFF2-40B4-BE49-F238E27FC236}">
                <a16:creationId xmlns:a16="http://schemas.microsoft.com/office/drawing/2014/main" id="{E05DECA7-EBF5-CDEB-3695-E86CD55C01FF}"/>
              </a:ext>
            </a:extLst>
          </p:cNvPr>
          <p:cNvSpPr txBox="1"/>
          <p:nvPr/>
        </p:nvSpPr>
        <p:spPr>
          <a:xfrm>
            <a:off x="1105478" y="3380992"/>
            <a:ext cx="1191523" cy="400110"/>
          </a:xfrm>
          <a:prstGeom prst="rect">
            <a:avLst/>
          </a:prstGeom>
          <a:noFill/>
        </p:spPr>
        <p:txBody>
          <a:bodyPr wrap="square" rtlCol="0" anchor="ctr">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rPr>
              <a:t>Translate into Data Questions</a:t>
            </a:r>
          </a:p>
        </p:txBody>
      </p:sp>
      <p:sp>
        <p:nvSpPr>
          <p:cNvPr id="80" name="Rectangle 79">
            <a:extLst>
              <a:ext uri="{FF2B5EF4-FFF2-40B4-BE49-F238E27FC236}">
                <a16:creationId xmlns:a16="http://schemas.microsoft.com/office/drawing/2014/main" id="{4D27B993-E83C-CA0E-978C-90D3BA1242D3}"/>
              </a:ext>
            </a:extLst>
          </p:cNvPr>
          <p:cNvSpPr/>
          <p:nvPr/>
        </p:nvSpPr>
        <p:spPr>
          <a:xfrm rot="5400000" flipH="1">
            <a:off x="1359629" y="2876688"/>
            <a:ext cx="516492" cy="563573"/>
          </a:xfrm>
          <a:prstGeom prst="rect">
            <a:avLst/>
          </a:prstGeom>
          <a:solidFill>
            <a:srgbClr val="0070C0"/>
          </a:solidFill>
          <a:ln w="6350" cap="flat" cmpd="sng" algn="ctr">
            <a:solidFill>
              <a:srgbClr val="0070C0"/>
            </a:solid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24E198AF-4854-75D3-6B5B-A958E19DD898}"/>
              </a:ext>
            </a:extLst>
          </p:cNvPr>
          <p:cNvSpPr/>
          <p:nvPr/>
        </p:nvSpPr>
        <p:spPr>
          <a:xfrm flipH="1">
            <a:off x="1375703" y="2946284"/>
            <a:ext cx="478741" cy="438745"/>
          </a:xfrm>
          <a:prstGeom prst="rect">
            <a:avLst/>
          </a:prstGeom>
          <a:solidFill>
            <a:srgbClr val="FFFFFF"/>
          </a:solidFill>
          <a:ln w="6350" cap="flat" cmpd="sng" algn="ctr">
            <a:solidFill>
              <a:srgbClr val="0070C0"/>
            </a:solidFill>
            <a:prstDash val="solid"/>
            <a:miter lim="800000"/>
          </a:ln>
          <a:effectLst>
            <a:outerShdw blurRad="63500" sx="102000" sy="102000" algn="ctr" rotWithShape="0">
              <a:prstClr val="black">
                <a:alpha val="10000"/>
              </a:prstClr>
            </a:outerShdw>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82" name="Freeform: Shape 81">
            <a:extLst>
              <a:ext uri="{FF2B5EF4-FFF2-40B4-BE49-F238E27FC236}">
                <a16:creationId xmlns:a16="http://schemas.microsoft.com/office/drawing/2014/main" id="{2476D202-68DF-FE02-4925-527CA6DF522A}"/>
              </a:ext>
            </a:extLst>
          </p:cNvPr>
          <p:cNvSpPr/>
          <p:nvPr/>
        </p:nvSpPr>
        <p:spPr>
          <a:xfrm>
            <a:off x="1598594" y="3054270"/>
            <a:ext cx="170247" cy="262795"/>
          </a:xfrm>
          <a:custGeom>
            <a:avLst/>
            <a:gdLst>
              <a:gd name="connsiteX0" fmla="*/ 2235555 w 2825607"/>
              <a:gd name="connsiteY0" fmla="*/ 3958013 h 4759234"/>
              <a:gd name="connsiteX1" fmla="*/ 2235785 w 2825607"/>
              <a:gd name="connsiteY1" fmla="*/ 3958013 h 4759234"/>
              <a:gd name="connsiteX2" fmla="*/ 2245543 w 2825607"/>
              <a:gd name="connsiteY2" fmla="*/ 3961917 h 4759234"/>
              <a:gd name="connsiteX3" fmla="*/ 2821429 w 2825607"/>
              <a:gd name="connsiteY3" fmla="*/ 4520775 h 4759234"/>
              <a:gd name="connsiteX4" fmla="*/ 2821774 w 2825607"/>
              <a:gd name="connsiteY4" fmla="*/ 4540753 h 4759234"/>
              <a:gd name="connsiteX5" fmla="*/ 2821774 w 2825607"/>
              <a:gd name="connsiteY5" fmla="*/ 4540751 h 4759234"/>
              <a:gd name="connsiteX6" fmla="*/ 2613849 w 2825607"/>
              <a:gd name="connsiteY6" fmla="*/ 4755063 h 4759234"/>
              <a:gd name="connsiteX7" fmla="*/ 2603975 w 2825607"/>
              <a:gd name="connsiteY7" fmla="*/ 4759234 h 4759234"/>
              <a:gd name="connsiteX8" fmla="*/ 2593911 w 2825607"/>
              <a:gd name="connsiteY8" fmla="*/ 4755331 h 4759234"/>
              <a:gd name="connsiteX9" fmla="*/ 2018025 w 2825607"/>
              <a:gd name="connsiteY9" fmla="*/ 4196512 h 4759234"/>
              <a:gd name="connsiteX10" fmla="*/ 2013853 w 2825607"/>
              <a:gd name="connsiteY10" fmla="*/ 4186562 h 4759234"/>
              <a:gd name="connsiteX11" fmla="*/ 2017680 w 2825607"/>
              <a:gd name="connsiteY11" fmla="*/ 4176497 h 4759234"/>
              <a:gd name="connsiteX12" fmla="*/ 2225605 w 2825607"/>
              <a:gd name="connsiteY12" fmla="*/ 3962184 h 4759234"/>
              <a:gd name="connsiteX13" fmla="*/ 2235555 w 2825607"/>
              <a:gd name="connsiteY13" fmla="*/ 3958013 h 4759234"/>
              <a:gd name="connsiteX14" fmla="*/ 967468 w 2825607"/>
              <a:gd name="connsiteY14" fmla="*/ 2163376 h 4759234"/>
              <a:gd name="connsiteX15" fmla="*/ 133183 w 2825607"/>
              <a:gd name="connsiteY15" fmla="*/ 2997661 h 4759234"/>
              <a:gd name="connsiteX16" fmla="*/ 967468 w 2825607"/>
              <a:gd name="connsiteY16" fmla="*/ 3831947 h 4759234"/>
              <a:gd name="connsiteX17" fmla="*/ 1801754 w 2825607"/>
              <a:gd name="connsiteY17" fmla="*/ 2997661 h 4759234"/>
              <a:gd name="connsiteX18" fmla="*/ 967468 w 2825607"/>
              <a:gd name="connsiteY18" fmla="*/ 2163376 h 4759234"/>
              <a:gd name="connsiteX19" fmla="*/ 967507 w 2825607"/>
              <a:gd name="connsiteY19" fmla="*/ 2030095 h 4759234"/>
              <a:gd name="connsiteX20" fmla="*/ 1935015 w 2825607"/>
              <a:gd name="connsiteY20" fmla="*/ 2997603 h 4759234"/>
              <a:gd name="connsiteX21" fmla="*/ 967507 w 2825607"/>
              <a:gd name="connsiteY21" fmla="*/ 3965110 h 4759234"/>
              <a:gd name="connsiteX22" fmla="*/ 0 w 2825607"/>
              <a:gd name="connsiteY22" fmla="*/ 2997603 h 4759234"/>
              <a:gd name="connsiteX23" fmla="*/ 967507 w 2825607"/>
              <a:gd name="connsiteY23" fmla="*/ 2030095 h 4759234"/>
              <a:gd name="connsiteX24" fmla="*/ 1121284 w 2825607"/>
              <a:gd name="connsiteY24" fmla="*/ 0 h 4759234"/>
              <a:gd name="connsiteX25" fmla="*/ 1350174 w 2825607"/>
              <a:gd name="connsiteY25" fmla="*/ 228891 h 4759234"/>
              <a:gd name="connsiteX26" fmla="*/ 1121284 w 2825607"/>
              <a:gd name="connsiteY26" fmla="*/ 228891 h 4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825607" h="4759234">
                <a:moveTo>
                  <a:pt x="2235555" y="3958013"/>
                </a:moveTo>
                <a:lnTo>
                  <a:pt x="2235785" y="3958013"/>
                </a:lnTo>
                <a:cubicBezTo>
                  <a:pt x="2238463" y="3958013"/>
                  <a:pt x="2242290" y="3958702"/>
                  <a:pt x="2245543" y="3961917"/>
                </a:cubicBezTo>
                <a:lnTo>
                  <a:pt x="2821429" y="4520775"/>
                </a:lnTo>
                <a:cubicBezTo>
                  <a:pt x="2826864" y="4526056"/>
                  <a:pt x="2827017" y="4535394"/>
                  <a:pt x="2821774" y="4540753"/>
                </a:cubicBezTo>
                <a:lnTo>
                  <a:pt x="2821774" y="4540751"/>
                </a:lnTo>
                <a:lnTo>
                  <a:pt x="2613849" y="4755063"/>
                </a:lnTo>
                <a:cubicBezTo>
                  <a:pt x="2610596" y="4758431"/>
                  <a:pt x="2606654" y="4759196"/>
                  <a:pt x="2603975" y="4759234"/>
                </a:cubicBezTo>
                <a:cubicBezTo>
                  <a:pt x="2600990" y="4759120"/>
                  <a:pt x="2597278" y="4758660"/>
                  <a:pt x="2593911" y="4755331"/>
                </a:cubicBezTo>
                <a:lnTo>
                  <a:pt x="2018025" y="4196512"/>
                </a:lnTo>
                <a:cubicBezTo>
                  <a:pt x="2014657" y="4193259"/>
                  <a:pt x="2013892" y="4189317"/>
                  <a:pt x="2013853" y="4186562"/>
                </a:cubicBezTo>
                <a:cubicBezTo>
                  <a:pt x="2013815" y="4183807"/>
                  <a:pt x="2014427" y="4179864"/>
                  <a:pt x="2017680" y="4176497"/>
                </a:cubicBezTo>
                <a:lnTo>
                  <a:pt x="2225605" y="3962184"/>
                </a:lnTo>
                <a:cubicBezTo>
                  <a:pt x="2228858" y="3958817"/>
                  <a:pt x="2232800" y="3958051"/>
                  <a:pt x="2235555" y="3958013"/>
                </a:cubicBezTo>
                <a:close/>
                <a:moveTo>
                  <a:pt x="967468" y="2163376"/>
                </a:moveTo>
                <a:cubicBezTo>
                  <a:pt x="507463" y="2163376"/>
                  <a:pt x="133183" y="2537656"/>
                  <a:pt x="133183" y="2997661"/>
                </a:cubicBezTo>
                <a:cubicBezTo>
                  <a:pt x="133183" y="3457666"/>
                  <a:pt x="507463" y="3831947"/>
                  <a:pt x="967468" y="3831947"/>
                </a:cubicBezTo>
                <a:cubicBezTo>
                  <a:pt x="1427474" y="3831947"/>
                  <a:pt x="1801754" y="3457666"/>
                  <a:pt x="1801754" y="2997661"/>
                </a:cubicBezTo>
                <a:cubicBezTo>
                  <a:pt x="1801754" y="2537617"/>
                  <a:pt x="1427474" y="2163376"/>
                  <a:pt x="967468" y="2163376"/>
                </a:cubicBezTo>
                <a:close/>
                <a:moveTo>
                  <a:pt x="967507" y="2030095"/>
                </a:moveTo>
                <a:cubicBezTo>
                  <a:pt x="1500991" y="2030095"/>
                  <a:pt x="1935015" y="2464080"/>
                  <a:pt x="1935015" y="2997603"/>
                </a:cubicBezTo>
                <a:cubicBezTo>
                  <a:pt x="1935015" y="3531086"/>
                  <a:pt x="1501031" y="3965110"/>
                  <a:pt x="967507" y="3965110"/>
                </a:cubicBezTo>
                <a:cubicBezTo>
                  <a:pt x="434024" y="3965110"/>
                  <a:pt x="0" y="3531086"/>
                  <a:pt x="0" y="2997603"/>
                </a:cubicBezTo>
                <a:cubicBezTo>
                  <a:pt x="0" y="2464119"/>
                  <a:pt x="433984" y="2030095"/>
                  <a:pt x="967507" y="2030095"/>
                </a:cubicBezTo>
                <a:close/>
                <a:moveTo>
                  <a:pt x="1121284" y="0"/>
                </a:moveTo>
                <a:lnTo>
                  <a:pt x="1350174" y="228891"/>
                </a:lnTo>
                <a:lnTo>
                  <a:pt x="1121284" y="228891"/>
                </a:lnTo>
                <a:close/>
              </a:path>
            </a:pathLst>
          </a:custGeom>
          <a:solidFill>
            <a:srgbClr val="0070C0"/>
          </a:solid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Calibri" panose="020F0502020204030204"/>
              <a:cs typeface="+mn-cs"/>
            </a:endParaRPr>
          </a:p>
        </p:txBody>
      </p:sp>
      <p:sp>
        <p:nvSpPr>
          <p:cNvPr id="83" name="Freeform: Shape 82">
            <a:extLst>
              <a:ext uri="{FF2B5EF4-FFF2-40B4-BE49-F238E27FC236}">
                <a16:creationId xmlns:a16="http://schemas.microsoft.com/office/drawing/2014/main" id="{87F3DD21-C86E-E592-6B78-E7A3F4ECE19E}"/>
              </a:ext>
            </a:extLst>
          </p:cNvPr>
          <p:cNvSpPr/>
          <p:nvPr/>
        </p:nvSpPr>
        <p:spPr>
          <a:xfrm>
            <a:off x="1490023" y="3036128"/>
            <a:ext cx="280030" cy="287079"/>
          </a:xfrm>
          <a:custGeom>
            <a:avLst/>
            <a:gdLst>
              <a:gd name="connsiteX0" fmla="*/ 3895125 w 4647675"/>
              <a:gd name="connsiteY0" fmla="*/ 4235323 h 5199034"/>
              <a:gd name="connsiteX1" fmla="*/ 3885175 w 4647675"/>
              <a:gd name="connsiteY1" fmla="*/ 4239494 h 5199034"/>
              <a:gd name="connsiteX2" fmla="*/ 3677250 w 4647675"/>
              <a:gd name="connsiteY2" fmla="*/ 4453807 h 5199034"/>
              <a:gd name="connsiteX3" fmla="*/ 3673423 w 4647675"/>
              <a:gd name="connsiteY3" fmla="*/ 4463872 h 5199034"/>
              <a:gd name="connsiteX4" fmla="*/ 3677595 w 4647675"/>
              <a:gd name="connsiteY4" fmla="*/ 4473822 h 5199034"/>
              <a:gd name="connsiteX5" fmla="*/ 4253481 w 4647675"/>
              <a:gd name="connsiteY5" fmla="*/ 5032641 h 5199034"/>
              <a:gd name="connsiteX6" fmla="*/ 4263545 w 4647675"/>
              <a:gd name="connsiteY6" fmla="*/ 5036544 h 5199034"/>
              <a:gd name="connsiteX7" fmla="*/ 4273419 w 4647675"/>
              <a:gd name="connsiteY7" fmla="*/ 5032373 h 5199034"/>
              <a:gd name="connsiteX8" fmla="*/ 4481344 w 4647675"/>
              <a:gd name="connsiteY8" fmla="*/ 4818061 h 5199034"/>
              <a:gd name="connsiteX9" fmla="*/ 4481344 w 4647675"/>
              <a:gd name="connsiteY9" fmla="*/ 4818063 h 5199034"/>
              <a:gd name="connsiteX10" fmla="*/ 4480999 w 4647675"/>
              <a:gd name="connsiteY10" fmla="*/ 4798085 h 5199034"/>
              <a:gd name="connsiteX11" fmla="*/ 3905113 w 4647675"/>
              <a:gd name="connsiteY11" fmla="*/ 4239227 h 5199034"/>
              <a:gd name="connsiteX12" fmla="*/ 3895355 w 4647675"/>
              <a:gd name="connsiteY12" fmla="*/ 4235323 h 5199034"/>
              <a:gd name="connsiteX13" fmla="*/ 3494815 w 4647675"/>
              <a:gd name="connsiteY13" fmla="*/ 3997720 h 5199034"/>
              <a:gd name="connsiteX14" fmla="*/ 3425968 w 4647675"/>
              <a:gd name="connsiteY14" fmla="*/ 4073150 h 5199034"/>
              <a:gd name="connsiteX15" fmla="*/ 3629033 w 4647675"/>
              <a:gd name="connsiteY15" fmla="*/ 4270201 h 5199034"/>
              <a:gd name="connsiteX16" fmla="*/ 3700139 w 4647675"/>
              <a:gd name="connsiteY16" fmla="*/ 4196951 h 5199034"/>
              <a:gd name="connsiteX17" fmla="*/ 507937 w 4647675"/>
              <a:gd name="connsiteY17" fmla="*/ 3596622 h 5199034"/>
              <a:gd name="connsiteX18" fmla="*/ 1178453 w 4647675"/>
              <a:gd name="connsiteY18" fmla="*/ 3596622 h 5199034"/>
              <a:gd name="connsiteX19" fmla="*/ 1287910 w 4647675"/>
              <a:gd name="connsiteY19" fmla="*/ 3677832 h 5199034"/>
              <a:gd name="connsiteX20" fmla="*/ 1178453 w 4647675"/>
              <a:gd name="connsiteY20" fmla="*/ 3759042 h 5199034"/>
              <a:gd name="connsiteX21" fmla="*/ 507937 w 4647675"/>
              <a:gd name="connsiteY21" fmla="*/ 3759042 h 5199034"/>
              <a:gd name="connsiteX22" fmla="*/ 398479 w 4647675"/>
              <a:gd name="connsiteY22" fmla="*/ 3677832 h 5199034"/>
              <a:gd name="connsiteX23" fmla="*/ 507937 w 4647675"/>
              <a:gd name="connsiteY23" fmla="*/ 3596622 h 5199034"/>
              <a:gd name="connsiteX24" fmla="*/ 696607 w 4647675"/>
              <a:gd name="connsiteY24" fmla="*/ 3057099 h 5199034"/>
              <a:gd name="connsiteX25" fmla="*/ 1194077 w 4647675"/>
              <a:gd name="connsiteY25" fmla="*/ 3057099 h 5199034"/>
              <a:gd name="connsiteX26" fmla="*/ 1275286 w 4647675"/>
              <a:gd name="connsiteY26" fmla="*/ 3138309 h 5199034"/>
              <a:gd name="connsiteX27" fmla="*/ 1194077 w 4647675"/>
              <a:gd name="connsiteY27" fmla="*/ 3219519 h 5199034"/>
              <a:gd name="connsiteX28" fmla="*/ 696607 w 4647675"/>
              <a:gd name="connsiteY28" fmla="*/ 3219519 h 5199034"/>
              <a:gd name="connsiteX29" fmla="*/ 615398 w 4647675"/>
              <a:gd name="connsiteY29" fmla="*/ 3138309 h 5199034"/>
              <a:gd name="connsiteX30" fmla="*/ 696607 w 4647675"/>
              <a:gd name="connsiteY30" fmla="*/ 3057099 h 5199034"/>
              <a:gd name="connsiteX31" fmla="*/ 2627038 w 4647675"/>
              <a:gd name="connsiteY31" fmla="*/ 2603123 h 5199034"/>
              <a:gd name="connsiteX32" fmla="*/ 1955248 w 4647675"/>
              <a:gd name="connsiteY32" fmla="*/ 3274914 h 5199034"/>
              <a:gd name="connsiteX33" fmla="*/ 2627038 w 4647675"/>
              <a:gd name="connsiteY33" fmla="*/ 3946703 h 5199034"/>
              <a:gd name="connsiteX34" fmla="*/ 3298828 w 4647675"/>
              <a:gd name="connsiteY34" fmla="*/ 3274914 h 5199034"/>
              <a:gd name="connsiteX35" fmla="*/ 2627038 w 4647675"/>
              <a:gd name="connsiteY35" fmla="*/ 2603123 h 5199034"/>
              <a:gd name="connsiteX36" fmla="*/ 696607 w 4647675"/>
              <a:gd name="connsiteY36" fmla="*/ 2517578 h 5199034"/>
              <a:gd name="connsiteX37" fmla="*/ 1194077 w 4647675"/>
              <a:gd name="connsiteY37" fmla="*/ 2517578 h 5199034"/>
              <a:gd name="connsiteX38" fmla="*/ 1275286 w 4647675"/>
              <a:gd name="connsiteY38" fmla="*/ 2598787 h 5199034"/>
              <a:gd name="connsiteX39" fmla="*/ 1194077 w 4647675"/>
              <a:gd name="connsiteY39" fmla="*/ 2679997 h 5199034"/>
              <a:gd name="connsiteX40" fmla="*/ 696607 w 4647675"/>
              <a:gd name="connsiteY40" fmla="*/ 2679997 h 5199034"/>
              <a:gd name="connsiteX41" fmla="*/ 615398 w 4647675"/>
              <a:gd name="connsiteY41" fmla="*/ 2598787 h 5199034"/>
              <a:gd name="connsiteX42" fmla="*/ 696607 w 4647675"/>
              <a:gd name="connsiteY42" fmla="*/ 2517578 h 5199034"/>
              <a:gd name="connsiteX43" fmla="*/ 2627038 w 4647675"/>
              <a:gd name="connsiteY43" fmla="*/ 2440687 h 5199034"/>
              <a:gd name="connsiteX44" fmla="*/ 3461324 w 4647675"/>
              <a:gd name="connsiteY44" fmla="*/ 3274972 h 5199034"/>
              <a:gd name="connsiteX45" fmla="*/ 2627038 w 4647675"/>
              <a:gd name="connsiteY45" fmla="*/ 4109258 h 5199034"/>
              <a:gd name="connsiteX46" fmla="*/ 1792753 w 4647675"/>
              <a:gd name="connsiteY46" fmla="*/ 3274972 h 5199034"/>
              <a:gd name="connsiteX47" fmla="*/ 2627038 w 4647675"/>
              <a:gd name="connsiteY47" fmla="*/ 2440687 h 5199034"/>
              <a:gd name="connsiteX48" fmla="*/ 2627077 w 4647675"/>
              <a:gd name="connsiteY48" fmla="*/ 2307405 h 5199034"/>
              <a:gd name="connsiteX49" fmla="*/ 1659570 w 4647675"/>
              <a:gd name="connsiteY49" fmla="*/ 3274913 h 5199034"/>
              <a:gd name="connsiteX50" fmla="*/ 2627077 w 4647675"/>
              <a:gd name="connsiteY50" fmla="*/ 4242420 h 5199034"/>
              <a:gd name="connsiteX51" fmla="*/ 3594585 w 4647675"/>
              <a:gd name="connsiteY51" fmla="*/ 3274913 h 5199034"/>
              <a:gd name="connsiteX52" fmla="*/ 2627077 w 4647675"/>
              <a:gd name="connsiteY52" fmla="*/ 2307405 h 5199034"/>
              <a:gd name="connsiteX53" fmla="*/ 696598 w 4647675"/>
              <a:gd name="connsiteY53" fmla="*/ 1978057 h 5199034"/>
              <a:gd name="connsiteX54" fmla="*/ 1464646 w 4647675"/>
              <a:gd name="connsiteY54" fmla="*/ 1978057 h 5199034"/>
              <a:gd name="connsiteX55" fmla="*/ 1545856 w 4647675"/>
              <a:gd name="connsiteY55" fmla="*/ 2059267 h 5199034"/>
              <a:gd name="connsiteX56" fmla="*/ 1464646 w 4647675"/>
              <a:gd name="connsiteY56" fmla="*/ 2140476 h 5199034"/>
              <a:gd name="connsiteX57" fmla="*/ 696598 w 4647675"/>
              <a:gd name="connsiteY57" fmla="*/ 2140476 h 5199034"/>
              <a:gd name="connsiteX58" fmla="*/ 615389 w 4647675"/>
              <a:gd name="connsiteY58" fmla="*/ 2059267 h 5199034"/>
              <a:gd name="connsiteX59" fmla="*/ 696598 w 4647675"/>
              <a:gd name="connsiteY59" fmla="*/ 1978057 h 5199034"/>
              <a:gd name="connsiteX60" fmla="*/ 696599 w 4647675"/>
              <a:gd name="connsiteY60" fmla="*/ 1438537 h 5199034"/>
              <a:gd name="connsiteX61" fmla="*/ 2590486 w 4647675"/>
              <a:gd name="connsiteY61" fmla="*/ 1438537 h 5199034"/>
              <a:gd name="connsiteX62" fmla="*/ 2671696 w 4647675"/>
              <a:gd name="connsiteY62" fmla="*/ 1519746 h 5199034"/>
              <a:gd name="connsiteX63" fmla="*/ 2590486 w 4647675"/>
              <a:gd name="connsiteY63" fmla="*/ 1600956 h 5199034"/>
              <a:gd name="connsiteX64" fmla="*/ 696599 w 4647675"/>
              <a:gd name="connsiteY64" fmla="*/ 1600956 h 5199034"/>
              <a:gd name="connsiteX65" fmla="*/ 615390 w 4647675"/>
              <a:gd name="connsiteY65" fmla="*/ 1519746 h 5199034"/>
              <a:gd name="connsiteX66" fmla="*/ 696599 w 4647675"/>
              <a:gd name="connsiteY66" fmla="*/ 1438537 h 5199034"/>
              <a:gd name="connsiteX67" fmla="*/ 696599 w 4647675"/>
              <a:gd name="connsiteY67" fmla="*/ 899017 h 5199034"/>
              <a:gd name="connsiteX68" fmla="*/ 2590486 w 4647675"/>
              <a:gd name="connsiteY68" fmla="*/ 899017 h 5199034"/>
              <a:gd name="connsiteX69" fmla="*/ 2671696 w 4647675"/>
              <a:gd name="connsiteY69" fmla="*/ 980227 h 5199034"/>
              <a:gd name="connsiteX70" fmla="*/ 2590486 w 4647675"/>
              <a:gd name="connsiteY70" fmla="*/ 1061436 h 5199034"/>
              <a:gd name="connsiteX71" fmla="*/ 696599 w 4647675"/>
              <a:gd name="connsiteY71" fmla="*/ 1061436 h 5199034"/>
              <a:gd name="connsiteX72" fmla="*/ 615390 w 4647675"/>
              <a:gd name="connsiteY72" fmla="*/ 980227 h 5199034"/>
              <a:gd name="connsiteX73" fmla="*/ 696599 w 4647675"/>
              <a:gd name="connsiteY73" fmla="*/ 899017 h 5199034"/>
              <a:gd name="connsiteX74" fmla="*/ 2780854 w 4647675"/>
              <a:gd name="connsiteY74" fmla="*/ 277310 h 5199034"/>
              <a:gd name="connsiteX75" fmla="*/ 2780854 w 4647675"/>
              <a:gd name="connsiteY75" fmla="*/ 506201 h 5199034"/>
              <a:gd name="connsiteX76" fmla="*/ 3009744 w 4647675"/>
              <a:gd name="connsiteY76" fmla="*/ 506201 h 5199034"/>
              <a:gd name="connsiteX77" fmla="*/ 162566 w 4647675"/>
              <a:gd name="connsiteY77" fmla="*/ 162458 h 5199034"/>
              <a:gd name="connsiteX78" fmla="*/ 162548 w 4647675"/>
              <a:gd name="connsiteY78" fmla="*/ 4049799 h 5199034"/>
              <a:gd name="connsiteX79" fmla="*/ 1805334 w 4647675"/>
              <a:gd name="connsiteY79" fmla="*/ 4049799 h 5199034"/>
              <a:gd name="connsiteX80" fmla="*/ 1497067 w 4647675"/>
              <a:gd name="connsiteY80" fmla="*/ 3275021 h 5199034"/>
              <a:gd name="connsiteX81" fmla="*/ 2627070 w 4647675"/>
              <a:gd name="connsiteY81" fmla="*/ 2145019 h 5199034"/>
              <a:gd name="connsiteX82" fmla="*/ 3124617 w 4647675"/>
              <a:gd name="connsiteY82" fmla="*/ 2260635 h 5199034"/>
              <a:gd name="connsiteX83" fmla="*/ 3124656 w 4647675"/>
              <a:gd name="connsiteY83" fmla="*/ 668697 h 5199034"/>
              <a:gd name="connsiteX84" fmla="*/ 2699626 w 4647675"/>
              <a:gd name="connsiteY84" fmla="*/ 668697 h 5199034"/>
              <a:gd name="connsiteX85" fmla="*/ 2618417 w 4647675"/>
              <a:gd name="connsiteY85" fmla="*/ 587488 h 5199034"/>
              <a:gd name="connsiteX86" fmla="*/ 2618417 w 4647675"/>
              <a:gd name="connsiteY86" fmla="*/ 162458 h 5199034"/>
              <a:gd name="connsiteX87" fmla="*/ 81209 w 4647675"/>
              <a:gd name="connsiteY87" fmla="*/ 0 h 5199034"/>
              <a:gd name="connsiteX88" fmla="*/ 2699693 w 4647675"/>
              <a:gd name="connsiteY88" fmla="*/ 0 h 5199034"/>
              <a:gd name="connsiteX89" fmla="*/ 2757137 w 4647675"/>
              <a:gd name="connsiteY89" fmla="*/ 23766 h 5199034"/>
              <a:gd name="connsiteX90" fmla="*/ 3263375 w 4647675"/>
              <a:gd name="connsiteY90" fmla="*/ 530004 h 5199034"/>
              <a:gd name="connsiteX91" fmla="*/ 3287140 w 4647675"/>
              <a:gd name="connsiteY91" fmla="*/ 587447 h 5199034"/>
              <a:gd name="connsiteX92" fmla="*/ 3287179 w 4647675"/>
              <a:gd name="connsiteY92" fmla="*/ 2358379 h 5199034"/>
              <a:gd name="connsiteX93" fmla="*/ 3757138 w 4647675"/>
              <a:gd name="connsiteY93" fmla="*/ 3274951 h 5199034"/>
              <a:gd name="connsiteX94" fmla="*/ 3590812 w 4647675"/>
              <a:gd name="connsiteY94" fmla="*/ 3864386 h 5199034"/>
              <a:gd name="connsiteX95" fmla="*/ 3822152 w 4647675"/>
              <a:gd name="connsiteY95" fmla="*/ 4088878 h 5199034"/>
              <a:gd name="connsiteX96" fmla="*/ 3892721 w 4647675"/>
              <a:gd name="connsiteY96" fmla="*/ 4072996 h 5199034"/>
              <a:gd name="connsiteX97" fmla="*/ 4018321 w 4647675"/>
              <a:gd name="connsiteY97" fmla="*/ 4122708 h 5199034"/>
              <a:gd name="connsiteX98" fmla="*/ 4594207 w 4647675"/>
              <a:gd name="connsiteY98" fmla="*/ 4681527 h 5199034"/>
              <a:gd name="connsiteX99" fmla="*/ 4594148 w 4647675"/>
              <a:gd name="connsiteY99" fmla="*/ 4681550 h 5199034"/>
              <a:gd name="connsiteX100" fmla="*/ 4597975 w 4647675"/>
              <a:gd name="connsiteY100" fmla="*/ 4931220 h 5199034"/>
              <a:gd name="connsiteX101" fmla="*/ 4390051 w 4647675"/>
              <a:gd name="connsiteY101" fmla="*/ 5145533 h 5199034"/>
              <a:gd name="connsiteX102" fmla="*/ 4265980 w 4647675"/>
              <a:gd name="connsiteY102" fmla="*/ 5199034 h 5199034"/>
              <a:gd name="connsiteX103" fmla="*/ 4263224 w 4647675"/>
              <a:gd name="connsiteY103" fmla="*/ 5199034 h 5199034"/>
              <a:gd name="connsiteX104" fmla="*/ 4140338 w 4647675"/>
              <a:gd name="connsiteY104" fmla="*/ 5149322 h 5199034"/>
              <a:gd name="connsiteX105" fmla="*/ 3564453 w 4647675"/>
              <a:gd name="connsiteY105" fmla="*/ 4590463 h 5199034"/>
              <a:gd name="connsiteX106" fmla="*/ 3510951 w 4647675"/>
              <a:gd name="connsiteY106" fmla="*/ 4466392 h 5199034"/>
              <a:gd name="connsiteX107" fmla="*/ 3524652 w 4647675"/>
              <a:gd name="connsiteY107" fmla="*/ 4395363 h 5199034"/>
              <a:gd name="connsiteX108" fmla="*/ 3302727 w 4647675"/>
              <a:gd name="connsiteY108" fmla="*/ 4180021 h 5199034"/>
              <a:gd name="connsiteX109" fmla="*/ 2626988 w 4647675"/>
              <a:gd name="connsiteY109" fmla="*/ 4404895 h 5199034"/>
              <a:gd name="connsiteX110" fmla="*/ 1996454 w 4647675"/>
              <a:gd name="connsiteY110" fmla="*/ 4212166 h 5199034"/>
              <a:gd name="connsiteX111" fmla="*/ 81209 w 4647675"/>
              <a:gd name="connsiteY111" fmla="*/ 4212166 h 5199034"/>
              <a:gd name="connsiteX112" fmla="*/ 0 w 4647675"/>
              <a:gd name="connsiteY112" fmla="*/ 4130957 h 5199034"/>
              <a:gd name="connsiteX113" fmla="*/ 0 w 4647675"/>
              <a:gd name="connsiteY113" fmla="*/ 81209 h 5199034"/>
              <a:gd name="connsiteX114" fmla="*/ 81209 w 4647675"/>
              <a:gd name="connsiteY114" fmla="*/ 0 h 519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4647675" h="5199034">
                <a:moveTo>
                  <a:pt x="3895125" y="4235323"/>
                </a:moveTo>
                <a:cubicBezTo>
                  <a:pt x="3892370" y="4235361"/>
                  <a:pt x="3888428" y="4236127"/>
                  <a:pt x="3885175" y="4239494"/>
                </a:cubicBezTo>
                <a:lnTo>
                  <a:pt x="3677250" y="4453807"/>
                </a:lnTo>
                <a:cubicBezTo>
                  <a:pt x="3673997" y="4457174"/>
                  <a:pt x="3673385" y="4461117"/>
                  <a:pt x="3673423" y="4463872"/>
                </a:cubicBezTo>
                <a:cubicBezTo>
                  <a:pt x="3673462" y="4466627"/>
                  <a:pt x="3674227" y="4470569"/>
                  <a:pt x="3677595" y="4473822"/>
                </a:cubicBezTo>
                <a:lnTo>
                  <a:pt x="4253481" y="5032641"/>
                </a:lnTo>
                <a:cubicBezTo>
                  <a:pt x="4256848" y="5035970"/>
                  <a:pt x="4260560" y="5036430"/>
                  <a:pt x="4263545" y="5036544"/>
                </a:cubicBezTo>
                <a:cubicBezTo>
                  <a:pt x="4266224" y="5036506"/>
                  <a:pt x="4270166" y="5035741"/>
                  <a:pt x="4273419" y="5032373"/>
                </a:cubicBezTo>
                <a:lnTo>
                  <a:pt x="4481344" y="4818061"/>
                </a:lnTo>
                <a:lnTo>
                  <a:pt x="4481344" y="4818063"/>
                </a:lnTo>
                <a:cubicBezTo>
                  <a:pt x="4486587" y="4812704"/>
                  <a:pt x="4486434" y="4803366"/>
                  <a:pt x="4480999" y="4798085"/>
                </a:cubicBezTo>
                <a:lnTo>
                  <a:pt x="3905113" y="4239227"/>
                </a:lnTo>
                <a:cubicBezTo>
                  <a:pt x="3901860" y="4236012"/>
                  <a:pt x="3898033" y="4235323"/>
                  <a:pt x="3895355" y="4235323"/>
                </a:cubicBezTo>
                <a:close/>
                <a:moveTo>
                  <a:pt x="3494815" y="3997720"/>
                </a:moveTo>
                <a:cubicBezTo>
                  <a:pt x="3473002" y="4023897"/>
                  <a:pt x="3450040" y="4049041"/>
                  <a:pt x="3425968" y="4073150"/>
                </a:cubicBezTo>
                <a:lnTo>
                  <a:pt x="3629033" y="4270201"/>
                </a:lnTo>
                <a:lnTo>
                  <a:pt x="3700139" y="4196951"/>
                </a:lnTo>
                <a:close/>
                <a:moveTo>
                  <a:pt x="507937" y="3596622"/>
                </a:moveTo>
                <a:lnTo>
                  <a:pt x="1178453" y="3596622"/>
                </a:lnTo>
                <a:cubicBezTo>
                  <a:pt x="1238958" y="3596546"/>
                  <a:pt x="1287910" y="3632940"/>
                  <a:pt x="1287910" y="3677832"/>
                </a:cubicBezTo>
                <a:cubicBezTo>
                  <a:pt x="1287910" y="3722684"/>
                  <a:pt x="1238908" y="3759042"/>
                  <a:pt x="1178453" y="3759042"/>
                </a:cubicBezTo>
                <a:lnTo>
                  <a:pt x="507937" y="3759042"/>
                </a:lnTo>
                <a:cubicBezTo>
                  <a:pt x="447483" y="3759042"/>
                  <a:pt x="398479" y="3722685"/>
                  <a:pt x="398479" y="3677832"/>
                </a:cubicBezTo>
                <a:cubicBezTo>
                  <a:pt x="398479" y="3632979"/>
                  <a:pt x="447482" y="3596622"/>
                  <a:pt x="507937" y="3596622"/>
                </a:cubicBezTo>
                <a:close/>
                <a:moveTo>
                  <a:pt x="696607" y="3057099"/>
                </a:moveTo>
                <a:lnTo>
                  <a:pt x="1194077" y="3057099"/>
                </a:lnTo>
                <a:cubicBezTo>
                  <a:pt x="1238967" y="3057023"/>
                  <a:pt x="1275286" y="3093417"/>
                  <a:pt x="1275286" y="3138309"/>
                </a:cubicBezTo>
                <a:cubicBezTo>
                  <a:pt x="1275286" y="3183161"/>
                  <a:pt x="1238930" y="3219519"/>
                  <a:pt x="1194077" y="3219519"/>
                </a:cubicBezTo>
                <a:lnTo>
                  <a:pt x="696607" y="3219519"/>
                </a:lnTo>
                <a:cubicBezTo>
                  <a:pt x="651755" y="3219519"/>
                  <a:pt x="615398" y="3183162"/>
                  <a:pt x="615398" y="3138309"/>
                </a:cubicBezTo>
                <a:cubicBezTo>
                  <a:pt x="615398" y="3093456"/>
                  <a:pt x="651754" y="3057099"/>
                  <a:pt x="696607" y="3057099"/>
                </a:cubicBezTo>
                <a:close/>
                <a:moveTo>
                  <a:pt x="2627038" y="2603123"/>
                </a:moveTo>
                <a:cubicBezTo>
                  <a:pt x="2256589" y="2603123"/>
                  <a:pt x="1955248" y="2904464"/>
                  <a:pt x="1955248" y="3274914"/>
                </a:cubicBezTo>
                <a:cubicBezTo>
                  <a:pt x="1955248" y="3645363"/>
                  <a:pt x="2256589" y="3946703"/>
                  <a:pt x="2627038" y="3946703"/>
                </a:cubicBezTo>
                <a:cubicBezTo>
                  <a:pt x="2997409" y="3946703"/>
                  <a:pt x="3298828" y="3645363"/>
                  <a:pt x="3298828" y="3274914"/>
                </a:cubicBezTo>
                <a:cubicBezTo>
                  <a:pt x="3298828" y="2904464"/>
                  <a:pt x="2997488" y="2603123"/>
                  <a:pt x="2627038" y="2603123"/>
                </a:cubicBezTo>
                <a:close/>
                <a:moveTo>
                  <a:pt x="696607" y="2517578"/>
                </a:moveTo>
                <a:lnTo>
                  <a:pt x="1194077" y="2517578"/>
                </a:lnTo>
                <a:cubicBezTo>
                  <a:pt x="1238967" y="2517539"/>
                  <a:pt x="1275286" y="2553896"/>
                  <a:pt x="1275286" y="2598787"/>
                </a:cubicBezTo>
                <a:cubicBezTo>
                  <a:pt x="1275286" y="2643640"/>
                  <a:pt x="1238930" y="2679997"/>
                  <a:pt x="1194077" y="2679997"/>
                </a:cubicBezTo>
                <a:lnTo>
                  <a:pt x="696607" y="2679997"/>
                </a:lnTo>
                <a:cubicBezTo>
                  <a:pt x="651755" y="2679997"/>
                  <a:pt x="615398" y="2643641"/>
                  <a:pt x="615398" y="2598787"/>
                </a:cubicBezTo>
                <a:cubicBezTo>
                  <a:pt x="615398" y="2553934"/>
                  <a:pt x="651754" y="2517578"/>
                  <a:pt x="696607" y="2517578"/>
                </a:cubicBezTo>
                <a:close/>
                <a:moveTo>
                  <a:pt x="2627038" y="2440687"/>
                </a:moveTo>
                <a:cubicBezTo>
                  <a:pt x="3087044" y="2440687"/>
                  <a:pt x="3461324" y="2814928"/>
                  <a:pt x="3461324" y="3274972"/>
                </a:cubicBezTo>
                <a:cubicBezTo>
                  <a:pt x="3461324" y="3734977"/>
                  <a:pt x="3087044" y="4109258"/>
                  <a:pt x="2627038" y="4109258"/>
                </a:cubicBezTo>
                <a:cubicBezTo>
                  <a:pt x="2167033" y="4109258"/>
                  <a:pt x="1792753" y="3734977"/>
                  <a:pt x="1792753" y="3274972"/>
                </a:cubicBezTo>
                <a:cubicBezTo>
                  <a:pt x="1792753" y="2814967"/>
                  <a:pt x="2167033" y="2440687"/>
                  <a:pt x="2627038" y="2440687"/>
                </a:cubicBezTo>
                <a:close/>
                <a:moveTo>
                  <a:pt x="2627077" y="2307405"/>
                </a:moveTo>
                <a:cubicBezTo>
                  <a:pt x="2093554" y="2307405"/>
                  <a:pt x="1659570" y="2741429"/>
                  <a:pt x="1659570" y="3274913"/>
                </a:cubicBezTo>
                <a:cubicBezTo>
                  <a:pt x="1659570" y="3808396"/>
                  <a:pt x="2093594" y="4242420"/>
                  <a:pt x="2627077" y="4242420"/>
                </a:cubicBezTo>
                <a:cubicBezTo>
                  <a:pt x="3160601" y="4242420"/>
                  <a:pt x="3594585" y="3808396"/>
                  <a:pt x="3594585" y="3274913"/>
                </a:cubicBezTo>
                <a:cubicBezTo>
                  <a:pt x="3594585" y="2741390"/>
                  <a:pt x="3160561" y="2307405"/>
                  <a:pt x="2627077" y="2307405"/>
                </a:cubicBezTo>
                <a:close/>
                <a:moveTo>
                  <a:pt x="696598" y="1978057"/>
                </a:moveTo>
                <a:lnTo>
                  <a:pt x="1464646" y="1978057"/>
                </a:lnTo>
                <a:cubicBezTo>
                  <a:pt x="1509499" y="1978057"/>
                  <a:pt x="1545856" y="2014414"/>
                  <a:pt x="1545856" y="2059267"/>
                </a:cubicBezTo>
                <a:cubicBezTo>
                  <a:pt x="1545856" y="2104081"/>
                  <a:pt x="1509500" y="2140476"/>
                  <a:pt x="1464646" y="2140476"/>
                </a:cubicBezTo>
                <a:lnTo>
                  <a:pt x="696598" y="2140476"/>
                </a:lnTo>
                <a:cubicBezTo>
                  <a:pt x="651746" y="2140476"/>
                  <a:pt x="615389" y="2104120"/>
                  <a:pt x="615389" y="2059267"/>
                </a:cubicBezTo>
                <a:cubicBezTo>
                  <a:pt x="615389" y="2014414"/>
                  <a:pt x="651745" y="1978057"/>
                  <a:pt x="696598" y="1978057"/>
                </a:cubicBezTo>
                <a:close/>
                <a:moveTo>
                  <a:pt x="696599" y="1438537"/>
                </a:moveTo>
                <a:lnTo>
                  <a:pt x="2590486" y="1438537"/>
                </a:lnTo>
                <a:cubicBezTo>
                  <a:pt x="2635338" y="1438537"/>
                  <a:pt x="2671696" y="1474893"/>
                  <a:pt x="2671696" y="1519746"/>
                </a:cubicBezTo>
                <a:cubicBezTo>
                  <a:pt x="2671696" y="1564599"/>
                  <a:pt x="2635339" y="1600956"/>
                  <a:pt x="2590486" y="1600956"/>
                </a:cubicBezTo>
                <a:lnTo>
                  <a:pt x="696599" y="1600956"/>
                </a:lnTo>
                <a:cubicBezTo>
                  <a:pt x="651747" y="1600956"/>
                  <a:pt x="615390" y="1564599"/>
                  <a:pt x="615390" y="1519746"/>
                </a:cubicBezTo>
                <a:cubicBezTo>
                  <a:pt x="615390" y="1474894"/>
                  <a:pt x="651746" y="1438537"/>
                  <a:pt x="696599" y="1438537"/>
                </a:cubicBezTo>
                <a:close/>
                <a:moveTo>
                  <a:pt x="696599" y="899017"/>
                </a:moveTo>
                <a:lnTo>
                  <a:pt x="2590486" y="899017"/>
                </a:lnTo>
                <a:cubicBezTo>
                  <a:pt x="2635338" y="899017"/>
                  <a:pt x="2671696" y="935373"/>
                  <a:pt x="2671696" y="980227"/>
                </a:cubicBezTo>
                <a:cubicBezTo>
                  <a:pt x="2671696" y="1025080"/>
                  <a:pt x="2635339" y="1061436"/>
                  <a:pt x="2590486" y="1061436"/>
                </a:cubicBezTo>
                <a:lnTo>
                  <a:pt x="696599" y="1061436"/>
                </a:lnTo>
                <a:cubicBezTo>
                  <a:pt x="651747" y="1061436"/>
                  <a:pt x="615390" y="1025080"/>
                  <a:pt x="615390" y="980227"/>
                </a:cubicBezTo>
                <a:cubicBezTo>
                  <a:pt x="615390" y="935374"/>
                  <a:pt x="651746" y="899017"/>
                  <a:pt x="696599" y="899017"/>
                </a:cubicBezTo>
                <a:close/>
                <a:moveTo>
                  <a:pt x="2780854" y="277310"/>
                </a:moveTo>
                <a:lnTo>
                  <a:pt x="2780854" y="506201"/>
                </a:lnTo>
                <a:lnTo>
                  <a:pt x="3009744" y="506201"/>
                </a:lnTo>
                <a:close/>
                <a:moveTo>
                  <a:pt x="162566" y="162458"/>
                </a:moveTo>
                <a:lnTo>
                  <a:pt x="162548" y="4049799"/>
                </a:lnTo>
                <a:lnTo>
                  <a:pt x="1805334" y="4049799"/>
                </a:lnTo>
                <a:cubicBezTo>
                  <a:pt x="1614329" y="3847390"/>
                  <a:pt x="1497067" y="3574677"/>
                  <a:pt x="1497067" y="3275021"/>
                </a:cubicBezTo>
                <a:cubicBezTo>
                  <a:pt x="1497067" y="2651943"/>
                  <a:pt x="2004030" y="2145019"/>
                  <a:pt x="2627070" y="2145019"/>
                </a:cubicBezTo>
                <a:cubicBezTo>
                  <a:pt x="2805485" y="2145019"/>
                  <a:pt x="2974447" y="2186620"/>
                  <a:pt x="3124617" y="2260635"/>
                </a:cubicBezTo>
                <a:lnTo>
                  <a:pt x="3124656" y="668697"/>
                </a:lnTo>
                <a:lnTo>
                  <a:pt x="2699626" y="668697"/>
                </a:lnTo>
                <a:cubicBezTo>
                  <a:pt x="2654773" y="668697"/>
                  <a:pt x="2618417" y="632340"/>
                  <a:pt x="2618417" y="587488"/>
                </a:cubicBezTo>
                <a:lnTo>
                  <a:pt x="2618417" y="162458"/>
                </a:lnTo>
                <a:close/>
                <a:moveTo>
                  <a:pt x="81209" y="0"/>
                </a:moveTo>
                <a:lnTo>
                  <a:pt x="2699693" y="0"/>
                </a:lnTo>
                <a:cubicBezTo>
                  <a:pt x="2721239" y="0"/>
                  <a:pt x="2741867" y="8496"/>
                  <a:pt x="2757137" y="23766"/>
                </a:cubicBezTo>
                <a:lnTo>
                  <a:pt x="3263375" y="530004"/>
                </a:lnTo>
                <a:cubicBezTo>
                  <a:pt x="3278568" y="545197"/>
                  <a:pt x="3287140" y="565901"/>
                  <a:pt x="3287140" y="587447"/>
                </a:cubicBezTo>
                <a:lnTo>
                  <a:pt x="3287179" y="2358379"/>
                </a:lnTo>
                <a:cubicBezTo>
                  <a:pt x="3571639" y="2563776"/>
                  <a:pt x="3757138" y="2898104"/>
                  <a:pt x="3757138" y="3274951"/>
                </a:cubicBezTo>
                <a:cubicBezTo>
                  <a:pt x="3757138" y="3490791"/>
                  <a:pt x="3696248" y="3692672"/>
                  <a:pt x="3590812" y="3864386"/>
                </a:cubicBezTo>
                <a:lnTo>
                  <a:pt x="3822152" y="4088878"/>
                </a:lnTo>
                <a:cubicBezTo>
                  <a:pt x="3844041" y="4078889"/>
                  <a:pt x="3867923" y="4073378"/>
                  <a:pt x="3892721" y="4072996"/>
                </a:cubicBezTo>
                <a:cubicBezTo>
                  <a:pt x="3940020" y="4072307"/>
                  <a:pt x="3984529" y="4089910"/>
                  <a:pt x="4018321" y="4122708"/>
                </a:cubicBezTo>
                <a:lnTo>
                  <a:pt x="4594207" y="4681527"/>
                </a:lnTo>
                <a:lnTo>
                  <a:pt x="4594148" y="4681550"/>
                </a:lnTo>
                <a:cubicBezTo>
                  <a:pt x="4663991" y="4749366"/>
                  <a:pt x="4665714" y="4861378"/>
                  <a:pt x="4597975" y="4931220"/>
                </a:cubicBezTo>
                <a:lnTo>
                  <a:pt x="4390051" y="5145533"/>
                </a:lnTo>
                <a:cubicBezTo>
                  <a:pt x="4357291" y="5179325"/>
                  <a:pt x="4313243" y="5198346"/>
                  <a:pt x="4265980" y="5199034"/>
                </a:cubicBezTo>
                <a:lnTo>
                  <a:pt x="4263224" y="5199034"/>
                </a:lnTo>
                <a:cubicBezTo>
                  <a:pt x="4216993" y="5199034"/>
                  <a:pt x="4173480" y="5181430"/>
                  <a:pt x="4140338" y="5149322"/>
                </a:cubicBezTo>
                <a:lnTo>
                  <a:pt x="3564453" y="4590463"/>
                </a:lnTo>
                <a:cubicBezTo>
                  <a:pt x="3530660" y="4557704"/>
                  <a:pt x="3511640" y="4513655"/>
                  <a:pt x="3510951" y="4466392"/>
                </a:cubicBezTo>
                <a:cubicBezTo>
                  <a:pt x="3510530" y="4441593"/>
                  <a:pt x="3515352" y="4417521"/>
                  <a:pt x="3524652" y="4395363"/>
                </a:cubicBezTo>
                <a:lnTo>
                  <a:pt x="3302727" y="4180021"/>
                </a:lnTo>
                <a:cubicBezTo>
                  <a:pt x="3114132" y="4321237"/>
                  <a:pt x="2880147" y="4404895"/>
                  <a:pt x="2626988" y="4404895"/>
                </a:cubicBezTo>
                <a:cubicBezTo>
                  <a:pt x="2393660" y="4404895"/>
                  <a:pt x="2176633" y="4333788"/>
                  <a:pt x="1996454" y="4212166"/>
                </a:cubicBezTo>
                <a:lnTo>
                  <a:pt x="81209" y="4212166"/>
                </a:lnTo>
                <a:cubicBezTo>
                  <a:pt x="36356" y="4212166"/>
                  <a:pt x="0" y="4175809"/>
                  <a:pt x="0" y="4130957"/>
                </a:cubicBezTo>
                <a:lnTo>
                  <a:pt x="0" y="81209"/>
                </a:lnTo>
                <a:cubicBezTo>
                  <a:pt x="0" y="36356"/>
                  <a:pt x="36357" y="0"/>
                  <a:pt x="81209" y="0"/>
                </a:cubicBezTo>
                <a:close/>
              </a:path>
            </a:pathLst>
          </a:custGeom>
          <a:solidFill>
            <a:srgbClr val="0070C0"/>
          </a:solid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Calibri" panose="020F0502020204030204"/>
              <a:cs typeface="+mn-cs"/>
            </a:endParaRPr>
          </a:p>
        </p:txBody>
      </p:sp>
    </p:spTree>
    <p:extLst>
      <p:ext uri="{BB962C8B-B14F-4D97-AF65-F5344CB8AC3E}">
        <p14:creationId xmlns:p14="http://schemas.microsoft.com/office/powerpoint/2010/main" val="13695474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0A32C2-DCBD-5E9B-CBC0-7E95D76541F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879490C-F164-856A-DBC9-B904215FF8C0}"/>
              </a:ext>
            </a:extLst>
          </p:cNvPr>
          <p:cNvSpPr>
            <a:spLocks noGrp="1"/>
          </p:cNvSpPr>
          <p:nvPr>
            <p:ph type="title"/>
          </p:nvPr>
        </p:nvSpPr>
        <p:spPr>
          <a:xfrm>
            <a:off x="495300" y="97659"/>
            <a:ext cx="8690912" cy="443818"/>
          </a:xfrm>
        </p:spPr>
        <p:txBody>
          <a:bodyPr/>
          <a:lstStyle/>
          <a:p>
            <a:r>
              <a:rPr lang="en-US" sz="2100"/>
              <a:t>Convert Business Questions into Data Questions</a:t>
            </a:r>
          </a:p>
        </p:txBody>
      </p:sp>
      <p:sp>
        <p:nvSpPr>
          <p:cNvPr id="26" name="Freeform 30">
            <a:extLst>
              <a:ext uri="{FF2B5EF4-FFF2-40B4-BE49-F238E27FC236}">
                <a16:creationId xmlns:a16="http://schemas.microsoft.com/office/drawing/2014/main" id="{DC75C43E-7767-B5A5-7857-A97D0316D518}"/>
              </a:ext>
            </a:extLst>
          </p:cNvPr>
          <p:cNvSpPr/>
          <p:nvPr/>
        </p:nvSpPr>
        <p:spPr>
          <a:xfrm>
            <a:off x="641144" y="1097886"/>
            <a:ext cx="2063419" cy="962846"/>
          </a:xfrm>
          <a:prstGeom prst="notchedRightArrow">
            <a:avLst/>
          </a:prstGeom>
          <a:solidFill>
            <a:srgbClr val="FFFFFF"/>
          </a:solidFill>
          <a:ln w="12700" cap="flat" cmpd="sng" algn="ctr">
            <a:noFill/>
            <a:prstDash val="solid"/>
            <a:miter lim="800000"/>
          </a:ln>
          <a:effectLst>
            <a:outerShdw blurRad="25400" dist="12700" dir="2700000" algn="tl" rotWithShape="0">
              <a:prstClr val="black">
                <a:alpha val="20000"/>
              </a:prstClr>
            </a:outerShdw>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cs typeface="+mn-cs"/>
            </a:endParaRPr>
          </a:p>
        </p:txBody>
      </p:sp>
      <p:sp>
        <p:nvSpPr>
          <p:cNvPr id="27" name="Freeform 28">
            <a:extLst>
              <a:ext uri="{FF2B5EF4-FFF2-40B4-BE49-F238E27FC236}">
                <a16:creationId xmlns:a16="http://schemas.microsoft.com/office/drawing/2014/main" id="{EA5DEC33-F633-8579-2A13-FFB0A7127D65}"/>
              </a:ext>
            </a:extLst>
          </p:cNvPr>
          <p:cNvSpPr/>
          <p:nvPr/>
        </p:nvSpPr>
        <p:spPr>
          <a:xfrm>
            <a:off x="641146" y="1189422"/>
            <a:ext cx="2002958" cy="808342"/>
          </a:xfrm>
          <a:prstGeom prst="notchedRightArrow">
            <a:avLst/>
          </a:prstGeom>
          <a:solidFill>
            <a:schemeClr val="tx1">
              <a:lumMod val="60000"/>
              <a:lumOff val="40000"/>
            </a:schemeClr>
          </a:solidFill>
          <a:ln w="12700" cap="flat" cmpd="sng" algn="ctr">
            <a:noFill/>
            <a:prstDash val="solid"/>
            <a:miter lim="800000"/>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Calibri" panose="020F0502020204030204"/>
              <a:cs typeface="+mn-cs"/>
            </a:endParaRPr>
          </a:p>
        </p:txBody>
      </p:sp>
      <p:sp>
        <p:nvSpPr>
          <p:cNvPr id="28" name="TextBox 27">
            <a:extLst>
              <a:ext uri="{FF2B5EF4-FFF2-40B4-BE49-F238E27FC236}">
                <a16:creationId xmlns:a16="http://schemas.microsoft.com/office/drawing/2014/main" id="{E42A1AAE-7E84-2558-E454-9D223A1B49E1}"/>
              </a:ext>
            </a:extLst>
          </p:cNvPr>
          <p:cNvSpPr txBox="1"/>
          <p:nvPr/>
        </p:nvSpPr>
        <p:spPr>
          <a:xfrm>
            <a:off x="1008386" y="1396583"/>
            <a:ext cx="1191523" cy="400110"/>
          </a:xfrm>
          <a:prstGeom prst="rect">
            <a:avLst/>
          </a:prstGeom>
          <a:noFill/>
        </p:spPr>
        <p:txBody>
          <a:bodyPr wrap="square" rtlCol="0" anchor="ctr">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rPr>
              <a:t>Clarify the </a:t>
            </a:r>
            <a:r>
              <a:rPr kumimoji="0" lang="en-US" sz="1000" b="1" i="0" u="none" strike="noStrike" kern="0" cap="none" spc="0" normalizeH="0" baseline="0" noProof="0" dirty="0" err="1">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rPr>
              <a:t>Busines</a:t>
            </a:r>
            <a:r>
              <a:rPr lang="en-US" sz="1000" b="1" kern="0" dirty="0">
                <a:solidFill>
                  <a:srgbClr val="FFFFFF"/>
                </a:solidFill>
                <a:effectLst>
                  <a:outerShdw blurRad="38100" dist="38100" dir="2700000" algn="tl">
                    <a:srgbClr val="000000">
                      <a:alpha val="43137"/>
                    </a:srgbClr>
                  </a:outerShdw>
                </a:effectLst>
                <a:latin typeface="Century Gothic" panose="020B0502020202020204" pitchFamily="34" charset="0"/>
                <a:cs typeface="Arial" panose="020B0604020202020204" pitchFamily="34" charset="0"/>
              </a:rPr>
              <a:t>s Goal</a:t>
            </a:r>
            <a:endParaRPr kumimoji="0" lang="en-US" sz="10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D873B916-C2C1-679B-B1BA-E246B88C7E8B}"/>
              </a:ext>
            </a:extLst>
          </p:cNvPr>
          <p:cNvSpPr/>
          <p:nvPr/>
        </p:nvSpPr>
        <p:spPr>
          <a:xfrm rot="5400000" flipH="1">
            <a:off x="1337239" y="870633"/>
            <a:ext cx="516492" cy="563573"/>
          </a:xfrm>
          <a:prstGeom prst="rect">
            <a:avLst/>
          </a:prstGeom>
          <a:solidFill>
            <a:schemeClr val="tx1">
              <a:lumMod val="60000"/>
              <a:lumOff val="40000"/>
            </a:schemeClr>
          </a:solidFill>
          <a:ln w="6350" cap="flat" cmpd="sng" algn="ctr">
            <a:solidFill>
              <a:schemeClr val="tx1">
                <a:lumMod val="60000"/>
                <a:lumOff val="40000"/>
              </a:schemeClr>
            </a:solid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nvGrpSpPr>
          <p:cNvPr id="34" name="Group 33">
            <a:extLst>
              <a:ext uri="{FF2B5EF4-FFF2-40B4-BE49-F238E27FC236}">
                <a16:creationId xmlns:a16="http://schemas.microsoft.com/office/drawing/2014/main" id="{C858C776-7FAC-4023-746C-368C5D83E81E}"/>
              </a:ext>
            </a:extLst>
          </p:cNvPr>
          <p:cNvGrpSpPr/>
          <p:nvPr/>
        </p:nvGrpSpPr>
        <p:grpSpPr>
          <a:xfrm>
            <a:off x="3256251" y="1588468"/>
            <a:ext cx="4879363" cy="2305318"/>
            <a:chOff x="911176" y="3609967"/>
            <a:chExt cx="2470254" cy="2250734"/>
          </a:xfrm>
        </p:grpSpPr>
        <p:sp>
          <p:nvSpPr>
            <p:cNvPr id="54" name="Rectangle: Rounded Corners 53">
              <a:extLst>
                <a:ext uri="{FF2B5EF4-FFF2-40B4-BE49-F238E27FC236}">
                  <a16:creationId xmlns:a16="http://schemas.microsoft.com/office/drawing/2014/main" id="{5681400A-E903-D49B-5306-5519F4603EC8}"/>
                </a:ext>
              </a:extLst>
            </p:cNvPr>
            <p:cNvSpPr/>
            <p:nvPr/>
          </p:nvSpPr>
          <p:spPr>
            <a:xfrm>
              <a:off x="911176" y="3609967"/>
              <a:ext cx="2470254" cy="2250734"/>
            </a:xfrm>
            <a:prstGeom prst="roundRect">
              <a:avLst>
                <a:gd name="adj" fmla="val 2224"/>
              </a:avLst>
            </a:prstGeom>
            <a:solidFill>
              <a:srgbClr val="FFFFFF"/>
            </a:solidFill>
            <a:ln w="6350" cap="flat" cmpd="sng" algn="ctr">
              <a:solidFill>
                <a:srgbClr val="4C79CA"/>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 name="Rectangle 54" hidden="1">
              <a:extLst>
                <a:ext uri="{FF2B5EF4-FFF2-40B4-BE49-F238E27FC236}">
                  <a16:creationId xmlns:a16="http://schemas.microsoft.com/office/drawing/2014/main" id="{D6608B87-0A57-AA56-659C-6102EA8AA8FE}"/>
                </a:ext>
              </a:extLst>
            </p:cNvPr>
            <p:cNvSpPr/>
            <p:nvPr/>
          </p:nvSpPr>
          <p:spPr>
            <a:xfrm>
              <a:off x="2108988" y="3926421"/>
              <a:ext cx="74618" cy="74618"/>
            </a:xfrm>
            <a:prstGeom prst="rect">
              <a:avLst/>
            </a:prstGeom>
            <a:solidFill>
              <a:srgbClr val="FFFFFF"/>
            </a:solidFill>
            <a:ln w="6350" cap="flat" cmpd="sng" algn="ctr">
              <a:solidFill>
                <a:schemeClr val="tx2"/>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 name="TextBox 56">
              <a:extLst>
                <a:ext uri="{FF2B5EF4-FFF2-40B4-BE49-F238E27FC236}">
                  <a16:creationId xmlns:a16="http://schemas.microsoft.com/office/drawing/2014/main" id="{54808948-47A9-3D7C-69BE-A3B8D67D3309}"/>
                </a:ext>
              </a:extLst>
            </p:cNvPr>
            <p:cNvSpPr txBox="1"/>
            <p:nvPr/>
          </p:nvSpPr>
          <p:spPr>
            <a:xfrm>
              <a:off x="971121" y="3629009"/>
              <a:ext cx="2350363" cy="2133474"/>
            </a:xfrm>
            <a:prstGeom prst="rect">
              <a:avLst/>
            </a:prstGeom>
            <a:noFill/>
          </p:spPr>
          <p:txBody>
            <a:bodyPr wrap="square" rtlCol="0" anchor="ctr">
              <a:spAutoFit/>
            </a:bodyPr>
            <a:lstStyle/>
            <a:p>
              <a:pPr algn="ctr"/>
              <a:r>
                <a:rPr lang="en-US" sz="1400" b="1" dirty="0">
                  <a:solidFill>
                    <a:srgbClr val="4C79CA"/>
                  </a:solidFill>
                  <a:latin typeface="Calibri" panose="020F0502020204030204" pitchFamily="34" charset="0"/>
                  <a:cs typeface="Calibri" panose="020F0502020204030204" pitchFamily="34" charset="0"/>
                </a:rPr>
                <a:t>Refine the data questions to be specific, actionable, and measurable</a:t>
              </a:r>
            </a:p>
            <a:p>
              <a:pPr algn="ctr"/>
              <a:endParaRPr lang="en-US" sz="1200" b="1" dirty="0">
                <a:solidFill>
                  <a:srgbClr val="4C79CA"/>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Over the past 12 months, how have task completion rates varied across departments with a work-from-home policy versus in-office teams?”</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What specific factors (e.g., lack of tools, burnout) are most strongly associated with a 10% drop in productivity, based on employee surveys?”</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What training or resources do high-performing teams use that can be applied across underperforming teams?”</a:t>
              </a:r>
            </a:p>
          </p:txBody>
        </p:sp>
      </p:grpSp>
      <p:sp>
        <p:nvSpPr>
          <p:cNvPr id="58" name="Rectangle 57">
            <a:extLst>
              <a:ext uri="{FF2B5EF4-FFF2-40B4-BE49-F238E27FC236}">
                <a16:creationId xmlns:a16="http://schemas.microsoft.com/office/drawing/2014/main" id="{5F47C755-9B6E-BE85-394E-A2496A715CBC}"/>
              </a:ext>
            </a:extLst>
          </p:cNvPr>
          <p:cNvSpPr/>
          <p:nvPr/>
        </p:nvSpPr>
        <p:spPr>
          <a:xfrm flipH="1">
            <a:off x="1359753" y="940229"/>
            <a:ext cx="478741" cy="438745"/>
          </a:xfrm>
          <a:prstGeom prst="rect">
            <a:avLst/>
          </a:prstGeom>
          <a:solidFill>
            <a:srgbClr val="FFFFFF"/>
          </a:solidFill>
          <a:ln w="6350" cap="flat" cmpd="sng" algn="ctr">
            <a:solidFill>
              <a:schemeClr val="tx1">
                <a:lumMod val="60000"/>
                <a:lumOff val="40000"/>
              </a:schemeClr>
            </a:solidFill>
            <a:prstDash val="solid"/>
            <a:miter lim="800000"/>
          </a:ln>
          <a:effectLst>
            <a:outerShdw blurRad="63500" sx="102000" sy="102000" algn="ctr" rotWithShape="0">
              <a:prstClr val="black">
                <a:alpha val="10000"/>
              </a:prstClr>
            </a:outerShdw>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 name="Freeform: Shape 59">
            <a:extLst>
              <a:ext uri="{FF2B5EF4-FFF2-40B4-BE49-F238E27FC236}">
                <a16:creationId xmlns:a16="http://schemas.microsoft.com/office/drawing/2014/main" id="{3703189A-6325-881D-E19E-0F48FD10B2D4}"/>
              </a:ext>
            </a:extLst>
          </p:cNvPr>
          <p:cNvSpPr/>
          <p:nvPr/>
        </p:nvSpPr>
        <p:spPr>
          <a:xfrm>
            <a:off x="1478784" y="1059260"/>
            <a:ext cx="259493" cy="237814"/>
          </a:xfrm>
          <a:custGeom>
            <a:avLst/>
            <a:gdLst>
              <a:gd name="connsiteX0" fmla="*/ 1679376 w 5486401"/>
              <a:gd name="connsiteY0" fmla="*/ 2261882 h 5486400"/>
              <a:gd name="connsiteX1" fmla="*/ 3479601 w 5486401"/>
              <a:gd name="connsiteY1" fmla="*/ 2261882 h 5486400"/>
              <a:gd name="connsiteX2" fmla="*/ 3479601 w 5486401"/>
              <a:gd name="connsiteY2" fmla="*/ 2604782 h 5486400"/>
              <a:gd name="connsiteX3" fmla="*/ 1679376 w 5486401"/>
              <a:gd name="connsiteY3" fmla="*/ 2604782 h 5486400"/>
              <a:gd name="connsiteX4" fmla="*/ 4250356 w 5486401"/>
              <a:gd name="connsiteY4" fmla="*/ 1513966 h 5486400"/>
              <a:gd name="connsiteX5" fmla="*/ 4655047 w 5486401"/>
              <a:gd name="connsiteY5" fmla="*/ 1513966 h 5486400"/>
              <a:gd name="connsiteX6" fmla="*/ 4655047 w 5486401"/>
              <a:gd name="connsiteY6" fmla="*/ 1853471 h 5486400"/>
              <a:gd name="connsiteX7" fmla="*/ 4250356 w 5486401"/>
              <a:gd name="connsiteY7" fmla="*/ 1853471 h 5486400"/>
              <a:gd name="connsiteX8" fmla="*/ 3749946 w 5486401"/>
              <a:gd name="connsiteY8" fmla="*/ 1513966 h 5486400"/>
              <a:gd name="connsiteX9" fmla="*/ 4154637 w 5486401"/>
              <a:gd name="connsiteY9" fmla="*/ 1513966 h 5486400"/>
              <a:gd name="connsiteX10" fmla="*/ 4154637 w 5486401"/>
              <a:gd name="connsiteY10" fmla="*/ 1853471 h 5486400"/>
              <a:gd name="connsiteX11" fmla="*/ 3749946 w 5486401"/>
              <a:gd name="connsiteY11" fmla="*/ 1853471 h 5486400"/>
              <a:gd name="connsiteX12" fmla="*/ 1748373 w 5486401"/>
              <a:gd name="connsiteY12" fmla="*/ 1512292 h 5486400"/>
              <a:gd name="connsiteX13" fmla="*/ 3548598 w 5486401"/>
              <a:gd name="connsiteY13" fmla="*/ 1512292 h 5486400"/>
              <a:gd name="connsiteX14" fmla="*/ 3548598 w 5486401"/>
              <a:gd name="connsiteY14" fmla="*/ 1855193 h 5486400"/>
              <a:gd name="connsiteX15" fmla="*/ 1748373 w 5486401"/>
              <a:gd name="connsiteY15" fmla="*/ 1855193 h 5486400"/>
              <a:gd name="connsiteX16" fmla="*/ 1817369 w 5486401"/>
              <a:gd name="connsiteY16" fmla="*/ 771525 h 5486400"/>
              <a:gd name="connsiteX17" fmla="*/ 4629149 w 5486401"/>
              <a:gd name="connsiteY17" fmla="*/ 771525 h 5486400"/>
              <a:gd name="connsiteX18" fmla="*/ 4629149 w 5486401"/>
              <a:gd name="connsiteY18" fmla="*/ 1114426 h 5486400"/>
              <a:gd name="connsiteX19" fmla="*/ 1817369 w 5486401"/>
              <a:gd name="connsiteY19" fmla="*/ 1114426 h 5486400"/>
              <a:gd name="connsiteX20" fmla="*/ 1200150 w 5486401"/>
              <a:gd name="connsiteY20" fmla="*/ 342900 h 5486400"/>
              <a:gd name="connsiteX21" fmla="*/ 1244453 w 5486401"/>
              <a:gd name="connsiteY21" fmla="*/ 445670 h 5486400"/>
              <a:gd name="connsiteX22" fmla="*/ 1256018 w 5486401"/>
              <a:gd name="connsiteY22" fmla="*/ 507858 h 5486400"/>
              <a:gd name="connsiteX23" fmla="*/ 1256241 w 5486401"/>
              <a:gd name="connsiteY23" fmla="*/ 508657 h 5486400"/>
              <a:gd name="connsiteX24" fmla="*/ 1256326 w 5486401"/>
              <a:gd name="connsiteY24" fmla="*/ 509513 h 5486400"/>
              <a:gd name="connsiteX25" fmla="*/ 1265247 w 5486401"/>
              <a:gd name="connsiteY25" fmla="*/ 557480 h 5486400"/>
              <a:gd name="connsiteX26" fmla="*/ 1268729 w 5486401"/>
              <a:gd name="connsiteY26" fmla="*/ 634346 h 5486400"/>
              <a:gd name="connsiteX27" fmla="*/ 1268730 w 5486401"/>
              <a:gd name="connsiteY27" fmla="*/ 634365 h 5486400"/>
              <a:gd name="connsiteX28" fmla="*/ 1268730 w 5486401"/>
              <a:gd name="connsiteY28" fmla="*/ 2023112 h 5486400"/>
              <a:gd name="connsiteX29" fmla="*/ 1268730 w 5486401"/>
              <a:gd name="connsiteY29" fmla="*/ 5143500 h 5486400"/>
              <a:gd name="connsiteX30" fmla="*/ 1285875 w 5486401"/>
              <a:gd name="connsiteY30" fmla="*/ 5143500 h 5486400"/>
              <a:gd name="connsiteX31" fmla="*/ 5143501 w 5486401"/>
              <a:gd name="connsiteY31" fmla="*/ 5143500 h 5486400"/>
              <a:gd name="connsiteX32" fmla="*/ 5143501 w 5486401"/>
              <a:gd name="connsiteY32" fmla="*/ 634365 h 5486400"/>
              <a:gd name="connsiteX33" fmla="*/ 4852036 w 5486401"/>
              <a:gd name="connsiteY33" fmla="*/ 342900 h 5486400"/>
              <a:gd name="connsiteX34" fmla="*/ 651511 w 5486401"/>
              <a:gd name="connsiteY34" fmla="*/ 342900 h 5486400"/>
              <a:gd name="connsiteX35" fmla="*/ 589025 w 5486401"/>
              <a:gd name="connsiteY35" fmla="*/ 349096 h 5486400"/>
              <a:gd name="connsiteX36" fmla="*/ 342900 w 5486401"/>
              <a:gd name="connsiteY36" fmla="*/ 634365 h 5486400"/>
              <a:gd name="connsiteX37" fmla="*/ 342900 w 5486401"/>
              <a:gd name="connsiteY37" fmla="*/ 1680212 h 5486400"/>
              <a:gd name="connsiteX38" fmla="*/ 942975 w 5486401"/>
              <a:gd name="connsiteY38" fmla="*/ 1680212 h 5486400"/>
              <a:gd name="connsiteX39" fmla="*/ 942976 w 5486401"/>
              <a:gd name="connsiteY39" fmla="*/ 1680212 h 5486400"/>
              <a:gd name="connsiteX40" fmla="*/ 942976 w 5486401"/>
              <a:gd name="connsiteY40" fmla="*/ 634365 h 5486400"/>
              <a:gd name="connsiteX41" fmla="*/ 651511 w 5486401"/>
              <a:gd name="connsiteY41" fmla="*/ 342900 h 5486400"/>
              <a:gd name="connsiteX42" fmla="*/ 634366 w 5486401"/>
              <a:gd name="connsiteY42" fmla="*/ 0 h 5486400"/>
              <a:gd name="connsiteX43" fmla="*/ 651510 w 5486401"/>
              <a:gd name="connsiteY43" fmla="*/ 1733 h 5486400"/>
              <a:gd name="connsiteX44" fmla="*/ 764996 w 5486401"/>
              <a:gd name="connsiteY44" fmla="*/ 13195 h 5486400"/>
              <a:gd name="connsiteX45" fmla="*/ 1145556 w 5486401"/>
              <a:gd name="connsiteY45" fmla="*/ 258015 h 5486400"/>
              <a:gd name="connsiteX46" fmla="*/ 764996 w 5486401"/>
              <a:gd name="connsiteY46" fmla="*/ 13194 h 5486400"/>
              <a:gd name="connsiteX47" fmla="*/ 651510 w 5486401"/>
              <a:gd name="connsiteY47" fmla="*/ 1733 h 5486400"/>
              <a:gd name="connsiteX48" fmla="*/ 651510 w 5486401"/>
              <a:gd name="connsiteY48" fmla="*/ 0 h 5486400"/>
              <a:gd name="connsiteX49" fmla="*/ 4852036 w 5486401"/>
              <a:gd name="connsiteY49" fmla="*/ 0 h 5486400"/>
              <a:gd name="connsiteX50" fmla="*/ 5486401 w 5486401"/>
              <a:gd name="connsiteY50" fmla="*/ 634365 h 5486400"/>
              <a:gd name="connsiteX51" fmla="*/ 5486401 w 5486401"/>
              <a:gd name="connsiteY51" fmla="*/ 5486400 h 5486400"/>
              <a:gd name="connsiteX52" fmla="*/ 942975 w 5486401"/>
              <a:gd name="connsiteY52" fmla="*/ 5486400 h 5486400"/>
              <a:gd name="connsiteX53" fmla="*/ 942975 w 5486401"/>
              <a:gd name="connsiteY53" fmla="*/ 2023112 h 5486400"/>
              <a:gd name="connsiteX54" fmla="*/ 0 w 5486401"/>
              <a:gd name="connsiteY54" fmla="*/ 2023112 h 5486400"/>
              <a:gd name="connsiteX55" fmla="*/ 0 w 5486401"/>
              <a:gd name="connsiteY55" fmla="*/ 634365 h 5486400"/>
              <a:gd name="connsiteX56" fmla="*/ 634366 w 5486401"/>
              <a:gd name="connsiteY56" fmla="*/ 0 h 548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486401" h="5486400">
                <a:moveTo>
                  <a:pt x="1679376" y="2261882"/>
                </a:moveTo>
                <a:lnTo>
                  <a:pt x="3479601" y="2261882"/>
                </a:lnTo>
                <a:lnTo>
                  <a:pt x="3479601" y="2604782"/>
                </a:lnTo>
                <a:lnTo>
                  <a:pt x="1679376" y="2604782"/>
                </a:lnTo>
                <a:close/>
                <a:moveTo>
                  <a:pt x="4250356" y="1513966"/>
                </a:moveTo>
                <a:lnTo>
                  <a:pt x="4655047" y="1513966"/>
                </a:lnTo>
                <a:lnTo>
                  <a:pt x="4655047" y="1853471"/>
                </a:lnTo>
                <a:lnTo>
                  <a:pt x="4250356" y="1853471"/>
                </a:lnTo>
                <a:close/>
                <a:moveTo>
                  <a:pt x="3749946" y="1513966"/>
                </a:moveTo>
                <a:lnTo>
                  <a:pt x="4154637" y="1513966"/>
                </a:lnTo>
                <a:lnTo>
                  <a:pt x="4154637" y="1853471"/>
                </a:lnTo>
                <a:lnTo>
                  <a:pt x="3749946" y="1853471"/>
                </a:lnTo>
                <a:close/>
                <a:moveTo>
                  <a:pt x="1748373" y="1512292"/>
                </a:moveTo>
                <a:lnTo>
                  <a:pt x="3548598" y="1512292"/>
                </a:lnTo>
                <a:lnTo>
                  <a:pt x="3548598" y="1855193"/>
                </a:lnTo>
                <a:lnTo>
                  <a:pt x="1748373" y="1855193"/>
                </a:lnTo>
                <a:close/>
                <a:moveTo>
                  <a:pt x="1817369" y="771525"/>
                </a:moveTo>
                <a:lnTo>
                  <a:pt x="4629149" y="771525"/>
                </a:lnTo>
                <a:lnTo>
                  <a:pt x="4629149" y="1114426"/>
                </a:lnTo>
                <a:lnTo>
                  <a:pt x="1817369" y="1114426"/>
                </a:lnTo>
                <a:close/>
                <a:moveTo>
                  <a:pt x="1200150" y="342900"/>
                </a:moveTo>
                <a:cubicBezTo>
                  <a:pt x="1219438" y="375048"/>
                  <a:pt x="1233905" y="409605"/>
                  <a:pt x="1244453" y="445670"/>
                </a:cubicBezTo>
                <a:lnTo>
                  <a:pt x="1256018" y="507858"/>
                </a:lnTo>
                <a:lnTo>
                  <a:pt x="1256241" y="508657"/>
                </a:lnTo>
                <a:lnTo>
                  <a:pt x="1256326" y="509513"/>
                </a:lnTo>
                <a:lnTo>
                  <a:pt x="1265247" y="557480"/>
                </a:lnTo>
                <a:lnTo>
                  <a:pt x="1268729" y="634346"/>
                </a:lnTo>
                <a:lnTo>
                  <a:pt x="1268730" y="634365"/>
                </a:lnTo>
                <a:lnTo>
                  <a:pt x="1268730" y="2023112"/>
                </a:lnTo>
                <a:lnTo>
                  <a:pt x="1268730" y="5143500"/>
                </a:lnTo>
                <a:lnTo>
                  <a:pt x="1285875" y="5143500"/>
                </a:lnTo>
                <a:lnTo>
                  <a:pt x="5143501" y="5143500"/>
                </a:lnTo>
                <a:lnTo>
                  <a:pt x="5143501" y="634365"/>
                </a:lnTo>
                <a:cubicBezTo>
                  <a:pt x="5143501" y="462915"/>
                  <a:pt x="5006341" y="342900"/>
                  <a:pt x="4852036" y="342900"/>
                </a:cubicBezTo>
                <a:close/>
                <a:moveTo>
                  <a:pt x="651511" y="342900"/>
                </a:moveTo>
                <a:lnTo>
                  <a:pt x="589025" y="349096"/>
                </a:lnTo>
                <a:cubicBezTo>
                  <a:pt x="447914" y="377459"/>
                  <a:pt x="342900" y="499348"/>
                  <a:pt x="342900" y="634365"/>
                </a:cubicBezTo>
                <a:lnTo>
                  <a:pt x="342900" y="1680212"/>
                </a:lnTo>
                <a:lnTo>
                  <a:pt x="942975" y="1680212"/>
                </a:lnTo>
                <a:lnTo>
                  <a:pt x="942976" y="1680212"/>
                </a:lnTo>
                <a:lnTo>
                  <a:pt x="942976" y="634365"/>
                </a:lnTo>
                <a:cubicBezTo>
                  <a:pt x="942976" y="462916"/>
                  <a:pt x="805816" y="342900"/>
                  <a:pt x="651511" y="342900"/>
                </a:cubicBezTo>
                <a:close/>
                <a:moveTo>
                  <a:pt x="634366" y="0"/>
                </a:moveTo>
                <a:lnTo>
                  <a:pt x="651510" y="1733"/>
                </a:lnTo>
                <a:lnTo>
                  <a:pt x="764996" y="13195"/>
                </a:lnTo>
                <a:cubicBezTo>
                  <a:pt x="922341" y="45592"/>
                  <a:pt x="1055669" y="135440"/>
                  <a:pt x="1145556" y="258015"/>
                </a:cubicBezTo>
                <a:cubicBezTo>
                  <a:pt x="1055669" y="135440"/>
                  <a:pt x="922341" y="45592"/>
                  <a:pt x="764996" y="13194"/>
                </a:cubicBezTo>
                <a:lnTo>
                  <a:pt x="651510" y="1733"/>
                </a:lnTo>
                <a:lnTo>
                  <a:pt x="651510" y="0"/>
                </a:lnTo>
                <a:lnTo>
                  <a:pt x="4852036" y="0"/>
                </a:lnTo>
                <a:cubicBezTo>
                  <a:pt x="5194936" y="0"/>
                  <a:pt x="5486401" y="291465"/>
                  <a:pt x="5486401" y="634365"/>
                </a:cubicBezTo>
                <a:lnTo>
                  <a:pt x="5486401" y="5486400"/>
                </a:lnTo>
                <a:lnTo>
                  <a:pt x="942975" y="5486400"/>
                </a:lnTo>
                <a:lnTo>
                  <a:pt x="942975" y="2023112"/>
                </a:lnTo>
                <a:lnTo>
                  <a:pt x="0" y="2023112"/>
                </a:lnTo>
                <a:lnTo>
                  <a:pt x="0" y="634365"/>
                </a:lnTo>
                <a:cubicBezTo>
                  <a:pt x="0" y="291466"/>
                  <a:pt x="291465" y="0"/>
                  <a:pt x="634366" y="0"/>
                </a:cubicBezTo>
                <a:close/>
              </a:path>
            </a:pathLst>
          </a:custGeom>
          <a:solidFill>
            <a:schemeClr val="tx1">
              <a:lumMod val="60000"/>
              <a:lumOff val="40000"/>
            </a:scheme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 name="Freeform: Shape 60">
            <a:extLst>
              <a:ext uri="{FF2B5EF4-FFF2-40B4-BE49-F238E27FC236}">
                <a16:creationId xmlns:a16="http://schemas.microsoft.com/office/drawing/2014/main" id="{44123671-11C3-1349-D023-9E28B47B75AE}"/>
              </a:ext>
            </a:extLst>
          </p:cNvPr>
          <p:cNvSpPr/>
          <p:nvPr/>
        </p:nvSpPr>
        <p:spPr>
          <a:xfrm>
            <a:off x="1496394" y="1076869"/>
            <a:ext cx="201918" cy="193225"/>
          </a:xfrm>
          <a:custGeom>
            <a:avLst/>
            <a:gdLst>
              <a:gd name="connsiteX0" fmla="*/ 1457325 w 4269105"/>
              <a:gd name="connsiteY0" fmla="*/ 3240405 h 4457701"/>
              <a:gd name="connsiteX1" fmla="*/ 1800225 w 4269105"/>
              <a:gd name="connsiteY1" fmla="*/ 3240405 h 4457701"/>
              <a:gd name="connsiteX2" fmla="*/ 1800225 w 4269105"/>
              <a:gd name="connsiteY2" fmla="*/ 4457701 h 4457701"/>
              <a:gd name="connsiteX3" fmla="*/ 1457325 w 4269105"/>
              <a:gd name="connsiteY3" fmla="*/ 4457701 h 4457701"/>
              <a:gd name="connsiteX4" fmla="*/ 2280285 w 4269105"/>
              <a:gd name="connsiteY4" fmla="*/ 3034665 h 4457701"/>
              <a:gd name="connsiteX5" fmla="*/ 2623185 w 4269105"/>
              <a:gd name="connsiteY5" fmla="*/ 3034665 h 4457701"/>
              <a:gd name="connsiteX6" fmla="*/ 2623185 w 4269105"/>
              <a:gd name="connsiteY6" fmla="*/ 4440556 h 4457701"/>
              <a:gd name="connsiteX7" fmla="*/ 2280285 w 4269105"/>
              <a:gd name="connsiteY7" fmla="*/ 4440556 h 4457701"/>
              <a:gd name="connsiteX8" fmla="*/ 3103245 w 4269105"/>
              <a:gd name="connsiteY8" fmla="*/ 2657475 h 4457701"/>
              <a:gd name="connsiteX9" fmla="*/ 3446145 w 4269105"/>
              <a:gd name="connsiteY9" fmla="*/ 2657475 h 4457701"/>
              <a:gd name="connsiteX10" fmla="*/ 3446145 w 4269105"/>
              <a:gd name="connsiteY10" fmla="*/ 4440555 h 4457701"/>
              <a:gd name="connsiteX11" fmla="*/ 3103245 w 4269105"/>
              <a:gd name="connsiteY11" fmla="*/ 4440555 h 4457701"/>
              <a:gd name="connsiteX12" fmla="*/ 3926205 w 4269105"/>
              <a:gd name="connsiteY12" fmla="*/ 2280285 h 4457701"/>
              <a:gd name="connsiteX13" fmla="*/ 4269105 w 4269105"/>
              <a:gd name="connsiteY13" fmla="*/ 2280285 h 4457701"/>
              <a:gd name="connsiteX14" fmla="*/ 4269105 w 4269105"/>
              <a:gd name="connsiteY14" fmla="*/ 4440556 h 4457701"/>
              <a:gd name="connsiteX15" fmla="*/ 3926205 w 4269105"/>
              <a:gd name="connsiteY15" fmla="*/ 4440556 h 4457701"/>
              <a:gd name="connsiteX16" fmla="*/ 308611 w 4269105"/>
              <a:gd name="connsiteY16" fmla="*/ 0 h 4457701"/>
              <a:gd name="connsiteX17" fmla="*/ 365436 w 4269105"/>
              <a:gd name="connsiteY17" fmla="*/ 5492 h 4457701"/>
              <a:gd name="connsiteX18" fmla="*/ 600075 w 4269105"/>
              <a:gd name="connsiteY18" fmla="*/ 291465 h 4457701"/>
              <a:gd name="connsiteX19" fmla="*/ 600075 w 4269105"/>
              <a:gd name="connsiteY19" fmla="*/ 1337311 h 4457701"/>
              <a:gd name="connsiteX20" fmla="*/ 0 w 4269105"/>
              <a:gd name="connsiteY20" fmla="*/ 1337311 h 4457701"/>
              <a:gd name="connsiteX21" fmla="*/ 0 w 4269105"/>
              <a:gd name="connsiteY21" fmla="*/ 291465 h 4457701"/>
              <a:gd name="connsiteX22" fmla="*/ 246125 w 4269105"/>
              <a:gd name="connsiteY22" fmla="*/ 6195 h 445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69105" h="4457701">
                <a:moveTo>
                  <a:pt x="1457325" y="3240405"/>
                </a:moveTo>
                <a:lnTo>
                  <a:pt x="1800225" y="3240405"/>
                </a:lnTo>
                <a:lnTo>
                  <a:pt x="1800225" y="4457701"/>
                </a:lnTo>
                <a:lnTo>
                  <a:pt x="1457325" y="4457701"/>
                </a:lnTo>
                <a:close/>
                <a:moveTo>
                  <a:pt x="2280285" y="3034665"/>
                </a:moveTo>
                <a:lnTo>
                  <a:pt x="2623185" y="3034665"/>
                </a:lnTo>
                <a:lnTo>
                  <a:pt x="2623185" y="4440556"/>
                </a:lnTo>
                <a:lnTo>
                  <a:pt x="2280285" y="4440556"/>
                </a:lnTo>
                <a:close/>
                <a:moveTo>
                  <a:pt x="3103245" y="2657475"/>
                </a:moveTo>
                <a:lnTo>
                  <a:pt x="3446145" y="2657475"/>
                </a:lnTo>
                <a:lnTo>
                  <a:pt x="3446145" y="4440555"/>
                </a:lnTo>
                <a:lnTo>
                  <a:pt x="3103245" y="4440555"/>
                </a:lnTo>
                <a:close/>
                <a:moveTo>
                  <a:pt x="3926205" y="2280285"/>
                </a:moveTo>
                <a:lnTo>
                  <a:pt x="4269105" y="2280285"/>
                </a:lnTo>
                <a:lnTo>
                  <a:pt x="4269105" y="4440556"/>
                </a:lnTo>
                <a:lnTo>
                  <a:pt x="3926205" y="4440556"/>
                </a:lnTo>
                <a:close/>
                <a:moveTo>
                  <a:pt x="308611" y="0"/>
                </a:moveTo>
                <a:lnTo>
                  <a:pt x="365436" y="5492"/>
                </a:lnTo>
                <a:cubicBezTo>
                  <a:pt x="495062" y="30807"/>
                  <a:pt x="600075" y="141446"/>
                  <a:pt x="600075" y="291465"/>
                </a:cubicBezTo>
                <a:lnTo>
                  <a:pt x="600075" y="1337311"/>
                </a:lnTo>
                <a:lnTo>
                  <a:pt x="0" y="1337311"/>
                </a:lnTo>
                <a:lnTo>
                  <a:pt x="0" y="291465"/>
                </a:lnTo>
                <a:cubicBezTo>
                  <a:pt x="0" y="156448"/>
                  <a:pt x="105014" y="34558"/>
                  <a:pt x="246125" y="6195"/>
                </a:cubicBezTo>
                <a:close/>
              </a:path>
            </a:pathLst>
          </a:custGeom>
          <a:solidFill>
            <a:schemeClr val="tx1">
              <a:lumMod val="60000"/>
              <a:lumOff val="40000"/>
            </a:scheme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1" name="Freeform 30">
            <a:extLst>
              <a:ext uri="{FF2B5EF4-FFF2-40B4-BE49-F238E27FC236}">
                <a16:creationId xmlns:a16="http://schemas.microsoft.com/office/drawing/2014/main" id="{B125DF16-370B-46B6-08D2-0461BE21B901}"/>
              </a:ext>
            </a:extLst>
          </p:cNvPr>
          <p:cNvSpPr/>
          <p:nvPr/>
        </p:nvSpPr>
        <p:spPr>
          <a:xfrm>
            <a:off x="641145" y="2090327"/>
            <a:ext cx="2063418" cy="962846"/>
          </a:xfrm>
          <a:prstGeom prst="notchedRightArrow">
            <a:avLst/>
          </a:prstGeom>
          <a:solidFill>
            <a:srgbClr val="FFFFFF"/>
          </a:solidFill>
          <a:ln w="12700" cap="flat" cmpd="sng" algn="ctr">
            <a:noFill/>
            <a:prstDash val="solid"/>
            <a:miter lim="800000"/>
          </a:ln>
          <a:effectLst>
            <a:outerShdw blurRad="25400" dist="12700" dir="2700000" algn="tl" rotWithShape="0">
              <a:prstClr val="black">
                <a:alpha val="20000"/>
              </a:prstClr>
            </a:outerShdw>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cs typeface="+mn-cs"/>
            </a:endParaRPr>
          </a:p>
        </p:txBody>
      </p:sp>
      <p:sp>
        <p:nvSpPr>
          <p:cNvPr id="12" name="Freeform 28">
            <a:extLst>
              <a:ext uri="{FF2B5EF4-FFF2-40B4-BE49-F238E27FC236}">
                <a16:creationId xmlns:a16="http://schemas.microsoft.com/office/drawing/2014/main" id="{96E6053C-08DC-B93D-2DC8-C693295148B0}"/>
              </a:ext>
            </a:extLst>
          </p:cNvPr>
          <p:cNvSpPr/>
          <p:nvPr/>
        </p:nvSpPr>
        <p:spPr>
          <a:xfrm>
            <a:off x="641145" y="2180776"/>
            <a:ext cx="2002958" cy="808343"/>
          </a:xfrm>
          <a:prstGeom prst="notchedRightArrow">
            <a:avLst/>
          </a:prstGeom>
          <a:solidFill>
            <a:schemeClr val="tx1">
              <a:lumMod val="60000"/>
              <a:lumOff val="40000"/>
            </a:schemeClr>
          </a:solidFill>
          <a:ln w="12700" cap="flat" cmpd="sng" algn="ctr">
            <a:noFill/>
            <a:prstDash val="solid"/>
            <a:miter lim="800000"/>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Calibri" panose="020F0502020204030204"/>
              <a:cs typeface="+mn-cs"/>
            </a:endParaRPr>
          </a:p>
        </p:txBody>
      </p:sp>
      <p:sp>
        <p:nvSpPr>
          <p:cNvPr id="13" name="TextBox 12">
            <a:extLst>
              <a:ext uri="{FF2B5EF4-FFF2-40B4-BE49-F238E27FC236}">
                <a16:creationId xmlns:a16="http://schemas.microsoft.com/office/drawing/2014/main" id="{B3588049-E4A4-675D-ECC9-8EA1EFEE45EB}"/>
              </a:ext>
            </a:extLst>
          </p:cNvPr>
          <p:cNvSpPr txBox="1"/>
          <p:nvPr/>
        </p:nvSpPr>
        <p:spPr>
          <a:xfrm>
            <a:off x="948043" y="2376424"/>
            <a:ext cx="1506392" cy="400110"/>
          </a:xfrm>
          <a:prstGeom prst="rect">
            <a:avLst/>
          </a:prstGeom>
          <a:noFill/>
        </p:spPr>
        <p:txBody>
          <a:bodyPr wrap="square" rtlCol="0" anchor="ctr">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rPr>
              <a:t>Break Down the Business Question</a:t>
            </a:r>
          </a:p>
        </p:txBody>
      </p:sp>
      <p:sp>
        <p:nvSpPr>
          <p:cNvPr id="14" name="Rectangle 13">
            <a:extLst>
              <a:ext uri="{FF2B5EF4-FFF2-40B4-BE49-F238E27FC236}">
                <a16:creationId xmlns:a16="http://schemas.microsoft.com/office/drawing/2014/main" id="{55A7CB84-18EA-B985-F43D-F3163CCDF6AA}"/>
              </a:ext>
            </a:extLst>
          </p:cNvPr>
          <p:cNvSpPr/>
          <p:nvPr/>
        </p:nvSpPr>
        <p:spPr>
          <a:xfrm rot="5400000" flipH="1">
            <a:off x="1349997" y="1863067"/>
            <a:ext cx="516494" cy="563573"/>
          </a:xfrm>
          <a:prstGeom prst="rect">
            <a:avLst/>
          </a:prstGeom>
          <a:solidFill>
            <a:schemeClr val="tx1">
              <a:lumMod val="60000"/>
              <a:lumOff val="40000"/>
            </a:schemeClr>
          </a:solidFill>
          <a:ln w="6350" cap="flat" cmpd="sng" algn="ctr">
            <a:solidFill>
              <a:schemeClr val="tx1">
                <a:lumMod val="60000"/>
                <a:lumOff val="40000"/>
              </a:schemeClr>
            </a:solid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8863B9ED-5A52-1031-E0E6-53259E34847C}"/>
              </a:ext>
            </a:extLst>
          </p:cNvPr>
          <p:cNvSpPr/>
          <p:nvPr/>
        </p:nvSpPr>
        <p:spPr>
          <a:xfrm flipH="1">
            <a:off x="1372511" y="1932662"/>
            <a:ext cx="478741" cy="438745"/>
          </a:xfrm>
          <a:prstGeom prst="rect">
            <a:avLst/>
          </a:prstGeom>
          <a:solidFill>
            <a:srgbClr val="FFFFFF"/>
          </a:solidFill>
          <a:ln w="6350" cap="flat" cmpd="sng" algn="ctr">
            <a:solidFill>
              <a:schemeClr val="tx1">
                <a:lumMod val="60000"/>
                <a:lumOff val="40000"/>
              </a:schemeClr>
            </a:solidFill>
            <a:prstDash val="solid"/>
            <a:miter lim="800000"/>
          </a:ln>
          <a:effectLst>
            <a:outerShdw blurRad="63500" sx="102000" sy="102000" algn="ctr" rotWithShape="0">
              <a:prstClr val="black">
                <a:alpha val="10000"/>
              </a:prstClr>
            </a:outerShdw>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CBFDAE43-A7CD-8FED-C72A-F0505C80128F}"/>
              </a:ext>
            </a:extLst>
          </p:cNvPr>
          <p:cNvSpPr/>
          <p:nvPr/>
        </p:nvSpPr>
        <p:spPr>
          <a:xfrm>
            <a:off x="1523208" y="2012414"/>
            <a:ext cx="201174" cy="141487"/>
          </a:xfrm>
          <a:custGeom>
            <a:avLst/>
            <a:gdLst>
              <a:gd name="connsiteX0" fmla="*/ 77650 w 3123639"/>
              <a:gd name="connsiteY0" fmla="*/ 1949367 h 2397124"/>
              <a:gd name="connsiteX1" fmla="*/ 3045989 w 3123639"/>
              <a:gd name="connsiteY1" fmla="*/ 1949367 h 2397124"/>
              <a:gd name="connsiteX2" fmla="*/ 3123639 w 3123639"/>
              <a:gd name="connsiteY2" fmla="*/ 2027017 h 2397124"/>
              <a:gd name="connsiteX3" fmla="*/ 3123601 w 3123639"/>
              <a:gd name="connsiteY3" fmla="*/ 2397124 h 2397124"/>
              <a:gd name="connsiteX4" fmla="*/ 0 w 3123639"/>
              <a:gd name="connsiteY4" fmla="*/ 2397124 h 2397124"/>
              <a:gd name="connsiteX5" fmla="*/ 0 w 3123639"/>
              <a:gd name="connsiteY5" fmla="*/ 2027017 h 2397124"/>
              <a:gd name="connsiteX6" fmla="*/ 77650 w 3123639"/>
              <a:gd name="connsiteY6" fmla="*/ 1949367 h 2397124"/>
              <a:gd name="connsiteX7" fmla="*/ 363671 w 3123639"/>
              <a:gd name="connsiteY7" fmla="*/ 577180 h 2397124"/>
              <a:gd name="connsiteX8" fmla="*/ 507258 w 3123639"/>
              <a:gd name="connsiteY8" fmla="*/ 720728 h 2397124"/>
              <a:gd name="connsiteX9" fmla="*/ 507258 w 3123639"/>
              <a:gd name="connsiteY9" fmla="*/ 1059690 h 2397124"/>
              <a:gd name="connsiteX10" fmla="*/ 363671 w 3123639"/>
              <a:gd name="connsiteY10" fmla="*/ 1203355 h 2397124"/>
              <a:gd name="connsiteX11" fmla="*/ 220084 w 3123639"/>
              <a:gd name="connsiteY11" fmla="*/ 1059690 h 2397124"/>
              <a:gd name="connsiteX12" fmla="*/ 220084 w 3123639"/>
              <a:gd name="connsiteY12" fmla="*/ 720728 h 2397124"/>
              <a:gd name="connsiteX13" fmla="*/ 363671 w 3123639"/>
              <a:gd name="connsiteY13" fmla="*/ 577180 h 2397124"/>
              <a:gd name="connsiteX14" fmla="*/ 1961096 w 3123639"/>
              <a:gd name="connsiteY14" fmla="*/ 0 h 2397124"/>
              <a:gd name="connsiteX15" fmla="*/ 2104683 w 3123639"/>
              <a:gd name="connsiteY15" fmla="*/ 143665 h 2397124"/>
              <a:gd name="connsiteX16" fmla="*/ 2104683 w 3123639"/>
              <a:gd name="connsiteY16" fmla="*/ 1274647 h 2397124"/>
              <a:gd name="connsiteX17" fmla="*/ 1961096 w 3123639"/>
              <a:gd name="connsiteY17" fmla="*/ 1418312 h 2397124"/>
              <a:gd name="connsiteX18" fmla="*/ 1817509 w 3123639"/>
              <a:gd name="connsiteY18" fmla="*/ 1274647 h 2397124"/>
              <a:gd name="connsiteX19" fmla="*/ 1817509 w 3123639"/>
              <a:gd name="connsiteY19" fmla="*/ 143665 h 2397124"/>
              <a:gd name="connsiteX20" fmla="*/ 1961096 w 3123639"/>
              <a:gd name="connsiteY20" fmla="*/ 0 h 2397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23639" h="2397124">
                <a:moveTo>
                  <a:pt x="77650" y="1949367"/>
                </a:moveTo>
                <a:lnTo>
                  <a:pt x="3045989" y="1949367"/>
                </a:lnTo>
                <a:cubicBezTo>
                  <a:pt x="3088813" y="1949367"/>
                  <a:pt x="3123639" y="1984231"/>
                  <a:pt x="3123639" y="2027017"/>
                </a:cubicBezTo>
                <a:lnTo>
                  <a:pt x="3123601" y="2397124"/>
                </a:lnTo>
                <a:lnTo>
                  <a:pt x="0" y="2397124"/>
                </a:lnTo>
                <a:lnTo>
                  <a:pt x="0" y="2027017"/>
                </a:lnTo>
                <a:cubicBezTo>
                  <a:pt x="0" y="1984269"/>
                  <a:pt x="34826" y="1949367"/>
                  <a:pt x="77650" y="1949367"/>
                </a:cubicBezTo>
                <a:close/>
                <a:moveTo>
                  <a:pt x="363671" y="577180"/>
                </a:moveTo>
                <a:cubicBezTo>
                  <a:pt x="442890" y="577180"/>
                  <a:pt x="507258" y="641588"/>
                  <a:pt x="507258" y="720728"/>
                </a:cubicBezTo>
                <a:lnTo>
                  <a:pt x="507258" y="1059690"/>
                </a:lnTo>
                <a:cubicBezTo>
                  <a:pt x="507258" y="1138947"/>
                  <a:pt x="442850" y="1203355"/>
                  <a:pt x="363671" y="1203355"/>
                </a:cubicBezTo>
                <a:cubicBezTo>
                  <a:pt x="284452" y="1203355"/>
                  <a:pt x="220084" y="1138947"/>
                  <a:pt x="220084" y="1059690"/>
                </a:cubicBezTo>
                <a:lnTo>
                  <a:pt x="220084" y="720728"/>
                </a:lnTo>
                <a:cubicBezTo>
                  <a:pt x="220084" y="641585"/>
                  <a:pt x="284493" y="577180"/>
                  <a:pt x="363671" y="577180"/>
                </a:cubicBezTo>
                <a:close/>
                <a:moveTo>
                  <a:pt x="1961096" y="0"/>
                </a:moveTo>
                <a:cubicBezTo>
                  <a:pt x="2040315" y="0"/>
                  <a:pt x="2104683" y="64408"/>
                  <a:pt x="2104683" y="143665"/>
                </a:cubicBezTo>
                <a:lnTo>
                  <a:pt x="2104683" y="1274647"/>
                </a:lnTo>
                <a:cubicBezTo>
                  <a:pt x="2104683" y="1353904"/>
                  <a:pt x="2040274" y="1418312"/>
                  <a:pt x="1961096" y="1418312"/>
                </a:cubicBezTo>
                <a:cubicBezTo>
                  <a:pt x="1881877" y="1418312"/>
                  <a:pt x="1817509" y="1353904"/>
                  <a:pt x="1817509" y="1274647"/>
                </a:cubicBezTo>
                <a:lnTo>
                  <a:pt x="1817509" y="143665"/>
                </a:lnTo>
                <a:cubicBezTo>
                  <a:pt x="1817509" y="64408"/>
                  <a:pt x="1881917" y="0"/>
                  <a:pt x="1961096" y="0"/>
                </a:cubicBezTo>
                <a:close/>
              </a:path>
            </a:pathLst>
          </a:custGeom>
          <a:solidFill>
            <a:schemeClr val="tx1">
              <a:lumMod val="60000"/>
              <a:lumOff val="40000"/>
            </a:scheme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7" name="Freeform: Shape 16">
            <a:extLst>
              <a:ext uri="{FF2B5EF4-FFF2-40B4-BE49-F238E27FC236}">
                <a16:creationId xmlns:a16="http://schemas.microsoft.com/office/drawing/2014/main" id="{923B3AA9-7846-3596-0BCD-93F20F986883}"/>
              </a:ext>
            </a:extLst>
          </p:cNvPr>
          <p:cNvSpPr/>
          <p:nvPr/>
        </p:nvSpPr>
        <p:spPr>
          <a:xfrm>
            <a:off x="1512347" y="2001556"/>
            <a:ext cx="221172" cy="322450"/>
          </a:xfrm>
          <a:custGeom>
            <a:avLst/>
            <a:gdLst>
              <a:gd name="connsiteX0" fmla="*/ 1725087 w 3434154"/>
              <a:gd name="connsiteY0" fmla="*/ 4108496 h 5463085"/>
              <a:gd name="connsiteX1" fmla="*/ 1794473 w 3434154"/>
              <a:gd name="connsiteY1" fmla="*/ 4145199 h 5463085"/>
              <a:gd name="connsiteX2" fmla="*/ 1794473 w 3434154"/>
              <a:gd name="connsiteY2" fmla="*/ 5337800 h 5463085"/>
              <a:gd name="connsiteX3" fmla="*/ 2060452 w 3434154"/>
              <a:gd name="connsiteY3" fmla="*/ 5197105 h 5463085"/>
              <a:gd name="connsiteX4" fmla="*/ 2058597 w 3434154"/>
              <a:gd name="connsiteY4" fmla="*/ 5197105 h 5463085"/>
              <a:gd name="connsiteX5" fmla="*/ 2156896 w 3434154"/>
              <a:gd name="connsiteY5" fmla="*/ 5197236 h 5463085"/>
              <a:gd name="connsiteX6" fmla="*/ 2156669 w 3434154"/>
              <a:gd name="connsiteY6" fmla="*/ 5249233 h 5463085"/>
              <a:gd name="connsiteX7" fmla="*/ 1772276 w 3434154"/>
              <a:gd name="connsiteY7" fmla="*/ 5452325 h 5463085"/>
              <a:gd name="connsiteX8" fmla="*/ 1749601 w 3434154"/>
              <a:gd name="connsiteY8" fmla="*/ 5460398 h 5463085"/>
              <a:gd name="connsiteX9" fmla="*/ 1698718 w 3434154"/>
              <a:gd name="connsiteY9" fmla="*/ 5460398 h 5463085"/>
              <a:gd name="connsiteX10" fmla="*/ 1676064 w 3434154"/>
              <a:gd name="connsiteY10" fmla="*/ 5452325 h 5463085"/>
              <a:gd name="connsiteX11" fmla="*/ 1676043 w 3434154"/>
              <a:gd name="connsiteY11" fmla="*/ 5452325 h 5463085"/>
              <a:gd name="connsiteX12" fmla="*/ 1291650 w 3434154"/>
              <a:gd name="connsiteY12" fmla="*/ 5249233 h 5463085"/>
              <a:gd name="connsiteX13" fmla="*/ 1291423 w 3434154"/>
              <a:gd name="connsiteY13" fmla="*/ 5197236 h 5463085"/>
              <a:gd name="connsiteX14" fmla="*/ 1389722 w 3434154"/>
              <a:gd name="connsiteY14" fmla="*/ 5197105 h 5463085"/>
              <a:gd name="connsiteX15" fmla="*/ 1655700 w 3434154"/>
              <a:gd name="connsiteY15" fmla="*/ 5337800 h 5463085"/>
              <a:gd name="connsiteX16" fmla="*/ 1655700 w 3434154"/>
              <a:gd name="connsiteY16" fmla="*/ 4145199 h 5463085"/>
              <a:gd name="connsiteX17" fmla="*/ 1725087 w 3434154"/>
              <a:gd name="connsiteY17" fmla="*/ 4108496 h 5463085"/>
              <a:gd name="connsiteX18" fmla="*/ 2420520 w 3434154"/>
              <a:gd name="connsiteY18" fmla="*/ 2966601 h 5463085"/>
              <a:gd name="connsiteX19" fmla="*/ 2476451 w 3434154"/>
              <a:gd name="connsiteY19" fmla="*/ 2986502 h 5463085"/>
              <a:gd name="connsiteX20" fmla="*/ 2476454 w 3434154"/>
              <a:gd name="connsiteY20" fmla="*/ 2986502 h 5463085"/>
              <a:gd name="connsiteX21" fmla="*/ 2482004 w 3434154"/>
              <a:gd name="connsiteY21" fmla="*/ 3096181 h 5463085"/>
              <a:gd name="connsiteX22" fmla="*/ 2093145 w 3434154"/>
              <a:gd name="connsiteY22" fmla="*/ 3526717 h 5463085"/>
              <a:gd name="connsiteX23" fmla="*/ 2035510 w 3434154"/>
              <a:gd name="connsiteY23" fmla="*/ 3552282 h 5463085"/>
              <a:gd name="connsiteX24" fmla="*/ 1983463 w 3434154"/>
              <a:gd name="connsiteY24" fmla="*/ 3532266 h 5463085"/>
              <a:gd name="connsiteX25" fmla="*/ 1977914 w 3434154"/>
              <a:gd name="connsiteY25" fmla="*/ 3422587 h 5463085"/>
              <a:gd name="connsiteX26" fmla="*/ 2366772 w 3434154"/>
              <a:gd name="connsiteY26" fmla="*/ 2992051 h 5463085"/>
              <a:gd name="connsiteX27" fmla="*/ 2420520 w 3434154"/>
              <a:gd name="connsiteY27" fmla="*/ 2966601 h 5463085"/>
              <a:gd name="connsiteX28" fmla="*/ 1013749 w 3434154"/>
              <a:gd name="connsiteY28" fmla="*/ 2966522 h 5463085"/>
              <a:gd name="connsiteX29" fmla="*/ 1067426 w 3434154"/>
              <a:gd name="connsiteY29" fmla="*/ 2992087 h 5463085"/>
              <a:gd name="connsiteX30" fmla="*/ 1456288 w 3434154"/>
              <a:gd name="connsiteY30" fmla="*/ 3422623 h 5463085"/>
              <a:gd name="connsiteX31" fmla="*/ 1450738 w 3434154"/>
              <a:gd name="connsiteY31" fmla="*/ 3532302 h 5463085"/>
              <a:gd name="connsiteX32" fmla="*/ 1398691 w 3434154"/>
              <a:gd name="connsiteY32" fmla="*/ 3552318 h 5463085"/>
              <a:gd name="connsiteX33" fmla="*/ 1341057 w 3434154"/>
              <a:gd name="connsiteY33" fmla="*/ 3526753 h 5463085"/>
              <a:gd name="connsiteX34" fmla="*/ 952198 w 3434154"/>
              <a:gd name="connsiteY34" fmla="*/ 3096217 h 5463085"/>
              <a:gd name="connsiteX35" fmla="*/ 957747 w 3434154"/>
              <a:gd name="connsiteY35" fmla="*/ 2986538 h 5463085"/>
              <a:gd name="connsiteX36" fmla="*/ 1013749 w 3434154"/>
              <a:gd name="connsiteY36" fmla="*/ 2966522 h 5463085"/>
              <a:gd name="connsiteX37" fmla="*/ 232961 w 3434154"/>
              <a:gd name="connsiteY37" fmla="*/ 2104650 h 5463085"/>
              <a:gd name="connsiteX38" fmla="*/ 155311 w 3434154"/>
              <a:gd name="connsiteY38" fmla="*/ 2182300 h 5463085"/>
              <a:gd name="connsiteX39" fmla="*/ 155311 w 3434154"/>
              <a:gd name="connsiteY39" fmla="*/ 2552407 h 5463085"/>
              <a:gd name="connsiteX40" fmla="*/ 3278912 w 3434154"/>
              <a:gd name="connsiteY40" fmla="*/ 2552407 h 5463085"/>
              <a:gd name="connsiteX41" fmla="*/ 3278950 w 3434154"/>
              <a:gd name="connsiteY41" fmla="*/ 2182300 h 5463085"/>
              <a:gd name="connsiteX42" fmla="*/ 3201300 w 3434154"/>
              <a:gd name="connsiteY42" fmla="*/ 2104650 h 5463085"/>
              <a:gd name="connsiteX43" fmla="*/ 232907 w 3434154"/>
              <a:gd name="connsiteY43" fmla="*/ 1949430 h 5463085"/>
              <a:gd name="connsiteX44" fmla="*/ 3201246 w 3434154"/>
              <a:gd name="connsiteY44" fmla="*/ 1949430 h 5463085"/>
              <a:gd name="connsiteX45" fmla="*/ 3434154 w 3434154"/>
              <a:gd name="connsiteY45" fmla="*/ 2182337 h 5463085"/>
              <a:gd name="connsiteX46" fmla="*/ 3434154 w 3434154"/>
              <a:gd name="connsiteY46" fmla="*/ 2630057 h 5463085"/>
              <a:gd name="connsiteX47" fmla="*/ 3433044 w 3434154"/>
              <a:gd name="connsiteY47" fmla="*/ 2635568 h 5463085"/>
              <a:gd name="connsiteX48" fmla="*/ 3433032 w 3434154"/>
              <a:gd name="connsiteY48" fmla="*/ 2635626 h 5463085"/>
              <a:gd name="connsiteX49" fmla="*/ 3429320 w 3434154"/>
              <a:gd name="connsiteY49" fmla="*/ 2653995 h 5463085"/>
              <a:gd name="connsiteX50" fmla="*/ 3426794 w 3434154"/>
              <a:gd name="connsiteY50" fmla="*/ 2662185 h 5463085"/>
              <a:gd name="connsiteX51" fmla="*/ 3413897 w 3434154"/>
              <a:gd name="connsiteY51" fmla="*/ 2682163 h 5463085"/>
              <a:gd name="connsiteX52" fmla="*/ 3411639 w 3434154"/>
              <a:gd name="connsiteY52" fmla="*/ 2684650 h 5463085"/>
              <a:gd name="connsiteX53" fmla="*/ 3411218 w 3434154"/>
              <a:gd name="connsiteY53" fmla="*/ 2685148 h 5463085"/>
              <a:gd name="connsiteX54" fmla="*/ 2400446 w 3434154"/>
              <a:gd name="connsiteY54" fmla="*/ 3804275 h 5463085"/>
              <a:gd name="connsiteX55" fmla="*/ 2252265 w 3434154"/>
              <a:gd name="connsiteY55" fmla="*/ 4189421 h 5463085"/>
              <a:gd name="connsiteX56" fmla="*/ 2252265 w 3434154"/>
              <a:gd name="connsiteY56" fmla="*/ 4839549 h 5463085"/>
              <a:gd name="connsiteX57" fmla="*/ 2174614 w 3434154"/>
              <a:gd name="connsiteY57" fmla="*/ 4917200 h 5463085"/>
              <a:gd name="connsiteX58" fmla="*/ 2096964 w 3434154"/>
              <a:gd name="connsiteY58" fmla="*/ 4839549 h 5463085"/>
              <a:gd name="connsiteX59" fmla="*/ 2096964 w 3434154"/>
              <a:gd name="connsiteY59" fmla="*/ 4189460 h 5463085"/>
              <a:gd name="connsiteX60" fmla="*/ 2285177 w 3434154"/>
              <a:gd name="connsiteY60" fmla="*/ 3700181 h 5463085"/>
              <a:gd name="connsiteX61" fmla="*/ 3181498 w 3434154"/>
              <a:gd name="connsiteY61" fmla="*/ 2707730 h 5463085"/>
              <a:gd name="connsiteX62" fmla="*/ 252642 w 3434154"/>
              <a:gd name="connsiteY62" fmla="*/ 2707730 h 5463085"/>
              <a:gd name="connsiteX63" fmla="*/ 1149003 w 3434154"/>
              <a:gd name="connsiteY63" fmla="*/ 3700083 h 5463085"/>
              <a:gd name="connsiteX64" fmla="*/ 1337215 w 3434154"/>
              <a:gd name="connsiteY64" fmla="*/ 4189362 h 5463085"/>
              <a:gd name="connsiteX65" fmla="*/ 1337215 w 3434154"/>
              <a:gd name="connsiteY65" fmla="*/ 4839490 h 5463085"/>
              <a:gd name="connsiteX66" fmla="*/ 1259565 w 3434154"/>
              <a:gd name="connsiteY66" fmla="*/ 4917140 h 5463085"/>
              <a:gd name="connsiteX67" fmla="*/ 1181915 w 3434154"/>
              <a:gd name="connsiteY67" fmla="*/ 4839490 h 5463085"/>
              <a:gd name="connsiteX68" fmla="*/ 1181877 w 3434154"/>
              <a:gd name="connsiteY68" fmla="*/ 4189401 h 5463085"/>
              <a:gd name="connsiteX69" fmla="*/ 1033695 w 3434154"/>
              <a:gd name="connsiteY69" fmla="*/ 3804256 h 5463085"/>
              <a:gd name="connsiteX70" fmla="*/ 22924 w 3434154"/>
              <a:gd name="connsiteY70" fmla="*/ 2685128 h 5463085"/>
              <a:gd name="connsiteX71" fmla="*/ 22503 w 3434154"/>
              <a:gd name="connsiteY71" fmla="*/ 2684630 h 5463085"/>
              <a:gd name="connsiteX72" fmla="*/ 20245 w 3434154"/>
              <a:gd name="connsiteY72" fmla="*/ 2682143 h 5463085"/>
              <a:gd name="connsiteX73" fmla="*/ 7348 w 3434154"/>
              <a:gd name="connsiteY73" fmla="*/ 2662166 h 5463085"/>
              <a:gd name="connsiteX74" fmla="*/ 4822 w 3434154"/>
              <a:gd name="connsiteY74" fmla="*/ 2653976 h 5463085"/>
              <a:gd name="connsiteX75" fmla="*/ 1110 w 3434154"/>
              <a:gd name="connsiteY75" fmla="*/ 2635568 h 5463085"/>
              <a:gd name="connsiteX76" fmla="*/ 0 w 3434154"/>
              <a:gd name="connsiteY76" fmla="*/ 2630057 h 5463085"/>
              <a:gd name="connsiteX77" fmla="*/ 0 w 3434154"/>
              <a:gd name="connsiteY77" fmla="*/ 2182337 h 5463085"/>
              <a:gd name="connsiteX78" fmla="*/ 232907 w 3434154"/>
              <a:gd name="connsiteY78" fmla="*/ 1949430 h 5463085"/>
              <a:gd name="connsiteX79" fmla="*/ 518983 w 3434154"/>
              <a:gd name="connsiteY79" fmla="*/ 732463 h 5463085"/>
              <a:gd name="connsiteX80" fmla="*/ 375396 w 3434154"/>
              <a:gd name="connsiteY80" fmla="*/ 876011 h 5463085"/>
              <a:gd name="connsiteX81" fmla="*/ 375396 w 3434154"/>
              <a:gd name="connsiteY81" fmla="*/ 1214973 h 5463085"/>
              <a:gd name="connsiteX82" fmla="*/ 518983 w 3434154"/>
              <a:gd name="connsiteY82" fmla="*/ 1358638 h 5463085"/>
              <a:gd name="connsiteX83" fmla="*/ 662570 w 3434154"/>
              <a:gd name="connsiteY83" fmla="*/ 1214973 h 5463085"/>
              <a:gd name="connsiteX84" fmla="*/ 662570 w 3434154"/>
              <a:gd name="connsiteY84" fmla="*/ 876011 h 5463085"/>
              <a:gd name="connsiteX85" fmla="*/ 518983 w 3434154"/>
              <a:gd name="connsiteY85" fmla="*/ 732463 h 5463085"/>
              <a:gd name="connsiteX86" fmla="*/ 2915130 w 3434154"/>
              <a:gd name="connsiteY86" fmla="*/ 662531 h 5463085"/>
              <a:gd name="connsiteX87" fmla="*/ 2771543 w 3434154"/>
              <a:gd name="connsiteY87" fmla="*/ 806196 h 5463085"/>
              <a:gd name="connsiteX88" fmla="*/ 2771543 w 3434154"/>
              <a:gd name="connsiteY88" fmla="*/ 1331569 h 5463085"/>
              <a:gd name="connsiteX89" fmla="*/ 2915130 w 3434154"/>
              <a:gd name="connsiteY89" fmla="*/ 1475117 h 5463085"/>
              <a:gd name="connsiteX90" fmla="*/ 3058717 w 3434154"/>
              <a:gd name="connsiteY90" fmla="*/ 1331569 h 5463085"/>
              <a:gd name="connsiteX91" fmla="*/ 3058717 w 3434154"/>
              <a:gd name="connsiteY91" fmla="*/ 806196 h 5463085"/>
              <a:gd name="connsiteX92" fmla="*/ 2915130 w 3434154"/>
              <a:gd name="connsiteY92" fmla="*/ 662531 h 5463085"/>
              <a:gd name="connsiteX93" fmla="*/ 518983 w 3434154"/>
              <a:gd name="connsiteY93" fmla="*/ 577188 h 5463085"/>
              <a:gd name="connsiteX94" fmla="*/ 817874 w 3434154"/>
              <a:gd name="connsiteY94" fmla="*/ 876001 h 5463085"/>
              <a:gd name="connsiteX95" fmla="*/ 817874 w 3434154"/>
              <a:gd name="connsiteY95" fmla="*/ 1214963 h 5463085"/>
              <a:gd name="connsiteX96" fmla="*/ 518983 w 3434154"/>
              <a:gd name="connsiteY96" fmla="*/ 1513894 h 5463085"/>
              <a:gd name="connsiteX97" fmla="*/ 220091 w 3434154"/>
              <a:gd name="connsiteY97" fmla="*/ 1214963 h 5463085"/>
              <a:gd name="connsiteX98" fmla="*/ 220091 w 3434154"/>
              <a:gd name="connsiteY98" fmla="*/ 876001 h 5463085"/>
              <a:gd name="connsiteX99" fmla="*/ 518983 w 3434154"/>
              <a:gd name="connsiteY99" fmla="*/ 577188 h 5463085"/>
              <a:gd name="connsiteX100" fmla="*/ 2915169 w 3434154"/>
              <a:gd name="connsiteY100" fmla="*/ 507266 h 5463085"/>
              <a:gd name="connsiteX101" fmla="*/ 3214060 w 3434154"/>
              <a:gd name="connsiteY101" fmla="*/ 806196 h 5463085"/>
              <a:gd name="connsiteX102" fmla="*/ 3214060 w 3434154"/>
              <a:gd name="connsiteY102" fmla="*/ 1331569 h 5463085"/>
              <a:gd name="connsiteX103" fmla="*/ 2915169 w 3434154"/>
              <a:gd name="connsiteY103" fmla="*/ 1630382 h 5463085"/>
              <a:gd name="connsiteX104" fmla="*/ 2616277 w 3434154"/>
              <a:gd name="connsiteY104" fmla="*/ 1331569 h 5463085"/>
              <a:gd name="connsiteX105" fmla="*/ 2616277 w 3434154"/>
              <a:gd name="connsiteY105" fmla="*/ 806196 h 5463085"/>
              <a:gd name="connsiteX106" fmla="*/ 2915169 w 3434154"/>
              <a:gd name="connsiteY106" fmla="*/ 507266 h 5463085"/>
              <a:gd name="connsiteX107" fmla="*/ 1317705 w 3434154"/>
              <a:gd name="connsiteY107" fmla="*/ 388338 h 5463085"/>
              <a:gd name="connsiteX108" fmla="*/ 1174118 w 3434154"/>
              <a:gd name="connsiteY108" fmla="*/ 531886 h 5463085"/>
              <a:gd name="connsiteX109" fmla="*/ 1174118 w 3434154"/>
              <a:gd name="connsiteY109" fmla="*/ 1033911 h 5463085"/>
              <a:gd name="connsiteX110" fmla="*/ 1317705 w 3434154"/>
              <a:gd name="connsiteY110" fmla="*/ 1177576 h 5463085"/>
              <a:gd name="connsiteX111" fmla="*/ 1461292 w 3434154"/>
              <a:gd name="connsiteY111" fmla="*/ 1033911 h 5463085"/>
              <a:gd name="connsiteX112" fmla="*/ 1461292 w 3434154"/>
              <a:gd name="connsiteY112" fmla="*/ 531886 h 5463085"/>
              <a:gd name="connsiteX113" fmla="*/ 1317705 w 3434154"/>
              <a:gd name="connsiteY113" fmla="*/ 388338 h 5463085"/>
              <a:gd name="connsiteX114" fmla="*/ 1317706 w 3434154"/>
              <a:gd name="connsiteY114" fmla="*/ 233073 h 5463085"/>
              <a:gd name="connsiteX115" fmla="*/ 1616597 w 3434154"/>
              <a:gd name="connsiteY115" fmla="*/ 531886 h 5463085"/>
              <a:gd name="connsiteX116" fmla="*/ 1616636 w 3434154"/>
              <a:gd name="connsiteY116" fmla="*/ 1033911 h 5463085"/>
              <a:gd name="connsiteX117" fmla="*/ 1377899 w 3434154"/>
              <a:gd name="connsiteY117" fmla="*/ 1326758 h 5463085"/>
              <a:gd name="connsiteX118" fmla="*/ 1317745 w 3434154"/>
              <a:gd name="connsiteY118" fmla="*/ 1332841 h 5463085"/>
              <a:gd name="connsiteX119" fmla="*/ 1257587 w 3434154"/>
              <a:gd name="connsiteY119" fmla="*/ 1326760 h 5463085"/>
              <a:gd name="connsiteX120" fmla="*/ 1018814 w 3434154"/>
              <a:gd name="connsiteY120" fmla="*/ 1033911 h 5463085"/>
              <a:gd name="connsiteX121" fmla="*/ 1018814 w 3434154"/>
              <a:gd name="connsiteY121" fmla="*/ 531886 h 5463085"/>
              <a:gd name="connsiteX122" fmla="*/ 1317706 w 3434154"/>
              <a:gd name="connsiteY122" fmla="*/ 233073 h 5463085"/>
              <a:gd name="connsiteX123" fmla="*/ 2116408 w 3434154"/>
              <a:gd name="connsiteY123" fmla="*/ 155285 h 5463085"/>
              <a:gd name="connsiteX124" fmla="*/ 1972821 w 3434154"/>
              <a:gd name="connsiteY124" fmla="*/ 298950 h 5463085"/>
              <a:gd name="connsiteX125" fmla="*/ 1972821 w 3434154"/>
              <a:gd name="connsiteY125" fmla="*/ 1429932 h 5463085"/>
              <a:gd name="connsiteX126" fmla="*/ 2116408 w 3434154"/>
              <a:gd name="connsiteY126" fmla="*/ 1573597 h 5463085"/>
              <a:gd name="connsiteX127" fmla="*/ 2259995 w 3434154"/>
              <a:gd name="connsiteY127" fmla="*/ 1429932 h 5463085"/>
              <a:gd name="connsiteX128" fmla="*/ 2259995 w 3434154"/>
              <a:gd name="connsiteY128" fmla="*/ 298950 h 5463085"/>
              <a:gd name="connsiteX129" fmla="*/ 2116408 w 3434154"/>
              <a:gd name="connsiteY129" fmla="*/ 155285 h 5463085"/>
              <a:gd name="connsiteX130" fmla="*/ 2116408 w 3434154"/>
              <a:gd name="connsiteY130" fmla="*/ 0 h 5463085"/>
              <a:gd name="connsiteX131" fmla="*/ 2415299 w 3434154"/>
              <a:gd name="connsiteY131" fmla="*/ 298930 h 5463085"/>
              <a:gd name="connsiteX132" fmla="*/ 2415299 w 3434154"/>
              <a:gd name="connsiteY132" fmla="*/ 1430010 h 5463085"/>
              <a:gd name="connsiteX133" fmla="*/ 2116408 w 3434154"/>
              <a:gd name="connsiteY133" fmla="*/ 1728941 h 5463085"/>
              <a:gd name="connsiteX134" fmla="*/ 2116408 w 3434154"/>
              <a:gd name="connsiteY134" fmla="*/ 1728882 h 5463085"/>
              <a:gd name="connsiteX135" fmla="*/ 1817516 w 3434154"/>
              <a:gd name="connsiteY135" fmla="*/ 1429913 h 5463085"/>
              <a:gd name="connsiteX136" fmla="*/ 1817516 w 3434154"/>
              <a:gd name="connsiteY136" fmla="*/ 298930 h 5463085"/>
              <a:gd name="connsiteX137" fmla="*/ 2116408 w 3434154"/>
              <a:gd name="connsiteY137" fmla="*/ 0 h 546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3434154" h="5463085">
                <a:moveTo>
                  <a:pt x="1725087" y="4108496"/>
                </a:moveTo>
                <a:cubicBezTo>
                  <a:pt x="1763415" y="4108496"/>
                  <a:pt x="1794473" y="4124925"/>
                  <a:pt x="1794473" y="4145199"/>
                </a:cubicBezTo>
                <a:lnTo>
                  <a:pt x="1794473" y="5337800"/>
                </a:lnTo>
                <a:lnTo>
                  <a:pt x="2060452" y="5197105"/>
                </a:lnTo>
                <a:lnTo>
                  <a:pt x="2058597" y="5197105"/>
                </a:lnTo>
                <a:cubicBezTo>
                  <a:pt x="2085818" y="5182784"/>
                  <a:pt x="2129822" y="5182839"/>
                  <a:pt x="2156896" y="5197236"/>
                </a:cubicBezTo>
                <a:cubicBezTo>
                  <a:pt x="2183990" y="5211624"/>
                  <a:pt x="2183886" y="5234901"/>
                  <a:pt x="2156669" y="5249233"/>
                </a:cubicBezTo>
                <a:lnTo>
                  <a:pt x="1772276" y="5452325"/>
                </a:lnTo>
                <a:cubicBezTo>
                  <a:pt x="1765791" y="5455777"/>
                  <a:pt x="1758089" y="5458519"/>
                  <a:pt x="1749601" y="5460398"/>
                </a:cubicBezTo>
                <a:cubicBezTo>
                  <a:pt x="1733329" y="5463981"/>
                  <a:pt x="1715011" y="5463981"/>
                  <a:pt x="1698718" y="5460398"/>
                </a:cubicBezTo>
                <a:cubicBezTo>
                  <a:pt x="1690230" y="5458519"/>
                  <a:pt x="1682527" y="5455777"/>
                  <a:pt x="1676064" y="5452325"/>
                </a:cubicBezTo>
                <a:lnTo>
                  <a:pt x="1676043" y="5452325"/>
                </a:lnTo>
                <a:lnTo>
                  <a:pt x="1291650" y="5249233"/>
                </a:lnTo>
                <a:cubicBezTo>
                  <a:pt x="1264453" y="5234901"/>
                  <a:pt x="1264350" y="5211623"/>
                  <a:pt x="1291423" y="5197236"/>
                </a:cubicBezTo>
                <a:cubicBezTo>
                  <a:pt x="1318496" y="5182839"/>
                  <a:pt x="1362505" y="5182784"/>
                  <a:pt x="1389722" y="5197105"/>
                </a:cubicBezTo>
                <a:lnTo>
                  <a:pt x="1655700" y="5337800"/>
                </a:lnTo>
                <a:lnTo>
                  <a:pt x="1655700" y="4145199"/>
                </a:lnTo>
                <a:cubicBezTo>
                  <a:pt x="1655700" y="4124925"/>
                  <a:pt x="1686759" y="4108496"/>
                  <a:pt x="1725087" y="4108496"/>
                </a:cubicBezTo>
                <a:close/>
                <a:moveTo>
                  <a:pt x="2420520" y="2966601"/>
                </a:moveTo>
                <a:cubicBezTo>
                  <a:pt x="2440372" y="2965616"/>
                  <a:pt x="2460588" y="2972189"/>
                  <a:pt x="2476451" y="2986502"/>
                </a:cubicBezTo>
                <a:lnTo>
                  <a:pt x="2476454" y="2986502"/>
                </a:lnTo>
                <a:cubicBezTo>
                  <a:pt x="2508219" y="3015202"/>
                  <a:pt x="2510744" y="3064340"/>
                  <a:pt x="2482004" y="3096181"/>
                </a:cubicBezTo>
                <a:lnTo>
                  <a:pt x="2093145" y="3526717"/>
                </a:lnTo>
                <a:cubicBezTo>
                  <a:pt x="2077799" y="3543671"/>
                  <a:pt x="2056674" y="3552282"/>
                  <a:pt x="2035510" y="3552282"/>
                </a:cubicBezTo>
                <a:cubicBezTo>
                  <a:pt x="2016912" y="3552282"/>
                  <a:pt x="1998312" y="3545699"/>
                  <a:pt x="1983463" y="3532266"/>
                </a:cubicBezTo>
                <a:cubicBezTo>
                  <a:pt x="1951699" y="3503567"/>
                  <a:pt x="1949135" y="3454428"/>
                  <a:pt x="1977914" y="3422587"/>
                </a:cubicBezTo>
                <a:lnTo>
                  <a:pt x="2366772" y="2992051"/>
                </a:lnTo>
                <a:cubicBezTo>
                  <a:pt x="2381180" y="2976131"/>
                  <a:pt x="2400668" y="2967587"/>
                  <a:pt x="2420520" y="2966601"/>
                </a:cubicBezTo>
                <a:close/>
                <a:moveTo>
                  <a:pt x="1013749" y="2966522"/>
                </a:moveTo>
                <a:cubicBezTo>
                  <a:pt x="1033606" y="2967517"/>
                  <a:pt x="1053075" y="2976109"/>
                  <a:pt x="1067426" y="2992087"/>
                </a:cubicBezTo>
                <a:lnTo>
                  <a:pt x="1456288" y="3422623"/>
                </a:lnTo>
                <a:cubicBezTo>
                  <a:pt x="1485067" y="3454461"/>
                  <a:pt x="1482541" y="3503599"/>
                  <a:pt x="1450738" y="3532302"/>
                </a:cubicBezTo>
                <a:cubicBezTo>
                  <a:pt x="1435890" y="3545735"/>
                  <a:pt x="1417252" y="3552318"/>
                  <a:pt x="1398691" y="3552318"/>
                </a:cubicBezTo>
                <a:cubicBezTo>
                  <a:pt x="1377490" y="3552318"/>
                  <a:pt x="1356365" y="3543745"/>
                  <a:pt x="1341057" y="3526753"/>
                </a:cubicBezTo>
                <a:lnTo>
                  <a:pt x="952198" y="3096217"/>
                </a:lnTo>
                <a:cubicBezTo>
                  <a:pt x="923419" y="3064379"/>
                  <a:pt x="925945" y="3015240"/>
                  <a:pt x="957747" y="2986538"/>
                </a:cubicBezTo>
                <a:cubicBezTo>
                  <a:pt x="973647" y="2972129"/>
                  <a:pt x="993892" y="2965527"/>
                  <a:pt x="1013749" y="2966522"/>
                </a:cubicBezTo>
                <a:close/>
                <a:moveTo>
                  <a:pt x="232961" y="2104650"/>
                </a:moveTo>
                <a:cubicBezTo>
                  <a:pt x="190137" y="2104650"/>
                  <a:pt x="155311" y="2139552"/>
                  <a:pt x="155311" y="2182300"/>
                </a:cubicBezTo>
                <a:lnTo>
                  <a:pt x="155311" y="2552407"/>
                </a:lnTo>
                <a:lnTo>
                  <a:pt x="3278912" y="2552407"/>
                </a:lnTo>
                <a:lnTo>
                  <a:pt x="3278950" y="2182300"/>
                </a:lnTo>
                <a:cubicBezTo>
                  <a:pt x="3278950" y="2139514"/>
                  <a:pt x="3244124" y="2104650"/>
                  <a:pt x="3201300" y="2104650"/>
                </a:cubicBezTo>
                <a:close/>
                <a:moveTo>
                  <a:pt x="232907" y="1949430"/>
                </a:moveTo>
                <a:lnTo>
                  <a:pt x="3201246" y="1949430"/>
                </a:lnTo>
                <a:cubicBezTo>
                  <a:pt x="3329677" y="1949430"/>
                  <a:pt x="3434154" y="2053946"/>
                  <a:pt x="3434154" y="2182337"/>
                </a:cubicBezTo>
                <a:lnTo>
                  <a:pt x="3434154" y="2630057"/>
                </a:lnTo>
                <a:cubicBezTo>
                  <a:pt x="3434154" y="2632009"/>
                  <a:pt x="3433197" y="2633654"/>
                  <a:pt x="3433044" y="2635568"/>
                </a:cubicBezTo>
                <a:lnTo>
                  <a:pt x="3433032" y="2635626"/>
                </a:lnTo>
                <a:cubicBezTo>
                  <a:pt x="3432611" y="2641940"/>
                  <a:pt x="3431271" y="2648025"/>
                  <a:pt x="3429320" y="2653995"/>
                </a:cubicBezTo>
                <a:cubicBezTo>
                  <a:pt x="3428439" y="2656751"/>
                  <a:pt x="3427980" y="2659583"/>
                  <a:pt x="3426794" y="2662185"/>
                </a:cubicBezTo>
                <a:cubicBezTo>
                  <a:pt x="3423541" y="2669342"/>
                  <a:pt x="3419331" y="2676154"/>
                  <a:pt x="3413897" y="2682163"/>
                </a:cubicBezTo>
                <a:lnTo>
                  <a:pt x="3411639" y="2684650"/>
                </a:lnTo>
                <a:cubicBezTo>
                  <a:pt x="3411486" y="2684803"/>
                  <a:pt x="3411371" y="2684995"/>
                  <a:pt x="3411218" y="2685148"/>
                </a:cubicBezTo>
                <a:lnTo>
                  <a:pt x="2400446" y="3804275"/>
                </a:lnTo>
                <a:cubicBezTo>
                  <a:pt x="2304886" y="3910006"/>
                  <a:pt x="2252265" y="4046784"/>
                  <a:pt x="2252265" y="4189421"/>
                </a:cubicBezTo>
                <a:lnTo>
                  <a:pt x="2252265" y="4839549"/>
                </a:lnTo>
                <a:cubicBezTo>
                  <a:pt x="2252265" y="4882412"/>
                  <a:pt x="2217477" y="4917200"/>
                  <a:pt x="2174614" y="4917200"/>
                </a:cubicBezTo>
                <a:cubicBezTo>
                  <a:pt x="2131752" y="4917200"/>
                  <a:pt x="2096964" y="4882412"/>
                  <a:pt x="2096964" y="4839549"/>
                </a:cubicBezTo>
                <a:lnTo>
                  <a:pt x="2096964" y="4189460"/>
                </a:lnTo>
                <a:cubicBezTo>
                  <a:pt x="2096964" y="4008291"/>
                  <a:pt x="2163820" y="3834549"/>
                  <a:pt x="2285177" y="3700181"/>
                </a:cubicBezTo>
                <a:lnTo>
                  <a:pt x="3181498" y="2707730"/>
                </a:lnTo>
                <a:lnTo>
                  <a:pt x="252642" y="2707730"/>
                </a:lnTo>
                <a:lnTo>
                  <a:pt x="1149003" y="3700083"/>
                </a:lnTo>
                <a:cubicBezTo>
                  <a:pt x="1270358" y="3834441"/>
                  <a:pt x="1337215" y="4008193"/>
                  <a:pt x="1337215" y="4189362"/>
                </a:cubicBezTo>
                <a:lnTo>
                  <a:pt x="1337215" y="4839490"/>
                </a:lnTo>
                <a:cubicBezTo>
                  <a:pt x="1337215" y="4882353"/>
                  <a:pt x="1302428" y="4917140"/>
                  <a:pt x="1259565" y="4917140"/>
                </a:cubicBezTo>
                <a:cubicBezTo>
                  <a:pt x="1216703" y="4917140"/>
                  <a:pt x="1181915" y="4882353"/>
                  <a:pt x="1181915" y="4839490"/>
                </a:cubicBezTo>
                <a:lnTo>
                  <a:pt x="1181877" y="4189401"/>
                </a:lnTo>
                <a:cubicBezTo>
                  <a:pt x="1181877" y="4046774"/>
                  <a:pt x="1129293" y="3909996"/>
                  <a:pt x="1033695" y="3804256"/>
                </a:cubicBezTo>
                <a:lnTo>
                  <a:pt x="22924" y="2685128"/>
                </a:lnTo>
                <a:cubicBezTo>
                  <a:pt x="22771" y="2684975"/>
                  <a:pt x="22656" y="2684784"/>
                  <a:pt x="22503" y="2684630"/>
                </a:cubicBezTo>
                <a:lnTo>
                  <a:pt x="20245" y="2682143"/>
                </a:lnTo>
                <a:cubicBezTo>
                  <a:pt x="14810" y="2676134"/>
                  <a:pt x="10601" y="2669322"/>
                  <a:pt x="7348" y="2662166"/>
                </a:cubicBezTo>
                <a:cubicBezTo>
                  <a:pt x="6161" y="2659563"/>
                  <a:pt x="5741" y="2656731"/>
                  <a:pt x="4822" y="2653976"/>
                </a:cubicBezTo>
                <a:cubicBezTo>
                  <a:pt x="2870" y="2647967"/>
                  <a:pt x="1569" y="2641882"/>
                  <a:pt x="1110" y="2635568"/>
                </a:cubicBezTo>
                <a:cubicBezTo>
                  <a:pt x="957" y="2633654"/>
                  <a:pt x="0" y="2632009"/>
                  <a:pt x="0" y="2630057"/>
                </a:cubicBezTo>
                <a:lnTo>
                  <a:pt x="0" y="2182337"/>
                </a:lnTo>
                <a:cubicBezTo>
                  <a:pt x="0" y="2053946"/>
                  <a:pt x="104477" y="1949430"/>
                  <a:pt x="232907" y="1949430"/>
                </a:cubicBezTo>
                <a:close/>
                <a:moveTo>
                  <a:pt x="518983" y="732463"/>
                </a:moveTo>
                <a:cubicBezTo>
                  <a:pt x="439805" y="732463"/>
                  <a:pt x="375396" y="796868"/>
                  <a:pt x="375396" y="876011"/>
                </a:cubicBezTo>
                <a:lnTo>
                  <a:pt x="375396" y="1214973"/>
                </a:lnTo>
                <a:cubicBezTo>
                  <a:pt x="375396" y="1294230"/>
                  <a:pt x="439764" y="1358638"/>
                  <a:pt x="518983" y="1358638"/>
                </a:cubicBezTo>
                <a:cubicBezTo>
                  <a:pt x="598162" y="1358638"/>
                  <a:pt x="662570" y="1294230"/>
                  <a:pt x="662570" y="1214973"/>
                </a:cubicBezTo>
                <a:lnTo>
                  <a:pt x="662570" y="876011"/>
                </a:lnTo>
                <a:cubicBezTo>
                  <a:pt x="662570" y="796871"/>
                  <a:pt x="598202" y="732463"/>
                  <a:pt x="518983" y="732463"/>
                </a:cubicBezTo>
                <a:close/>
                <a:moveTo>
                  <a:pt x="2915130" y="662531"/>
                </a:moveTo>
                <a:cubicBezTo>
                  <a:pt x="2835951" y="662531"/>
                  <a:pt x="2771543" y="726939"/>
                  <a:pt x="2771543" y="806196"/>
                </a:cubicBezTo>
                <a:lnTo>
                  <a:pt x="2771543" y="1331569"/>
                </a:lnTo>
                <a:cubicBezTo>
                  <a:pt x="2771543" y="1410708"/>
                  <a:pt x="2835911" y="1475117"/>
                  <a:pt x="2915130" y="1475117"/>
                </a:cubicBezTo>
                <a:cubicBezTo>
                  <a:pt x="2994308" y="1475117"/>
                  <a:pt x="3058717" y="1410711"/>
                  <a:pt x="3058717" y="1331569"/>
                </a:cubicBezTo>
                <a:lnTo>
                  <a:pt x="3058717" y="806196"/>
                </a:lnTo>
                <a:cubicBezTo>
                  <a:pt x="3058717" y="726939"/>
                  <a:pt x="2994348" y="662531"/>
                  <a:pt x="2915130" y="662531"/>
                </a:cubicBezTo>
                <a:close/>
                <a:moveTo>
                  <a:pt x="518983" y="577188"/>
                </a:moveTo>
                <a:cubicBezTo>
                  <a:pt x="683771" y="577188"/>
                  <a:pt x="817874" y="711213"/>
                  <a:pt x="817874" y="876001"/>
                </a:cubicBezTo>
                <a:lnTo>
                  <a:pt x="817874" y="1214963"/>
                </a:lnTo>
                <a:cubicBezTo>
                  <a:pt x="817874" y="1379761"/>
                  <a:pt x="683771" y="1513894"/>
                  <a:pt x="518983" y="1513894"/>
                </a:cubicBezTo>
                <a:cubicBezTo>
                  <a:pt x="354224" y="1513894"/>
                  <a:pt x="220129" y="1379751"/>
                  <a:pt x="220091" y="1214963"/>
                </a:cubicBezTo>
                <a:lnTo>
                  <a:pt x="220091" y="876001"/>
                </a:lnTo>
                <a:cubicBezTo>
                  <a:pt x="220091" y="711252"/>
                  <a:pt x="354194" y="577188"/>
                  <a:pt x="518983" y="577188"/>
                </a:cubicBezTo>
                <a:close/>
                <a:moveTo>
                  <a:pt x="2915169" y="507266"/>
                </a:moveTo>
                <a:cubicBezTo>
                  <a:pt x="3079957" y="507266"/>
                  <a:pt x="3214060" y="641408"/>
                  <a:pt x="3214060" y="806196"/>
                </a:cubicBezTo>
                <a:lnTo>
                  <a:pt x="3214060" y="1331569"/>
                </a:lnTo>
                <a:cubicBezTo>
                  <a:pt x="3214060" y="1496318"/>
                  <a:pt x="3079957" y="1630382"/>
                  <a:pt x="2915169" y="1630382"/>
                </a:cubicBezTo>
                <a:cubicBezTo>
                  <a:pt x="2750380" y="1630382"/>
                  <a:pt x="2616277" y="1496318"/>
                  <a:pt x="2616277" y="1331569"/>
                </a:cubicBezTo>
                <a:lnTo>
                  <a:pt x="2616277" y="806196"/>
                </a:lnTo>
                <a:cubicBezTo>
                  <a:pt x="2616277" y="641399"/>
                  <a:pt x="2750380" y="507266"/>
                  <a:pt x="2915169" y="507266"/>
                </a:cubicBezTo>
                <a:close/>
                <a:moveTo>
                  <a:pt x="1317705" y="388338"/>
                </a:moveTo>
                <a:cubicBezTo>
                  <a:pt x="1238527" y="388338"/>
                  <a:pt x="1174118" y="452743"/>
                  <a:pt x="1174118" y="531886"/>
                </a:cubicBezTo>
                <a:lnTo>
                  <a:pt x="1174118" y="1033911"/>
                </a:lnTo>
                <a:cubicBezTo>
                  <a:pt x="1174118" y="1113168"/>
                  <a:pt x="1238486" y="1177576"/>
                  <a:pt x="1317705" y="1177576"/>
                </a:cubicBezTo>
                <a:cubicBezTo>
                  <a:pt x="1396884" y="1177576"/>
                  <a:pt x="1461292" y="1113168"/>
                  <a:pt x="1461292" y="1033911"/>
                </a:cubicBezTo>
                <a:lnTo>
                  <a:pt x="1461292" y="531886"/>
                </a:lnTo>
                <a:cubicBezTo>
                  <a:pt x="1461292" y="452746"/>
                  <a:pt x="1396924" y="388338"/>
                  <a:pt x="1317705" y="388338"/>
                </a:cubicBezTo>
                <a:close/>
                <a:moveTo>
                  <a:pt x="1317706" y="233073"/>
                </a:moveTo>
                <a:cubicBezTo>
                  <a:pt x="1482494" y="233073"/>
                  <a:pt x="1616597" y="367098"/>
                  <a:pt x="1616597" y="531886"/>
                </a:cubicBezTo>
                <a:lnTo>
                  <a:pt x="1616636" y="1033911"/>
                </a:lnTo>
                <a:cubicBezTo>
                  <a:pt x="1616636" y="1178169"/>
                  <a:pt x="1513963" y="1298844"/>
                  <a:pt x="1377899" y="1326758"/>
                </a:cubicBezTo>
                <a:lnTo>
                  <a:pt x="1317745" y="1332841"/>
                </a:lnTo>
                <a:lnTo>
                  <a:pt x="1257587" y="1326760"/>
                </a:lnTo>
                <a:cubicBezTo>
                  <a:pt x="1121518" y="1298852"/>
                  <a:pt x="1018847" y="1178203"/>
                  <a:pt x="1018814" y="1033911"/>
                </a:cubicBezTo>
                <a:lnTo>
                  <a:pt x="1018814" y="531886"/>
                </a:lnTo>
                <a:cubicBezTo>
                  <a:pt x="1018814" y="367137"/>
                  <a:pt x="1152917" y="233073"/>
                  <a:pt x="1317706" y="233073"/>
                </a:cubicBezTo>
                <a:close/>
                <a:moveTo>
                  <a:pt x="2116408" y="155285"/>
                </a:moveTo>
                <a:cubicBezTo>
                  <a:pt x="2037229" y="155285"/>
                  <a:pt x="1972821" y="219693"/>
                  <a:pt x="1972821" y="298950"/>
                </a:cubicBezTo>
                <a:lnTo>
                  <a:pt x="1972821" y="1429932"/>
                </a:lnTo>
                <a:cubicBezTo>
                  <a:pt x="1972821" y="1509189"/>
                  <a:pt x="2037189" y="1573597"/>
                  <a:pt x="2116408" y="1573597"/>
                </a:cubicBezTo>
                <a:cubicBezTo>
                  <a:pt x="2195586" y="1573597"/>
                  <a:pt x="2259995" y="1509189"/>
                  <a:pt x="2259995" y="1429932"/>
                </a:cubicBezTo>
                <a:lnTo>
                  <a:pt x="2259995" y="298950"/>
                </a:lnTo>
                <a:cubicBezTo>
                  <a:pt x="2259995" y="219693"/>
                  <a:pt x="2195627" y="155285"/>
                  <a:pt x="2116408" y="155285"/>
                </a:cubicBezTo>
                <a:close/>
                <a:moveTo>
                  <a:pt x="2116408" y="0"/>
                </a:moveTo>
                <a:cubicBezTo>
                  <a:pt x="2281196" y="0"/>
                  <a:pt x="2415299" y="134142"/>
                  <a:pt x="2415299" y="298930"/>
                </a:cubicBezTo>
                <a:lnTo>
                  <a:pt x="2415299" y="1430010"/>
                </a:lnTo>
                <a:cubicBezTo>
                  <a:pt x="2415299" y="1594808"/>
                  <a:pt x="2281196" y="1728941"/>
                  <a:pt x="2116408" y="1728941"/>
                </a:cubicBezTo>
                <a:lnTo>
                  <a:pt x="2116408" y="1728882"/>
                </a:lnTo>
                <a:cubicBezTo>
                  <a:pt x="1951648" y="1728882"/>
                  <a:pt x="1817554" y="1594700"/>
                  <a:pt x="1817516" y="1429913"/>
                </a:cubicBezTo>
                <a:lnTo>
                  <a:pt x="1817516" y="298930"/>
                </a:lnTo>
                <a:cubicBezTo>
                  <a:pt x="1817516" y="134133"/>
                  <a:pt x="1951619" y="0"/>
                  <a:pt x="2116408" y="0"/>
                </a:cubicBezTo>
                <a:close/>
              </a:path>
            </a:pathLst>
          </a:custGeom>
          <a:solidFill>
            <a:schemeClr val="tx1">
              <a:lumMod val="60000"/>
              <a:lumOff val="40000"/>
            </a:scheme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0" name="Freeform 30">
            <a:extLst>
              <a:ext uri="{FF2B5EF4-FFF2-40B4-BE49-F238E27FC236}">
                <a16:creationId xmlns:a16="http://schemas.microsoft.com/office/drawing/2014/main" id="{922BDA5C-3254-C3E6-A11C-3D774FA2D908}"/>
              </a:ext>
            </a:extLst>
          </p:cNvPr>
          <p:cNvSpPr/>
          <p:nvPr/>
        </p:nvSpPr>
        <p:spPr>
          <a:xfrm>
            <a:off x="641145" y="3103947"/>
            <a:ext cx="2063418" cy="962846"/>
          </a:xfrm>
          <a:prstGeom prst="notchedRightArrow">
            <a:avLst/>
          </a:prstGeom>
          <a:solidFill>
            <a:srgbClr val="FFFFFF"/>
          </a:solidFill>
          <a:ln w="12700" cap="flat" cmpd="sng" algn="ctr">
            <a:noFill/>
            <a:prstDash val="solid"/>
            <a:miter lim="800000"/>
          </a:ln>
          <a:effectLst>
            <a:outerShdw blurRad="25400" dist="12700" dir="2700000" algn="tl" rotWithShape="0">
              <a:prstClr val="black">
                <a:alpha val="20000"/>
              </a:prstClr>
            </a:outerShdw>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cs typeface="+mn-cs"/>
            </a:endParaRPr>
          </a:p>
        </p:txBody>
      </p:sp>
      <p:sp>
        <p:nvSpPr>
          <p:cNvPr id="18" name="Freeform 28">
            <a:extLst>
              <a:ext uri="{FF2B5EF4-FFF2-40B4-BE49-F238E27FC236}">
                <a16:creationId xmlns:a16="http://schemas.microsoft.com/office/drawing/2014/main" id="{68BA5D25-24A2-738B-8DCA-6292D35E234E}"/>
              </a:ext>
            </a:extLst>
          </p:cNvPr>
          <p:cNvSpPr/>
          <p:nvPr/>
        </p:nvSpPr>
        <p:spPr>
          <a:xfrm>
            <a:off x="641145" y="3195488"/>
            <a:ext cx="2002958" cy="808341"/>
          </a:xfrm>
          <a:prstGeom prst="notchedRightArrow">
            <a:avLst/>
          </a:prstGeom>
          <a:solidFill>
            <a:schemeClr val="tx1">
              <a:lumMod val="60000"/>
              <a:lumOff val="40000"/>
            </a:schemeClr>
          </a:solidFill>
          <a:ln w="12700" cap="flat" cmpd="sng" algn="ctr">
            <a:noFill/>
            <a:prstDash val="solid"/>
            <a:miter lim="800000"/>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cs typeface="+mn-cs"/>
            </a:endParaRPr>
          </a:p>
        </p:txBody>
      </p:sp>
      <p:sp>
        <p:nvSpPr>
          <p:cNvPr id="19" name="TextBox 18">
            <a:extLst>
              <a:ext uri="{FF2B5EF4-FFF2-40B4-BE49-F238E27FC236}">
                <a16:creationId xmlns:a16="http://schemas.microsoft.com/office/drawing/2014/main" id="{A91CC50E-79BF-D434-E6F4-D7F12CFF41BF}"/>
              </a:ext>
            </a:extLst>
          </p:cNvPr>
          <p:cNvSpPr txBox="1"/>
          <p:nvPr/>
        </p:nvSpPr>
        <p:spPr>
          <a:xfrm>
            <a:off x="1105478" y="3380992"/>
            <a:ext cx="1191523" cy="400110"/>
          </a:xfrm>
          <a:prstGeom prst="rect">
            <a:avLst/>
          </a:prstGeom>
          <a:noFill/>
        </p:spPr>
        <p:txBody>
          <a:bodyPr wrap="square" rtlCol="0" anchor="ctr">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rPr>
              <a:t>Translate into Data Questions</a:t>
            </a:r>
          </a:p>
        </p:txBody>
      </p:sp>
      <p:sp>
        <p:nvSpPr>
          <p:cNvPr id="20" name="Rectangle 19">
            <a:extLst>
              <a:ext uri="{FF2B5EF4-FFF2-40B4-BE49-F238E27FC236}">
                <a16:creationId xmlns:a16="http://schemas.microsoft.com/office/drawing/2014/main" id="{DE534644-26E0-AFCD-9E41-2272F5B9FAE4}"/>
              </a:ext>
            </a:extLst>
          </p:cNvPr>
          <p:cNvSpPr/>
          <p:nvPr/>
        </p:nvSpPr>
        <p:spPr>
          <a:xfrm rot="5400000" flipH="1">
            <a:off x="1359629" y="2876688"/>
            <a:ext cx="516492" cy="563573"/>
          </a:xfrm>
          <a:prstGeom prst="rect">
            <a:avLst/>
          </a:prstGeom>
          <a:solidFill>
            <a:schemeClr val="tx1">
              <a:lumMod val="60000"/>
              <a:lumOff val="40000"/>
            </a:schemeClr>
          </a:solidFill>
          <a:ln w="6350" cap="flat" cmpd="sng" algn="ctr">
            <a:solidFill>
              <a:schemeClr val="tx1">
                <a:lumMod val="60000"/>
                <a:lumOff val="40000"/>
              </a:schemeClr>
            </a:solid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9B099387-9421-819F-B2AD-1B99F0B0E00C}"/>
              </a:ext>
            </a:extLst>
          </p:cNvPr>
          <p:cNvSpPr/>
          <p:nvPr/>
        </p:nvSpPr>
        <p:spPr>
          <a:xfrm flipH="1">
            <a:off x="1375703" y="2946284"/>
            <a:ext cx="478741" cy="438745"/>
          </a:xfrm>
          <a:prstGeom prst="rect">
            <a:avLst/>
          </a:prstGeom>
          <a:solidFill>
            <a:srgbClr val="FFFFFF"/>
          </a:solidFill>
          <a:ln w="6350" cap="flat" cmpd="sng" algn="ctr">
            <a:solidFill>
              <a:schemeClr val="tx1">
                <a:lumMod val="60000"/>
                <a:lumOff val="40000"/>
              </a:schemeClr>
            </a:solidFill>
            <a:prstDash val="solid"/>
            <a:miter lim="800000"/>
          </a:ln>
          <a:effectLst>
            <a:outerShdw blurRad="63500" sx="102000" sy="102000" algn="ctr" rotWithShape="0">
              <a:prstClr val="black">
                <a:alpha val="10000"/>
              </a:prstClr>
            </a:outerShdw>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1F10C653-0F63-0F3B-9F89-A690A9E829CE}"/>
              </a:ext>
            </a:extLst>
          </p:cNvPr>
          <p:cNvSpPr/>
          <p:nvPr/>
        </p:nvSpPr>
        <p:spPr>
          <a:xfrm>
            <a:off x="1598594" y="3054270"/>
            <a:ext cx="170247" cy="262795"/>
          </a:xfrm>
          <a:custGeom>
            <a:avLst/>
            <a:gdLst>
              <a:gd name="connsiteX0" fmla="*/ 2235555 w 2825607"/>
              <a:gd name="connsiteY0" fmla="*/ 3958013 h 4759234"/>
              <a:gd name="connsiteX1" fmla="*/ 2235785 w 2825607"/>
              <a:gd name="connsiteY1" fmla="*/ 3958013 h 4759234"/>
              <a:gd name="connsiteX2" fmla="*/ 2245543 w 2825607"/>
              <a:gd name="connsiteY2" fmla="*/ 3961917 h 4759234"/>
              <a:gd name="connsiteX3" fmla="*/ 2821429 w 2825607"/>
              <a:gd name="connsiteY3" fmla="*/ 4520775 h 4759234"/>
              <a:gd name="connsiteX4" fmla="*/ 2821774 w 2825607"/>
              <a:gd name="connsiteY4" fmla="*/ 4540753 h 4759234"/>
              <a:gd name="connsiteX5" fmla="*/ 2821774 w 2825607"/>
              <a:gd name="connsiteY5" fmla="*/ 4540751 h 4759234"/>
              <a:gd name="connsiteX6" fmla="*/ 2613849 w 2825607"/>
              <a:gd name="connsiteY6" fmla="*/ 4755063 h 4759234"/>
              <a:gd name="connsiteX7" fmla="*/ 2603975 w 2825607"/>
              <a:gd name="connsiteY7" fmla="*/ 4759234 h 4759234"/>
              <a:gd name="connsiteX8" fmla="*/ 2593911 w 2825607"/>
              <a:gd name="connsiteY8" fmla="*/ 4755331 h 4759234"/>
              <a:gd name="connsiteX9" fmla="*/ 2018025 w 2825607"/>
              <a:gd name="connsiteY9" fmla="*/ 4196512 h 4759234"/>
              <a:gd name="connsiteX10" fmla="*/ 2013853 w 2825607"/>
              <a:gd name="connsiteY10" fmla="*/ 4186562 h 4759234"/>
              <a:gd name="connsiteX11" fmla="*/ 2017680 w 2825607"/>
              <a:gd name="connsiteY11" fmla="*/ 4176497 h 4759234"/>
              <a:gd name="connsiteX12" fmla="*/ 2225605 w 2825607"/>
              <a:gd name="connsiteY12" fmla="*/ 3962184 h 4759234"/>
              <a:gd name="connsiteX13" fmla="*/ 2235555 w 2825607"/>
              <a:gd name="connsiteY13" fmla="*/ 3958013 h 4759234"/>
              <a:gd name="connsiteX14" fmla="*/ 967468 w 2825607"/>
              <a:gd name="connsiteY14" fmla="*/ 2163376 h 4759234"/>
              <a:gd name="connsiteX15" fmla="*/ 133183 w 2825607"/>
              <a:gd name="connsiteY15" fmla="*/ 2997661 h 4759234"/>
              <a:gd name="connsiteX16" fmla="*/ 967468 w 2825607"/>
              <a:gd name="connsiteY16" fmla="*/ 3831947 h 4759234"/>
              <a:gd name="connsiteX17" fmla="*/ 1801754 w 2825607"/>
              <a:gd name="connsiteY17" fmla="*/ 2997661 h 4759234"/>
              <a:gd name="connsiteX18" fmla="*/ 967468 w 2825607"/>
              <a:gd name="connsiteY18" fmla="*/ 2163376 h 4759234"/>
              <a:gd name="connsiteX19" fmla="*/ 967507 w 2825607"/>
              <a:gd name="connsiteY19" fmla="*/ 2030095 h 4759234"/>
              <a:gd name="connsiteX20" fmla="*/ 1935015 w 2825607"/>
              <a:gd name="connsiteY20" fmla="*/ 2997603 h 4759234"/>
              <a:gd name="connsiteX21" fmla="*/ 967507 w 2825607"/>
              <a:gd name="connsiteY21" fmla="*/ 3965110 h 4759234"/>
              <a:gd name="connsiteX22" fmla="*/ 0 w 2825607"/>
              <a:gd name="connsiteY22" fmla="*/ 2997603 h 4759234"/>
              <a:gd name="connsiteX23" fmla="*/ 967507 w 2825607"/>
              <a:gd name="connsiteY23" fmla="*/ 2030095 h 4759234"/>
              <a:gd name="connsiteX24" fmla="*/ 1121284 w 2825607"/>
              <a:gd name="connsiteY24" fmla="*/ 0 h 4759234"/>
              <a:gd name="connsiteX25" fmla="*/ 1350174 w 2825607"/>
              <a:gd name="connsiteY25" fmla="*/ 228891 h 4759234"/>
              <a:gd name="connsiteX26" fmla="*/ 1121284 w 2825607"/>
              <a:gd name="connsiteY26" fmla="*/ 228891 h 47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825607" h="4759234">
                <a:moveTo>
                  <a:pt x="2235555" y="3958013"/>
                </a:moveTo>
                <a:lnTo>
                  <a:pt x="2235785" y="3958013"/>
                </a:lnTo>
                <a:cubicBezTo>
                  <a:pt x="2238463" y="3958013"/>
                  <a:pt x="2242290" y="3958702"/>
                  <a:pt x="2245543" y="3961917"/>
                </a:cubicBezTo>
                <a:lnTo>
                  <a:pt x="2821429" y="4520775"/>
                </a:lnTo>
                <a:cubicBezTo>
                  <a:pt x="2826864" y="4526056"/>
                  <a:pt x="2827017" y="4535394"/>
                  <a:pt x="2821774" y="4540753"/>
                </a:cubicBezTo>
                <a:lnTo>
                  <a:pt x="2821774" y="4540751"/>
                </a:lnTo>
                <a:lnTo>
                  <a:pt x="2613849" y="4755063"/>
                </a:lnTo>
                <a:cubicBezTo>
                  <a:pt x="2610596" y="4758431"/>
                  <a:pt x="2606654" y="4759196"/>
                  <a:pt x="2603975" y="4759234"/>
                </a:cubicBezTo>
                <a:cubicBezTo>
                  <a:pt x="2600990" y="4759120"/>
                  <a:pt x="2597278" y="4758660"/>
                  <a:pt x="2593911" y="4755331"/>
                </a:cubicBezTo>
                <a:lnTo>
                  <a:pt x="2018025" y="4196512"/>
                </a:lnTo>
                <a:cubicBezTo>
                  <a:pt x="2014657" y="4193259"/>
                  <a:pt x="2013892" y="4189317"/>
                  <a:pt x="2013853" y="4186562"/>
                </a:cubicBezTo>
                <a:cubicBezTo>
                  <a:pt x="2013815" y="4183807"/>
                  <a:pt x="2014427" y="4179864"/>
                  <a:pt x="2017680" y="4176497"/>
                </a:cubicBezTo>
                <a:lnTo>
                  <a:pt x="2225605" y="3962184"/>
                </a:lnTo>
                <a:cubicBezTo>
                  <a:pt x="2228858" y="3958817"/>
                  <a:pt x="2232800" y="3958051"/>
                  <a:pt x="2235555" y="3958013"/>
                </a:cubicBezTo>
                <a:close/>
                <a:moveTo>
                  <a:pt x="967468" y="2163376"/>
                </a:moveTo>
                <a:cubicBezTo>
                  <a:pt x="507463" y="2163376"/>
                  <a:pt x="133183" y="2537656"/>
                  <a:pt x="133183" y="2997661"/>
                </a:cubicBezTo>
                <a:cubicBezTo>
                  <a:pt x="133183" y="3457666"/>
                  <a:pt x="507463" y="3831947"/>
                  <a:pt x="967468" y="3831947"/>
                </a:cubicBezTo>
                <a:cubicBezTo>
                  <a:pt x="1427474" y="3831947"/>
                  <a:pt x="1801754" y="3457666"/>
                  <a:pt x="1801754" y="2997661"/>
                </a:cubicBezTo>
                <a:cubicBezTo>
                  <a:pt x="1801754" y="2537617"/>
                  <a:pt x="1427474" y="2163376"/>
                  <a:pt x="967468" y="2163376"/>
                </a:cubicBezTo>
                <a:close/>
                <a:moveTo>
                  <a:pt x="967507" y="2030095"/>
                </a:moveTo>
                <a:cubicBezTo>
                  <a:pt x="1500991" y="2030095"/>
                  <a:pt x="1935015" y="2464080"/>
                  <a:pt x="1935015" y="2997603"/>
                </a:cubicBezTo>
                <a:cubicBezTo>
                  <a:pt x="1935015" y="3531086"/>
                  <a:pt x="1501031" y="3965110"/>
                  <a:pt x="967507" y="3965110"/>
                </a:cubicBezTo>
                <a:cubicBezTo>
                  <a:pt x="434024" y="3965110"/>
                  <a:pt x="0" y="3531086"/>
                  <a:pt x="0" y="2997603"/>
                </a:cubicBezTo>
                <a:cubicBezTo>
                  <a:pt x="0" y="2464119"/>
                  <a:pt x="433984" y="2030095"/>
                  <a:pt x="967507" y="2030095"/>
                </a:cubicBezTo>
                <a:close/>
                <a:moveTo>
                  <a:pt x="1121284" y="0"/>
                </a:moveTo>
                <a:lnTo>
                  <a:pt x="1350174" y="228891"/>
                </a:lnTo>
                <a:lnTo>
                  <a:pt x="1121284" y="228891"/>
                </a:lnTo>
                <a:close/>
              </a:path>
            </a:pathLst>
          </a:custGeom>
          <a:solidFill>
            <a:schemeClr val="tx1">
              <a:lumMod val="60000"/>
              <a:lumOff val="40000"/>
            </a:schemeClr>
          </a:solid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Calibri" panose="020F0502020204030204"/>
              <a:cs typeface="+mn-cs"/>
            </a:endParaRPr>
          </a:p>
        </p:txBody>
      </p:sp>
      <p:sp>
        <p:nvSpPr>
          <p:cNvPr id="23" name="Freeform: Shape 22">
            <a:extLst>
              <a:ext uri="{FF2B5EF4-FFF2-40B4-BE49-F238E27FC236}">
                <a16:creationId xmlns:a16="http://schemas.microsoft.com/office/drawing/2014/main" id="{C9587AB0-906C-EAE8-59A4-9D1B5D2E68D2}"/>
              </a:ext>
            </a:extLst>
          </p:cNvPr>
          <p:cNvSpPr/>
          <p:nvPr/>
        </p:nvSpPr>
        <p:spPr>
          <a:xfrm>
            <a:off x="1490023" y="3036128"/>
            <a:ext cx="280030" cy="287079"/>
          </a:xfrm>
          <a:custGeom>
            <a:avLst/>
            <a:gdLst>
              <a:gd name="connsiteX0" fmla="*/ 3895125 w 4647675"/>
              <a:gd name="connsiteY0" fmla="*/ 4235323 h 5199034"/>
              <a:gd name="connsiteX1" fmla="*/ 3885175 w 4647675"/>
              <a:gd name="connsiteY1" fmla="*/ 4239494 h 5199034"/>
              <a:gd name="connsiteX2" fmla="*/ 3677250 w 4647675"/>
              <a:gd name="connsiteY2" fmla="*/ 4453807 h 5199034"/>
              <a:gd name="connsiteX3" fmla="*/ 3673423 w 4647675"/>
              <a:gd name="connsiteY3" fmla="*/ 4463872 h 5199034"/>
              <a:gd name="connsiteX4" fmla="*/ 3677595 w 4647675"/>
              <a:gd name="connsiteY4" fmla="*/ 4473822 h 5199034"/>
              <a:gd name="connsiteX5" fmla="*/ 4253481 w 4647675"/>
              <a:gd name="connsiteY5" fmla="*/ 5032641 h 5199034"/>
              <a:gd name="connsiteX6" fmla="*/ 4263545 w 4647675"/>
              <a:gd name="connsiteY6" fmla="*/ 5036544 h 5199034"/>
              <a:gd name="connsiteX7" fmla="*/ 4273419 w 4647675"/>
              <a:gd name="connsiteY7" fmla="*/ 5032373 h 5199034"/>
              <a:gd name="connsiteX8" fmla="*/ 4481344 w 4647675"/>
              <a:gd name="connsiteY8" fmla="*/ 4818061 h 5199034"/>
              <a:gd name="connsiteX9" fmla="*/ 4481344 w 4647675"/>
              <a:gd name="connsiteY9" fmla="*/ 4818063 h 5199034"/>
              <a:gd name="connsiteX10" fmla="*/ 4480999 w 4647675"/>
              <a:gd name="connsiteY10" fmla="*/ 4798085 h 5199034"/>
              <a:gd name="connsiteX11" fmla="*/ 3905113 w 4647675"/>
              <a:gd name="connsiteY11" fmla="*/ 4239227 h 5199034"/>
              <a:gd name="connsiteX12" fmla="*/ 3895355 w 4647675"/>
              <a:gd name="connsiteY12" fmla="*/ 4235323 h 5199034"/>
              <a:gd name="connsiteX13" fmla="*/ 3494815 w 4647675"/>
              <a:gd name="connsiteY13" fmla="*/ 3997720 h 5199034"/>
              <a:gd name="connsiteX14" fmla="*/ 3425968 w 4647675"/>
              <a:gd name="connsiteY14" fmla="*/ 4073150 h 5199034"/>
              <a:gd name="connsiteX15" fmla="*/ 3629033 w 4647675"/>
              <a:gd name="connsiteY15" fmla="*/ 4270201 h 5199034"/>
              <a:gd name="connsiteX16" fmla="*/ 3700139 w 4647675"/>
              <a:gd name="connsiteY16" fmla="*/ 4196951 h 5199034"/>
              <a:gd name="connsiteX17" fmla="*/ 507937 w 4647675"/>
              <a:gd name="connsiteY17" fmla="*/ 3596622 h 5199034"/>
              <a:gd name="connsiteX18" fmla="*/ 1178453 w 4647675"/>
              <a:gd name="connsiteY18" fmla="*/ 3596622 h 5199034"/>
              <a:gd name="connsiteX19" fmla="*/ 1287910 w 4647675"/>
              <a:gd name="connsiteY19" fmla="*/ 3677832 h 5199034"/>
              <a:gd name="connsiteX20" fmla="*/ 1178453 w 4647675"/>
              <a:gd name="connsiteY20" fmla="*/ 3759042 h 5199034"/>
              <a:gd name="connsiteX21" fmla="*/ 507937 w 4647675"/>
              <a:gd name="connsiteY21" fmla="*/ 3759042 h 5199034"/>
              <a:gd name="connsiteX22" fmla="*/ 398479 w 4647675"/>
              <a:gd name="connsiteY22" fmla="*/ 3677832 h 5199034"/>
              <a:gd name="connsiteX23" fmla="*/ 507937 w 4647675"/>
              <a:gd name="connsiteY23" fmla="*/ 3596622 h 5199034"/>
              <a:gd name="connsiteX24" fmla="*/ 696607 w 4647675"/>
              <a:gd name="connsiteY24" fmla="*/ 3057099 h 5199034"/>
              <a:gd name="connsiteX25" fmla="*/ 1194077 w 4647675"/>
              <a:gd name="connsiteY25" fmla="*/ 3057099 h 5199034"/>
              <a:gd name="connsiteX26" fmla="*/ 1275286 w 4647675"/>
              <a:gd name="connsiteY26" fmla="*/ 3138309 h 5199034"/>
              <a:gd name="connsiteX27" fmla="*/ 1194077 w 4647675"/>
              <a:gd name="connsiteY27" fmla="*/ 3219519 h 5199034"/>
              <a:gd name="connsiteX28" fmla="*/ 696607 w 4647675"/>
              <a:gd name="connsiteY28" fmla="*/ 3219519 h 5199034"/>
              <a:gd name="connsiteX29" fmla="*/ 615398 w 4647675"/>
              <a:gd name="connsiteY29" fmla="*/ 3138309 h 5199034"/>
              <a:gd name="connsiteX30" fmla="*/ 696607 w 4647675"/>
              <a:gd name="connsiteY30" fmla="*/ 3057099 h 5199034"/>
              <a:gd name="connsiteX31" fmla="*/ 2627038 w 4647675"/>
              <a:gd name="connsiteY31" fmla="*/ 2603123 h 5199034"/>
              <a:gd name="connsiteX32" fmla="*/ 1955248 w 4647675"/>
              <a:gd name="connsiteY32" fmla="*/ 3274914 h 5199034"/>
              <a:gd name="connsiteX33" fmla="*/ 2627038 w 4647675"/>
              <a:gd name="connsiteY33" fmla="*/ 3946703 h 5199034"/>
              <a:gd name="connsiteX34" fmla="*/ 3298828 w 4647675"/>
              <a:gd name="connsiteY34" fmla="*/ 3274914 h 5199034"/>
              <a:gd name="connsiteX35" fmla="*/ 2627038 w 4647675"/>
              <a:gd name="connsiteY35" fmla="*/ 2603123 h 5199034"/>
              <a:gd name="connsiteX36" fmla="*/ 696607 w 4647675"/>
              <a:gd name="connsiteY36" fmla="*/ 2517578 h 5199034"/>
              <a:gd name="connsiteX37" fmla="*/ 1194077 w 4647675"/>
              <a:gd name="connsiteY37" fmla="*/ 2517578 h 5199034"/>
              <a:gd name="connsiteX38" fmla="*/ 1275286 w 4647675"/>
              <a:gd name="connsiteY38" fmla="*/ 2598787 h 5199034"/>
              <a:gd name="connsiteX39" fmla="*/ 1194077 w 4647675"/>
              <a:gd name="connsiteY39" fmla="*/ 2679997 h 5199034"/>
              <a:gd name="connsiteX40" fmla="*/ 696607 w 4647675"/>
              <a:gd name="connsiteY40" fmla="*/ 2679997 h 5199034"/>
              <a:gd name="connsiteX41" fmla="*/ 615398 w 4647675"/>
              <a:gd name="connsiteY41" fmla="*/ 2598787 h 5199034"/>
              <a:gd name="connsiteX42" fmla="*/ 696607 w 4647675"/>
              <a:gd name="connsiteY42" fmla="*/ 2517578 h 5199034"/>
              <a:gd name="connsiteX43" fmla="*/ 2627038 w 4647675"/>
              <a:gd name="connsiteY43" fmla="*/ 2440687 h 5199034"/>
              <a:gd name="connsiteX44" fmla="*/ 3461324 w 4647675"/>
              <a:gd name="connsiteY44" fmla="*/ 3274972 h 5199034"/>
              <a:gd name="connsiteX45" fmla="*/ 2627038 w 4647675"/>
              <a:gd name="connsiteY45" fmla="*/ 4109258 h 5199034"/>
              <a:gd name="connsiteX46" fmla="*/ 1792753 w 4647675"/>
              <a:gd name="connsiteY46" fmla="*/ 3274972 h 5199034"/>
              <a:gd name="connsiteX47" fmla="*/ 2627038 w 4647675"/>
              <a:gd name="connsiteY47" fmla="*/ 2440687 h 5199034"/>
              <a:gd name="connsiteX48" fmla="*/ 2627077 w 4647675"/>
              <a:gd name="connsiteY48" fmla="*/ 2307405 h 5199034"/>
              <a:gd name="connsiteX49" fmla="*/ 1659570 w 4647675"/>
              <a:gd name="connsiteY49" fmla="*/ 3274913 h 5199034"/>
              <a:gd name="connsiteX50" fmla="*/ 2627077 w 4647675"/>
              <a:gd name="connsiteY50" fmla="*/ 4242420 h 5199034"/>
              <a:gd name="connsiteX51" fmla="*/ 3594585 w 4647675"/>
              <a:gd name="connsiteY51" fmla="*/ 3274913 h 5199034"/>
              <a:gd name="connsiteX52" fmla="*/ 2627077 w 4647675"/>
              <a:gd name="connsiteY52" fmla="*/ 2307405 h 5199034"/>
              <a:gd name="connsiteX53" fmla="*/ 696598 w 4647675"/>
              <a:gd name="connsiteY53" fmla="*/ 1978057 h 5199034"/>
              <a:gd name="connsiteX54" fmla="*/ 1464646 w 4647675"/>
              <a:gd name="connsiteY54" fmla="*/ 1978057 h 5199034"/>
              <a:gd name="connsiteX55" fmla="*/ 1545856 w 4647675"/>
              <a:gd name="connsiteY55" fmla="*/ 2059267 h 5199034"/>
              <a:gd name="connsiteX56" fmla="*/ 1464646 w 4647675"/>
              <a:gd name="connsiteY56" fmla="*/ 2140476 h 5199034"/>
              <a:gd name="connsiteX57" fmla="*/ 696598 w 4647675"/>
              <a:gd name="connsiteY57" fmla="*/ 2140476 h 5199034"/>
              <a:gd name="connsiteX58" fmla="*/ 615389 w 4647675"/>
              <a:gd name="connsiteY58" fmla="*/ 2059267 h 5199034"/>
              <a:gd name="connsiteX59" fmla="*/ 696598 w 4647675"/>
              <a:gd name="connsiteY59" fmla="*/ 1978057 h 5199034"/>
              <a:gd name="connsiteX60" fmla="*/ 696599 w 4647675"/>
              <a:gd name="connsiteY60" fmla="*/ 1438537 h 5199034"/>
              <a:gd name="connsiteX61" fmla="*/ 2590486 w 4647675"/>
              <a:gd name="connsiteY61" fmla="*/ 1438537 h 5199034"/>
              <a:gd name="connsiteX62" fmla="*/ 2671696 w 4647675"/>
              <a:gd name="connsiteY62" fmla="*/ 1519746 h 5199034"/>
              <a:gd name="connsiteX63" fmla="*/ 2590486 w 4647675"/>
              <a:gd name="connsiteY63" fmla="*/ 1600956 h 5199034"/>
              <a:gd name="connsiteX64" fmla="*/ 696599 w 4647675"/>
              <a:gd name="connsiteY64" fmla="*/ 1600956 h 5199034"/>
              <a:gd name="connsiteX65" fmla="*/ 615390 w 4647675"/>
              <a:gd name="connsiteY65" fmla="*/ 1519746 h 5199034"/>
              <a:gd name="connsiteX66" fmla="*/ 696599 w 4647675"/>
              <a:gd name="connsiteY66" fmla="*/ 1438537 h 5199034"/>
              <a:gd name="connsiteX67" fmla="*/ 696599 w 4647675"/>
              <a:gd name="connsiteY67" fmla="*/ 899017 h 5199034"/>
              <a:gd name="connsiteX68" fmla="*/ 2590486 w 4647675"/>
              <a:gd name="connsiteY68" fmla="*/ 899017 h 5199034"/>
              <a:gd name="connsiteX69" fmla="*/ 2671696 w 4647675"/>
              <a:gd name="connsiteY69" fmla="*/ 980227 h 5199034"/>
              <a:gd name="connsiteX70" fmla="*/ 2590486 w 4647675"/>
              <a:gd name="connsiteY70" fmla="*/ 1061436 h 5199034"/>
              <a:gd name="connsiteX71" fmla="*/ 696599 w 4647675"/>
              <a:gd name="connsiteY71" fmla="*/ 1061436 h 5199034"/>
              <a:gd name="connsiteX72" fmla="*/ 615390 w 4647675"/>
              <a:gd name="connsiteY72" fmla="*/ 980227 h 5199034"/>
              <a:gd name="connsiteX73" fmla="*/ 696599 w 4647675"/>
              <a:gd name="connsiteY73" fmla="*/ 899017 h 5199034"/>
              <a:gd name="connsiteX74" fmla="*/ 2780854 w 4647675"/>
              <a:gd name="connsiteY74" fmla="*/ 277310 h 5199034"/>
              <a:gd name="connsiteX75" fmla="*/ 2780854 w 4647675"/>
              <a:gd name="connsiteY75" fmla="*/ 506201 h 5199034"/>
              <a:gd name="connsiteX76" fmla="*/ 3009744 w 4647675"/>
              <a:gd name="connsiteY76" fmla="*/ 506201 h 5199034"/>
              <a:gd name="connsiteX77" fmla="*/ 162566 w 4647675"/>
              <a:gd name="connsiteY77" fmla="*/ 162458 h 5199034"/>
              <a:gd name="connsiteX78" fmla="*/ 162548 w 4647675"/>
              <a:gd name="connsiteY78" fmla="*/ 4049799 h 5199034"/>
              <a:gd name="connsiteX79" fmla="*/ 1805334 w 4647675"/>
              <a:gd name="connsiteY79" fmla="*/ 4049799 h 5199034"/>
              <a:gd name="connsiteX80" fmla="*/ 1497067 w 4647675"/>
              <a:gd name="connsiteY80" fmla="*/ 3275021 h 5199034"/>
              <a:gd name="connsiteX81" fmla="*/ 2627070 w 4647675"/>
              <a:gd name="connsiteY81" fmla="*/ 2145019 h 5199034"/>
              <a:gd name="connsiteX82" fmla="*/ 3124617 w 4647675"/>
              <a:gd name="connsiteY82" fmla="*/ 2260635 h 5199034"/>
              <a:gd name="connsiteX83" fmla="*/ 3124656 w 4647675"/>
              <a:gd name="connsiteY83" fmla="*/ 668697 h 5199034"/>
              <a:gd name="connsiteX84" fmla="*/ 2699626 w 4647675"/>
              <a:gd name="connsiteY84" fmla="*/ 668697 h 5199034"/>
              <a:gd name="connsiteX85" fmla="*/ 2618417 w 4647675"/>
              <a:gd name="connsiteY85" fmla="*/ 587488 h 5199034"/>
              <a:gd name="connsiteX86" fmla="*/ 2618417 w 4647675"/>
              <a:gd name="connsiteY86" fmla="*/ 162458 h 5199034"/>
              <a:gd name="connsiteX87" fmla="*/ 81209 w 4647675"/>
              <a:gd name="connsiteY87" fmla="*/ 0 h 5199034"/>
              <a:gd name="connsiteX88" fmla="*/ 2699693 w 4647675"/>
              <a:gd name="connsiteY88" fmla="*/ 0 h 5199034"/>
              <a:gd name="connsiteX89" fmla="*/ 2757137 w 4647675"/>
              <a:gd name="connsiteY89" fmla="*/ 23766 h 5199034"/>
              <a:gd name="connsiteX90" fmla="*/ 3263375 w 4647675"/>
              <a:gd name="connsiteY90" fmla="*/ 530004 h 5199034"/>
              <a:gd name="connsiteX91" fmla="*/ 3287140 w 4647675"/>
              <a:gd name="connsiteY91" fmla="*/ 587447 h 5199034"/>
              <a:gd name="connsiteX92" fmla="*/ 3287179 w 4647675"/>
              <a:gd name="connsiteY92" fmla="*/ 2358379 h 5199034"/>
              <a:gd name="connsiteX93" fmla="*/ 3757138 w 4647675"/>
              <a:gd name="connsiteY93" fmla="*/ 3274951 h 5199034"/>
              <a:gd name="connsiteX94" fmla="*/ 3590812 w 4647675"/>
              <a:gd name="connsiteY94" fmla="*/ 3864386 h 5199034"/>
              <a:gd name="connsiteX95" fmla="*/ 3822152 w 4647675"/>
              <a:gd name="connsiteY95" fmla="*/ 4088878 h 5199034"/>
              <a:gd name="connsiteX96" fmla="*/ 3892721 w 4647675"/>
              <a:gd name="connsiteY96" fmla="*/ 4072996 h 5199034"/>
              <a:gd name="connsiteX97" fmla="*/ 4018321 w 4647675"/>
              <a:gd name="connsiteY97" fmla="*/ 4122708 h 5199034"/>
              <a:gd name="connsiteX98" fmla="*/ 4594207 w 4647675"/>
              <a:gd name="connsiteY98" fmla="*/ 4681527 h 5199034"/>
              <a:gd name="connsiteX99" fmla="*/ 4594148 w 4647675"/>
              <a:gd name="connsiteY99" fmla="*/ 4681550 h 5199034"/>
              <a:gd name="connsiteX100" fmla="*/ 4597975 w 4647675"/>
              <a:gd name="connsiteY100" fmla="*/ 4931220 h 5199034"/>
              <a:gd name="connsiteX101" fmla="*/ 4390051 w 4647675"/>
              <a:gd name="connsiteY101" fmla="*/ 5145533 h 5199034"/>
              <a:gd name="connsiteX102" fmla="*/ 4265980 w 4647675"/>
              <a:gd name="connsiteY102" fmla="*/ 5199034 h 5199034"/>
              <a:gd name="connsiteX103" fmla="*/ 4263224 w 4647675"/>
              <a:gd name="connsiteY103" fmla="*/ 5199034 h 5199034"/>
              <a:gd name="connsiteX104" fmla="*/ 4140338 w 4647675"/>
              <a:gd name="connsiteY104" fmla="*/ 5149322 h 5199034"/>
              <a:gd name="connsiteX105" fmla="*/ 3564453 w 4647675"/>
              <a:gd name="connsiteY105" fmla="*/ 4590463 h 5199034"/>
              <a:gd name="connsiteX106" fmla="*/ 3510951 w 4647675"/>
              <a:gd name="connsiteY106" fmla="*/ 4466392 h 5199034"/>
              <a:gd name="connsiteX107" fmla="*/ 3524652 w 4647675"/>
              <a:gd name="connsiteY107" fmla="*/ 4395363 h 5199034"/>
              <a:gd name="connsiteX108" fmla="*/ 3302727 w 4647675"/>
              <a:gd name="connsiteY108" fmla="*/ 4180021 h 5199034"/>
              <a:gd name="connsiteX109" fmla="*/ 2626988 w 4647675"/>
              <a:gd name="connsiteY109" fmla="*/ 4404895 h 5199034"/>
              <a:gd name="connsiteX110" fmla="*/ 1996454 w 4647675"/>
              <a:gd name="connsiteY110" fmla="*/ 4212166 h 5199034"/>
              <a:gd name="connsiteX111" fmla="*/ 81209 w 4647675"/>
              <a:gd name="connsiteY111" fmla="*/ 4212166 h 5199034"/>
              <a:gd name="connsiteX112" fmla="*/ 0 w 4647675"/>
              <a:gd name="connsiteY112" fmla="*/ 4130957 h 5199034"/>
              <a:gd name="connsiteX113" fmla="*/ 0 w 4647675"/>
              <a:gd name="connsiteY113" fmla="*/ 81209 h 5199034"/>
              <a:gd name="connsiteX114" fmla="*/ 81209 w 4647675"/>
              <a:gd name="connsiteY114" fmla="*/ 0 h 519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4647675" h="5199034">
                <a:moveTo>
                  <a:pt x="3895125" y="4235323"/>
                </a:moveTo>
                <a:cubicBezTo>
                  <a:pt x="3892370" y="4235361"/>
                  <a:pt x="3888428" y="4236127"/>
                  <a:pt x="3885175" y="4239494"/>
                </a:cubicBezTo>
                <a:lnTo>
                  <a:pt x="3677250" y="4453807"/>
                </a:lnTo>
                <a:cubicBezTo>
                  <a:pt x="3673997" y="4457174"/>
                  <a:pt x="3673385" y="4461117"/>
                  <a:pt x="3673423" y="4463872"/>
                </a:cubicBezTo>
                <a:cubicBezTo>
                  <a:pt x="3673462" y="4466627"/>
                  <a:pt x="3674227" y="4470569"/>
                  <a:pt x="3677595" y="4473822"/>
                </a:cubicBezTo>
                <a:lnTo>
                  <a:pt x="4253481" y="5032641"/>
                </a:lnTo>
                <a:cubicBezTo>
                  <a:pt x="4256848" y="5035970"/>
                  <a:pt x="4260560" y="5036430"/>
                  <a:pt x="4263545" y="5036544"/>
                </a:cubicBezTo>
                <a:cubicBezTo>
                  <a:pt x="4266224" y="5036506"/>
                  <a:pt x="4270166" y="5035741"/>
                  <a:pt x="4273419" y="5032373"/>
                </a:cubicBezTo>
                <a:lnTo>
                  <a:pt x="4481344" y="4818061"/>
                </a:lnTo>
                <a:lnTo>
                  <a:pt x="4481344" y="4818063"/>
                </a:lnTo>
                <a:cubicBezTo>
                  <a:pt x="4486587" y="4812704"/>
                  <a:pt x="4486434" y="4803366"/>
                  <a:pt x="4480999" y="4798085"/>
                </a:cubicBezTo>
                <a:lnTo>
                  <a:pt x="3905113" y="4239227"/>
                </a:lnTo>
                <a:cubicBezTo>
                  <a:pt x="3901860" y="4236012"/>
                  <a:pt x="3898033" y="4235323"/>
                  <a:pt x="3895355" y="4235323"/>
                </a:cubicBezTo>
                <a:close/>
                <a:moveTo>
                  <a:pt x="3494815" y="3997720"/>
                </a:moveTo>
                <a:cubicBezTo>
                  <a:pt x="3473002" y="4023897"/>
                  <a:pt x="3450040" y="4049041"/>
                  <a:pt x="3425968" y="4073150"/>
                </a:cubicBezTo>
                <a:lnTo>
                  <a:pt x="3629033" y="4270201"/>
                </a:lnTo>
                <a:lnTo>
                  <a:pt x="3700139" y="4196951"/>
                </a:lnTo>
                <a:close/>
                <a:moveTo>
                  <a:pt x="507937" y="3596622"/>
                </a:moveTo>
                <a:lnTo>
                  <a:pt x="1178453" y="3596622"/>
                </a:lnTo>
                <a:cubicBezTo>
                  <a:pt x="1238958" y="3596546"/>
                  <a:pt x="1287910" y="3632940"/>
                  <a:pt x="1287910" y="3677832"/>
                </a:cubicBezTo>
                <a:cubicBezTo>
                  <a:pt x="1287910" y="3722684"/>
                  <a:pt x="1238908" y="3759042"/>
                  <a:pt x="1178453" y="3759042"/>
                </a:cubicBezTo>
                <a:lnTo>
                  <a:pt x="507937" y="3759042"/>
                </a:lnTo>
                <a:cubicBezTo>
                  <a:pt x="447483" y="3759042"/>
                  <a:pt x="398479" y="3722685"/>
                  <a:pt x="398479" y="3677832"/>
                </a:cubicBezTo>
                <a:cubicBezTo>
                  <a:pt x="398479" y="3632979"/>
                  <a:pt x="447482" y="3596622"/>
                  <a:pt x="507937" y="3596622"/>
                </a:cubicBezTo>
                <a:close/>
                <a:moveTo>
                  <a:pt x="696607" y="3057099"/>
                </a:moveTo>
                <a:lnTo>
                  <a:pt x="1194077" y="3057099"/>
                </a:lnTo>
                <a:cubicBezTo>
                  <a:pt x="1238967" y="3057023"/>
                  <a:pt x="1275286" y="3093417"/>
                  <a:pt x="1275286" y="3138309"/>
                </a:cubicBezTo>
                <a:cubicBezTo>
                  <a:pt x="1275286" y="3183161"/>
                  <a:pt x="1238930" y="3219519"/>
                  <a:pt x="1194077" y="3219519"/>
                </a:cubicBezTo>
                <a:lnTo>
                  <a:pt x="696607" y="3219519"/>
                </a:lnTo>
                <a:cubicBezTo>
                  <a:pt x="651755" y="3219519"/>
                  <a:pt x="615398" y="3183162"/>
                  <a:pt x="615398" y="3138309"/>
                </a:cubicBezTo>
                <a:cubicBezTo>
                  <a:pt x="615398" y="3093456"/>
                  <a:pt x="651754" y="3057099"/>
                  <a:pt x="696607" y="3057099"/>
                </a:cubicBezTo>
                <a:close/>
                <a:moveTo>
                  <a:pt x="2627038" y="2603123"/>
                </a:moveTo>
                <a:cubicBezTo>
                  <a:pt x="2256589" y="2603123"/>
                  <a:pt x="1955248" y="2904464"/>
                  <a:pt x="1955248" y="3274914"/>
                </a:cubicBezTo>
                <a:cubicBezTo>
                  <a:pt x="1955248" y="3645363"/>
                  <a:pt x="2256589" y="3946703"/>
                  <a:pt x="2627038" y="3946703"/>
                </a:cubicBezTo>
                <a:cubicBezTo>
                  <a:pt x="2997409" y="3946703"/>
                  <a:pt x="3298828" y="3645363"/>
                  <a:pt x="3298828" y="3274914"/>
                </a:cubicBezTo>
                <a:cubicBezTo>
                  <a:pt x="3298828" y="2904464"/>
                  <a:pt x="2997488" y="2603123"/>
                  <a:pt x="2627038" y="2603123"/>
                </a:cubicBezTo>
                <a:close/>
                <a:moveTo>
                  <a:pt x="696607" y="2517578"/>
                </a:moveTo>
                <a:lnTo>
                  <a:pt x="1194077" y="2517578"/>
                </a:lnTo>
                <a:cubicBezTo>
                  <a:pt x="1238967" y="2517539"/>
                  <a:pt x="1275286" y="2553896"/>
                  <a:pt x="1275286" y="2598787"/>
                </a:cubicBezTo>
                <a:cubicBezTo>
                  <a:pt x="1275286" y="2643640"/>
                  <a:pt x="1238930" y="2679997"/>
                  <a:pt x="1194077" y="2679997"/>
                </a:cubicBezTo>
                <a:lnTo>
                  <a:pt x="696607" y="2679997"/>
                </a:lnTo>
                <a:cubicBezTo>
                  <a:pt x="651755" y="2679997"/>
                  <a:pt x="615398" y="2643641"/>
                  <a:pt x="615398" y="2598787"/>
                </a:cubicBezTo>
                <a:cubicBezTo>
                  <a:pt x="615398" y="2553934"/>
                  <a:pt x="651754" y="2517578"/>
                  <a:pt x="696607" y="2517578"/>
                </a:cubicBezTo>
                <a:close/>
                <a:moveTo>
                  <a:pt x="2627038" y="2440687"/>
                </a:moveTo>
                <a:cubicBezTo>
                  <a:pt x="3087044" y="2440687"/>
                  <a:pt x="3461324" y="2814928"/>
                  <a:pt x="3461324" y="3274972"/>
                </a:cubicBezTo>
                <a:cubicBezTo>
                  <a:pt x="3461324" y="3734977"/>
                  <a:pt x="3087044" y="4109258"/>
                  <a:pt x="2627038" y="4109258"/>
                </a:cubicBezTo>
                <a:cubicBezTo>
                  <a:pt x="2167033" y="4109258"/>
                  <a:pt x="1792753" y="3734977"/>
                  <a:pt x="1792753" y="3274972"/>
                </a:cubicBezTo>
                <a:cubicBezTo>
                  <a:pt x="1792753" y="2814967"/>
                  <a:pt x="2167033" y="2440687"/>
                  <a:pt x="2627038" y="2440687"/>
                </a:cubicBezTo>
                <a:close/>
                <a:moveTo>
                  <a:pt x="2627077" y="2307405"/>
                </a:moveTo>
                <a:cubicBezTo>
                  <a:pt x="2093554" y="2307405"/>
                  <a:pt x="1659570" y="2741429"/>
                  <a:pt x="1659570" y="3274913"/>
                </a:cubicBezTo>
                <a:cubicBezTo>
                  <a:pt x="1659570" y="3808396"/>
                  <a:pt x="2093594" y="4242420"/>
                  <a:pt x="2627077" y="4242420"/>
                </a:cubicBezTo>
                <a:cubicBezTo>
                  <a:pt x="3160601" y="4242420"/>
                  <a:pt x="3594585" y="3808396"/>
                  <a:pt x="3594585" y="3274913"/>
                </a:cubicBezTo>
                <a:cubicBezTo>
                  <a:pt x="3594585" y="2741390"/>
                  <a:pt x="3160561" y="2307405"/>
                  <a:pt x="2627077" y="2307405"/>
                </a:cubicBezTo>
                <a:close/>
                <a:moveTo>
                  <a:pt x="696598" y="1978057"/>
                </a:moveTo>
                <a:lnTo>
                  <a:pt x="1464646" y="1978057"/>
                </a:lnTo>
                <a:cubicBezTo>
                  <a:pt x="1509499" y="1978057"/>
                  <a:pt x="1545856" y="2014414"/>
                  <a:pt x="1545856" y="2059267"/>
                </a:cubicBezTo>
                <a:cubicBezTo>
                  <a:pt x="1545856" y="2104081"/>
                  <a:pt x="1509500" y="2140476"/>
                  <a:pt x="1464646" y="2140476"/>
                </a:cubicBezTo>
                <a:lnTo>
                  <a:pt x="696598" y="2140476"/>
                </a:lnTo>
                <a:cubicBezTo>
                  <a:pt x="651746" y="2140476"/>
                  <a:pt x="615389" y="2104120"/>
                  <a:pt x="615389" y="2059267"/>
                </a:cubicBezTo>
                <a:cubicBezTo>
                  <a:pt x="615389" y="2014414"/>
                  <a:pt x="651745" y="1978057"/>
                  <a:pt x="696598" y="1978057"/>
                </a:cubicBezTo>
                <a:close/>
                <a:moveTo>
                  <a:pt x="696599" y="1438537"/>
                </a:moveTo>
                <a:lnTo>
                  <a:pt x="2590486" y="1438537"/>
                </a:lnTo>
                <a:cubicBezTo>
                  <a:pt x="2635338" y="1438537"/>
                  <a:pt x="2671696" y="1474893"/>
                  <a:pt x="2671696" y="1519746"/>
                </a:cubicBezTo>
                <a:cubicBezTo>
                  <a:pt x="2671696" y="1564599"/>
                  <a:pt x="2635339" y="1600956"/>
                  <a:pt x="2590486" y="1600956"/>
                </a:cubicBezTo>
                <a:lnTo>
                  <a:pt x="696599" y="1600956"/>
                </a:lnTo>
                <a:cubicBezTo>
                  <a:pt x="651747" y="1600956"/>
                  <a:pt x="615390" y="1564599"/>
                  <a:pt x="615390" y="1519746"/>
                </a:cubicBezTo>
                <a:cubicBezTo>
                  <a:pt x="615390" y="1474894"/>
                  <a:pt x="651746" y="1438537"/>
                  <a:pt x="696599" y="1438537"/>
                </a:cubicBezTo>
                <a:close/>
                <a:moveTo>
                  <a:pt x="696599" y="899017"/>
                </a:moveTo>
                <a:lnTo>
                  <a:pt x="2590486" y="899017"/>
                </a:lnTo>
                <a:cubicBezTo>
                  <a:pt x="2635338" y="899017"/>
                  <a:pt x="2671696" y="935373"/>
                  <a:pt x="2671696" y="980227"/>
                </a:cubicBezTo>
                <a:cubicBezTo>
                  <a:pt x="2671696" y="1025080"/>
                  <a:pt x="2635339" y="1061436"/>
                  <a:pt x="2590486" y="1061436"/>
                </a:cubicBezTo>
                <a:lnTo>
                  <a:pt x="696599" y="1061436"/>
                </a:lnTo>
                <a:cubicBezTo>
                  <a:pt x="651747" y="1061436"/>
                  <a:pt x="615390" y="1025080"/>
                  <a:pt x="615390" y="980227"/>
                </a:cubicBezTo>
                <a:cubicBezTo>
                  <a:pt x="615390" y="935374"/>
                  <a:pt x="651746" y="899017"/>
                  <a:pt x="696599" y="899017"/>
                </a:cubicBezTo>
                <a:close/>
                <a:moveTo>
                  <a:pt x="2780854" y="277310"/>
                </a:moveTo>
                <a:lnTo>
                  <a:pt x="2780854" y="506201"/>
                </a:lnTo>
                <a:lnTo>
                  <a:pt x="3009744" y="506201"/>
                </a:lnTo>
                <a:close/>
                <a:moveTo>
                  <a:pt x="162566" y="162458"/>
                </a:moveTo>
                <a:lnTo>
                  <a:pt x="162548" y="4049799"/>
                </a:lnTo>
                <a:lnTo>
                  <a:pt x="1805334" y="4049799"/>
                </a:lnTo>
                <a:cubicBezTo>
                  <a:pt x="1614329" y="3847390"/>
                  <a:pt x="1497067" y="3574677"/>
                  <a:pt x="1497067" y="3275021"/>
                </a:cubicBezTo>
                <a:cubicBezTo>
                  <a:pt x="1497067" y="2651943"/>
                  <a:pt x="2004030" y="2145019"/>
                  <a:pt x="2627070" y="2145019"/>
                </a:cubicBezTo>
                <a:cubicBezTo>
                  <a:pt x="2805485" y="2145019"/>
                  <a:pt x="2974447" y="2186620"/>
                  <a:pt x="3124617" y="2260635"/>
                </a:cubicBezTo>
                <a:lnTo>
                  <a:pt x="3124656" y="668697"/>
                </a:lnTo>
                <a:lnTo>
                  <a:pt x="2699626" y="668697"/>
                </a:lnTo>
                <a:cubicBezTo>
                  <a:pt x="2654773" y="668697"/>
                  <a:pt x="2618417" y="632340"/>
                  <a:pt x="2618417" y="587488"/>
                </a:cubicBezTo>
                <a:lnTo>
                  <a:pt x="2618417" y="162458"/>
                </a:lnTo>
                <a:close/>
                <a:moveTo>
                  <a:pt x="81209" y="0"/>
                </a:moveTo>
                <a:lnTo>
                  <a:pt x="2699693" y="0"/>
                </a:lnTo>
                <a:cubicBezTo>
                  <a:pt x="2721239" y="0"/>
                  <a:pt x="2741867" y="8496"/>
                  <a:pt x="2757137" y="23766"/>
                </a:cubicBezTo>
                <a:lnTo>
                  <a:pt x="3263375" y="530004"/>
                </a:lnTo>
                <a:cubicBezTo>
                  <a:pt x="3278568" y="545197"/>
                  <a:pt x="3287140" y="565901"/>
                  <a:pt x="3287140" y="587447"/>
                </a:cubicBezTo>
                <a:lnTo>
                  <a:pt x="3287179" y="2358379"/>
                </a:lnTo>
                <a:cubicBezTo>
                  <a:pt x="3571639" y="2563776"/>
                  <a:pt x="3757138" y="2898104"/>
                  <a:pt x="3757138" y="3274951"/>
                </a:cubicBezTo>
                <a:cubicBezTo>
                  <a:pt x="3757138" y="3490791"/>
                  <a:pt x="3696248" y="3692672"/>
                  <a:pt x="3590812" y="3864386"/>
                </a:cubicBezTo>
                <a:lnTo>
                  <a:pt x="3822152" y="4088878"/>
                </a:lnTo>
                <a:cubicBezTo>
                  <a:pt x="3844041" y="4078889"/>
                  <a:pt x="3867923" y="4073378"/>
                  <a:pt x="3892721" y="4072996"/>
                </a:cubicBezTo>
                <a:cubicBezTo>
                  <a:pt x="3940020" y="4072307"/>
                  <a:pt x="3984529" y="4089910"/>
                  <a:pt x="4018321" y="4122708"/>
                </a:cubicBezTo>
                <a:lnTo>
                  <a:pt x="4594207" y="4681527"/>
                </a:lnTo>
                <a:lnTo>
                  <a:pt x="4594148" y="4681550"/>
                </a:lnTo>
                <a:cubicBezTo>
                  <a:pt x="4663991" y="4749366"/>
                  <a:pt x="4665714" y="4861378"/>
                  <a:pt x="4597975" y="4931220"/>
                </a:cubicBezTo>
                <a:lnTo>
                  <a:pt x="4390051" y="5145533"/>
                </a:lnTo>
                <a:cubicBezTo>
                  <a:pt x="4357291" y="5179325"/>
                  <a:pt x="4313243" y="5198346"/>
                  <a:pt x="4265980" y="5199034"/>
                </a:cubicBezTo>
                <a:lnTo>
                  <a:pt x="4263224" y="5199034"/>
                </a:lnTo>
                <a:cubicBezTo>
                  <a:pt x="4216993" y="5199034"/>
                  <a:pt x="4173480" y="5181430"/>
                  <a:pt x="4140338" y="5149322"/>
                </a:cubicBezTo>
                <a:lnTo>
                  <a:pt x="3564453" y="4590463"/>
                </a:lnTo>
                <a:cubicBezTo>
                  <a:pt x="3530660" y="4557704"/>
                  <a:pt x="3511640" y="4513655"/>
                  <a:pt x="3510951" y="4466392"/>
                </a:cubicBezTo>
                <a:cubicBezTo>
                  <a:pt x="3510530" y="4441593"/>
                  <a:pt x="3515352" y="4417521"/>
                  <a:pt x="3524652" y="4395363"/>
                </a:cubicBezTo>
                <a:lnTo>
                  <a:pt x="3302727" y="4180021"/>
                </a:lnTo>
                <a:cubicBezTo>
                  <a:pt x="3114132" y="4321237"/>
                  <a:pt x="2880147" y="4404895"/>
                  <a:pt x="2626988" y="4404895"/>
                </a:cubicBezTo>
                <a:cubicBezTo>
                  <a:pt x="2393660" y="4404895"/>
                  <a:pt x="2176633" y="4333788"/>
                  <a:pt x="1996454" y="4212166"/>
                </a:cubicBezTo>
                <a:lnTo>
                  <a:pt x="81209" y="4212166"/>
                </a:lnTo>
                <a:cubicBezTo>
                  <a:pt x="36356" y="4212166"/>
                  <a:pt x="0" y="4175809"/>
                  <a:pt x="0" y="4130957"/>
                </a:cubicBezTo>
                <a:lnTo>
                  <a:pt x="0" y="81209"/>
                </a:lnTo>
                <a:cubicBezTo>
                  <a:pt x="0" y="36356"/>
                  <a:pt x="36357" y="0"/>
                  <a:pt x="81209" y="0"/>
                </a:cubicBezTo>
                <a:close/>
              </a:path>
            </a:pathLst>
          </a:custGeom>
          <a:solidFill>
            <a:schemeClr val="tx1">
              <a:lumMod val="60000"/>
              <a:lumOff val="40000"/>
            </a:schemeClr>
          </a:solid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Calibri" panose="020F0502020204030204"/>
              <a:cs typeface="+mn-cs"/>
            </a:endParaRPr>
          </a:p>
        </p:txBody>
      </p:sp>
      <p:sp>
        <p:nvSpPr>
          <p:cNvPr id="9" name="Freeform 30">
            <a:extLst>
              <a:ext uri="{FF2B5EF4-FFF2-40B4-BE49-F238E27FC236}">
                <a16:creationId xmlns:a16="http://schemas.microsoft.com/office/drawing/2014/main" id="{7D24A422-F069-F98E-CB37-85068D8AFF66}"/>
              </a:ext>
            </a:extLst>
          </p:cNvPr>
          <p:cNvSpPr/>
          <p:nvPr/>
        </p:nvSpPr>
        <p:spPr>
          <a:xfrm>
            <a:off x="618923" y="4097507"/>
            <a:ext cx="2079201" cy="962848"/>
          </a:xfrm>
          <a:prstGeom prst="notchedRightArrow">
            <a:avLst/>
          </a:prstGeom>
          <a:solidFill>
            <a:srgbClr val="FFFFFF"/>
          </a:solidFill>
          <a:ln w="12700" cap="flat" cmpd="sng" algn="ctr">
            <a:noFill/>
            <a:prstDash val="solid"/>
            <a:miter lim="800000"/>
          </a:ln>
          <a:effectLst>
            <a:outerShdw blurRad="25400" dist="12700" dir="2700000" algn="tl" rotWithShape="0">
              <a:prstClr val="black">
                <a:alpha val="20000"/>
              </a:prstClr>
            </a:outerShdw>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cs typeface="+mn-cs"/>
            </a:endParaRPr>
          </a:p>
        </p:txBody>
      </p:sp>
      <p:sp>
        <p:nvSpPr>
          <p:cNvPr id="24" name="Freeform 28">
            <a:extLst>
              <a:ext uri="{FF2B5EF4-FFF2-40B4-BE49-F238E27FC236}">
                <a16:creationId xmlns:a16="http://schemas.microsoft.com/office/drawing/2014/main" id="{7C60500F-9D3B-BFD3-8FCE-B0A74A532BF4}"/>
              </a:ext>
            </a:extLst>
          </p:cNvPr>
          <p:cNvSpPr/>
          <p:nvPr/>
        </p:nvSpPr>
        <p:spPr>
          <a:xfrm>
            <a:off x="628806" y="4189053"/>
            <a:ext cx="2002957" cy="808341"/>
          </a:xfrm>
          <a:prstGeom prst="notchedRightArrow">
            <a:avLst/>
          </a:prstGeom>
          <a:solidFill>
            <a:schemeClr val="bg2">
              <a:lumMod val="60000"/>
              <a:lumOff val="40000"/>
            </a:schemeClr>
          </a:solidFill>
          <a:ln w="12700" cap="flat" cmpd="sng" algn="ctr">
            <a:noFill/>
            <a:prstDash val="solid"/>
            <a:miter lim="800000"/>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cs typeface="+mn-cs"/>
            </a:endParaRPr>
          </a:p>
        </p:txBody>
      </p:sp>
      <p:sp>
        <p:nvSpPr>
          <p:cNvPr id="25" name="TextBox 24">
            <a:extLst>
              <a:ext uri="{FF2B5EF4-FFF2-40B4-BE49-F238E27FC236}">
                <a16:creationId xmlns:a16="http://schemas.microsoft.com/office/drawing/2014/main" id="{023B2948-66A8-9FA0-E532-391EBA979C46}"/>
              </a:ext>
            </a:extLst>
          </p:cNvPr>
          <p:cNvSpPr txBox="1"/>
          <p:nvPr/>
        </p:nvSpPr>
        <p:spPr>
          <a:xfrm>
            <a:off x="1098577" y="4380164"/>
            <a:ext cx="1191524" cy="400110"/>
          </a:xfrm>
          <a:prstGeom prst="rect">
            <a:avLst/>
          </a:prstGeom>
          <a:noFill/>
        </p:spPr>
        <p:txBody>
          <a:bodyPr wrap="square" rtlCol="0" anchor="ctr">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Arial" panose="020B0604020202020204" pitchFamily="34" charset="0"/>
              </a:rPr>
              <a:t>Ensuring Clarity and Precision</a:t>
            </a:r>
          </a:p>
        </p:txBody>
      </p:sp>
      <p:sp>
        <p:nvSpPr>
          <p:cNvPr id="30" name="Rectangle 29">
            <a:extLst>
              <a:ext uri="{FF2B5EF4-FFF2-40B4-BE49-F238E27FC236}">
                <a16:creationId xmlns:a16="http://schemas.microsoft.com/office/drawing/2014/main" id="{2E41767A-D83B-0970-8C1D-B8A629F82F6E}"/>
              </a:ext>
            </a:extLst>
          </p:cNvPr>
          <p:cNvSpPr/>
          <p:nvPr/>
        </p:nvSpPr>
        <p:spPr>
          <a:xfrm rot="5400000" flipH="1">
            <a:off x="1358035" y="3870246"/>
            <a:ext cx="516492" cy="563573"/>
          </a:xfrm>
          <a:prstGeom prst="rect">
            <a:avLst/>
          </a:prstGeom>
          <a:solidFill>
            <a:schemeClr val="bg2">
              <a:lumMod val="60000"/>
              <a:lumOff val="40000"/>
            </a:schemeClr>
          </a:solidFill>
          <a:ln w="6350" cap="flat" cmpd="sng" algn="ctr">
            <a:solidFill>
              <a:srgbClr val="4C79CA"/>
            </a:solid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937D5822-1771-1F0B-0082-81B94C65EE71}"/>
              </a:ext>
            </a:extLst>
          </p:cNvPr>
          <p:cNvSpPr/>
          <p:nvPr/>
        </p:nvSpPr>
        <p:spPr>
          <a:xfrm flipH="1">
            <a:off x="1374830" y="3937915"/>
            <a:ext cx="478741" cy="438745"/>
          </a:xfrm>
          <a:prstGeom prst="rect">
            <a:avLst/>
          </a:prstGeom>
          <a:solidFill>
            <a:srgbClr val="FFFFFF"/>
          </a:solidFill>
          <a:ln w="6350" cap="flat" cmpd="sng" algn="ctr">
            <a:solidFill>
              <a:srgbClr val="4C79CA"/>
            </a:solidFill>
            <a:prstDash val="solid"/>
            <a:miter lim="800000"/>
          </a:ln>
          <a:effectLst>
            <a:outerShdw blurRad="63500" sx="102000" sy="102000" algn="ctr" rotWithShape="0">
              <a:prstClr val="black">
                <a:alpha val="10000"/>
              </a:prstClr>
            </a:outerShdw>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2" name="Freeform: Shape 31">
            <a:extLst>
              <a:ext uri="{FF2B5EF4-FFF2-40B4-BE49-F238E27FC236}">
                <a16:creationId xmlns:a16="http://schemas.microsoft.com/office/drawing/2014/main" id="{8EB26AF0-740E-725B-BE89-587702DE593A}"/>
              </a:ext>
            </a:extLst>
          </p:cNvPr>
          <p:cNvSpPr/>
          <p:nvPr/>
        </p:nvSpPr>
        <p:spPr>
          <a:xfrm>
            <a:off x="1576228" y="4062113"/>
            <a:ext cx="146198" cy="178130"/>
          </a:xfrm>
          <a:custGeom>
            <a:avLst/>
            <a:gdLst>
              <a:gd name="connsiteX0" fmla="*/ 1714500 w 2966085"/>
              <a:gd name="connsiteY0" fmla="*/ 3086100 h 3943350"/>
              <a:gd name="connsiteX1" fmla="*/ 2228850 w 2966085"/>
              <a:gd name="connsiteY1" fmla="*/ 3086100 h 3943350"/>
              <a:gd name="connsiteX2" fmla="*/ 2228850 w 2966085"/>
              <a:gd name="connsiteY2" fmla="*/ 3943350 h 3943350"/>
              <a:gd name="connsiteX3" fmla="*/ 1714500 w 2966085"/>
              <a:gd name="connsiteY3" fmla="*/ 3943350 h 3943350"/>
              <a:gd name="connsiteX4" fmla="*/ 2571750 w 2966085"/>
              <a:gd name="connsiteY4" fmla="*/ 120015 h 3943350"/>
              <a:gd name="connsiteX5" fmla="*/ 2966085 w 2966085"/>
              <a:gd name="connsiteY5" fmla="*/ 514350 h 3943350"/>
              <a:gd name="connsiteX6" fmla="*/ 2571750 w 2966085"/>
              <a:gd name="connsiteY6" fmla="*/ 514350 h 3943350"/>
              <a:gd name="connsiteX7" fmla="*/ 0 w 2966085"/>
              <a:gd name="connsiteY7" fmla="*/ 0 h 3943350"/>
              <a:gd name="connsiteX8" fmla="*/ 514350 w 2966085"/>
              <a:gd name="connsiteY8" fmla="*/ 0 h 3943350"/>
              <a:gd name="connsiteX9" fmla="*/ 514350 w 2966085"/>
              <a:gd name="connsiteY9" fmla="*/ 942975 h 3943350"/>
              <a:gd name="connsiteX10" fmla="*/ 257175 w 2966085"/>
              <a:gd name="connsiteY10" fmla="*/ 745807 h 3943350"/>
              <a:gd name="connsiteX11" fmla="*/ 0 w 2966085"/>
              <a:gd name="connsiteY11" fmla="*/ 942975 h 394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66085" h="3943350">
                <a:moveTo>
                  <a:pt x="1714500" y="3086100"/>
                </a:moveTo>
                <a:lnTo>
                  <a:pt x="2228850" y="3086100"/>
                </a:lnTo>
                <a:lnTo>
                  <a:pt x="2228850" y="3943350"/>
                </a:lnTo>
                <a:lnTo>
                  <a:pt x="1714500" y="3943350"/>
                </a:lnTo>
                <a:close/>
                <a:moveTo>
                  <a:pt x="2571750" y="120015"/>
                </a:moveTo>
                <a:lnTo>
                  <a:pt x="2966085" y="514350"/>
                </a:lnTo>
                <a:lnTo>
                  <a:pt x="2571750" y="514350"/>
                </a:lnTo>
                <a:close/>
                <a:moveTo>
                  <a:pt x="0" y="0"/>
                </a:moveTo>
                <a:lnTo>
                  <a:pt x="514350" y="0"/>
                </a:lnTo>
                <a:lnTo>
                  <a:pt x="514350" y="942975"/>
                </a:lnTo>
                <a:lnTo>
                  <a:pt x="257175" y="745807"/>
                </a:lnTo>
                <a:lnTo>
                  <a:pt x="0" y="942975"/>
                </a:lnTo>
                <a:close/>
              </a:path>
            </a:pathLst>
          </a:custGeom>
          <a:solidFill>
            <a:srgbClr val="4C79CA"/>
          </a:solid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Calibri" panose="020F0502020204030204"/>
              <a:cs typeface="+mn-cs"/>
            </a:endParaRPr>
          </a:p>
        </p:txBody>
      </p:sp>
      <p:sp>
        <p:nvSpPr>
          <p:cNvPr id="33" name="Freeform: Shape 32">
            <a:extLst>
              <a:ext uri="{FF2B5EF4-FFF2-40B4-BE49-F238E27FC236}">
                <a16:creationId xmlns:a16="http://schemas.microsoft.com/office/drawing/2014/main" id="{0DF0A96E-C855-A1D0-79D4-57D6468573FC}"/>
              </a:ext>
            </a:extLst>
          </p:cNvPr>
          <p:cNvSpPr/>
          <p:nvPr/>
        </p:nvSpPr>
        <p:spPr>
          <a:xfrm>
            <a:off x="1493645" y="4052937"/>
            <a:ext cx="270425" cy="247833"/>
          </a:xfrm>
          <a:custGeom>
            <a:avLst/>
            <a:gdLst>
              <a:gd name="connsiteX0" fmla="*/ 2400300 w 5486399"/>
              <a:gd name="connsiteY0" fmla="*/ 4457699 h 5486399"/>
              <a:gd name="connsiteX1" fmla="*/ 2571751 w 5486399"/>
              <a:gd name="connsiteY1" fmla="*/ 4457699 h 5486399"/>
              <a:gd name="connsiteX2" fmla="*/ 2571751 w 5486399"/>
              <a:gd name="connsiteY2" fmla="*/ 4629150 h 5486399"/>
              <a:gd name="connsiteX3" fmla="*/ 2400300 w 5486399"/>
              <a:gd name="connsiteY3" fmla="*/ 4629150 h 5486399"/>
              <a:gd name="connsiteX4" fmla="*/ 2057400 w 5486399"/>
              <a:gd name="connsiteY4" fmla="*/ 4457699 h 5486399"/>
              <a:gd name="connsiteX5" fmla="*/ 2228851 w 5486399"/>
              <a:gd name="connsiteY5" fmla="*/ 4457699 h 5486399"/>
              <a:gd name="connsiteX6" fmla="*/ 2228851 w 5486399"/>
              <a:gd name="connsiteY6" fmla="*/ 4629150 h 5486399"/>
              <a:gd name="connsiteX7" fmla="*/ 2057400 w 5486399"/>
              <a:gd name="connsiteY7" fmla="*/ 4629150 h 5486399"/>
              <a:gd name="connsiteX8" fmla="*/ 1714500 w 5486399"/>
              <a:gd name="connsiteY8" fmla="*/ 4457699 h 5486399"/>
              <a:gd name="connsiteX9" fmla="*/ 1885951 w 5486399"/>
              <a:gd name="connsiteY9" fmla="*/ 4457699 h 5486399"/>
              <a:gd name="connsiteX10" fmla="*/ 1885951 w 5486399"/>
              <a:gd name="connsiteY10" fmla="*/ 4629150 h 5486399"/>
              <a:gd name="connsiteX11" fmla="*/ 1714500 w 5486399"/>
              <a:gd name="connsiteY11" fmla="*/ 4629150 h 5486399"/>
              <a:gd name="connsiteX12" fmla="*/ 3206115 w 5486399"/>
              <a:gd name="connsiteY12" fmla="*/ 4286251 h 5486399"/>
              <a:gd name="connsiteX13" fmla="*/ 3086100 w 5486399"/>
              <a:gd name="connsiteY13" fmla="*/ 4406266 h 5486399"/>
              <a:gd name="connsiteX14" fmla="*/ 3086100 w 5486399"/>
              <a:gd name="connsiteY14" fmla="*/ 4457701 h 5486399"/>
              <a:gd name="connsiteX15" fmla="*/ 3943350 w 5486399"/>
              <a:gd name="connsiteY15" fmla="*/ 4457701 h 5486399"/>
              <a:gd name="connsiteX16" fmla="*/ 3943350 w 5486399"/>
              <a:gd name="connsiteY16" fmla="*/ 4406266 h 5486399"/>
              <a:gd name="connsiteX17" fmla="*/ 3823335 w 5486399"/>
              <a:gd name="connsiteY17" fmla="*/ 4286251 h 5486399"/>
              <a:gd name="connsiteX18" fmla="*/ 685799 w 5486399"/>
              <a:gd name="connsiteY18" fmla="*/ 4114799 h 5486399"/>
              <a:gd name="connsiteX19" fmla="*/ 857249 w 5486399"/>
              <a:gd name="connsiteY19" fmla="*/ 4114799 h 5486399"/>
              <a:gd name="connsiteX20" fmla="*/ 857249 w 5486399"/>
              <a:gd name="connsiteY20" fmla="*/ 5314949 h 5486399"/>
              <a:gd name="connsiteX21" fmla="*/ 5314949 w 5486399"/>
              <a:gd name="connsiteY21" fmla="*/ 5314949 h 5486399"/>
              <a:gd name="connsiteX22" fmla="*/ 5314949 w 5486399"/>
              <a:gd name="connsiteY22" fmla="*/ 4972049 h 5486399"/>
              <a:gd name="connsiteX23" fmla="*/ 1885949 w 5486399"/>
              <a:gd name="connsiteY23" fmla="*/ 4972049 h 5486399"/>
              <a:gd name="connsiteX24" fmla="*/ 1885949 w 5486399"/>
              <a:gd name="connsiteY24" fmla="*/ 5143499 h 5486399"/>
              <a:gd name="connsiteX25" fmla="*/ 1714499 w 5486399"/>
              <a:gd name="connsiteY25" fmla="*/ 5143499 h 5486399"/>
              <a:gd name="connsiteX26" fmla="*/ 1714499 w 5486399"/>
              <a:gd name="connsiteY26" fmla="*/ 4800599 h 5486399"/>
              <a:gd name="connsiteX27" fmla="*/ 5486399 w 5486399"/>
              <a:gd name="connsiteY27" fmla="*/ 4800599 h 5486399"/>
              <a:gd name="connsiteX28" fmla="*/ 5486399 w 5486399"/>
              <a:gd name="connsiteY28" fmla="*/ 5486399 h 5486399"/>
              <a:gd name="connsiteX29" fmla="*/ 685799 w 5486399"/>
              <a:gd name="connsiteY29" fmla="*/ 5486399 h 5486399"/>
              <a:gd name="connsiteX30" fmla="*/ 1543050 w 5486399"/>
              <a:gd name="connsiteY30" fmla="*/ 3600451 h 5486399"/>
              <a:gd name="connsiteX31" fmla="*/ 1543050 w 5486399"/>
              <a:gd name="connsiteY31" fmla="*/ 3771901 h 5486399"/>
              <a:gd name="connsiteX32" fmla="*/ 3086100 w 5486399"/>
              <a:gd name="connsiteY32" fmla="*/ 3771901 h 5486399"/>
              <a:gd name="connsiteX33" fmla="*/ 3086100 w 5486399"/>
              <a:gd name="connsiteY33" fmla="*/ 3600451 h 5486399"/>
              <a:gd name="connsiteX34" fmla="*/ 1200150 w 5486399"/>
              <a:gd name="connsiteY34" fmla="*/ 3600451 h 5486399"/>
              <a:gd name="connsiteX35" fmla="*/ 1200150 w 5486399"/>
              <a:gd name="connsiteY35" fmla="*/ 3771901 h 5486399"/>
              <a:gd name="connsiteX36" fmla="*/ 1371600 w 5486399"/>
              <a:gd name="connsiteY36" fmla="*/ 3771901 h 5486399"/>
              <a:gd name="connsiteX37" fmla="*/ 1371600 w 5486399"/>
              <a:gd name="connsiteY37" fmla="*/ 3600451 h 5486399"/>
              <a:gd name="connsiteX38" fmla="*/ 857250 w 5486399"/>
              <a:gd name="connsiteY38" fmla="*/ 3600451 h 5486399"/>
              <a:gd name="connsiteX39" fmla="*/ 857250 w 5486399"/>
              <a:gd name="connsiteY39" fmla="*/ 3771901 h 5486399"/>
              <a:gd name="connsiteX40" fmla="*/ 1028700 w 5486399"/>
              <a:gd name="connsiteY40" fmla="*/ 3771901 h 5486399"/>
              <a:gd name="connsiteX41" fmla="*/ 1028700 w 5486399"/>
              <a:gd name="connsiteY41" fmla="*/ 3600451 h 5486399"/>
              <a:gd name="connsiteX42" fmla="*/ 514350 w 5486399"/>
              <a:gd name="connsiteY42" fmla="*/ 3600451 h 5486399"/>
              <a:gd name="connsiteX43" fmla="*/ 514350 w 5486399"/>
              <a:gd name="connsiteY43" fmla="*/ 3771901 h 5486399"/>
              <a:gd name="connsiteX44" fmla="*/ 685800 w 5486399"/>
              <a:gd name="connsiteY44" fmla="*/ 3771901 h 5486399"/>
              <a:gd name="connsiteX45" fmla="*/ 685800 w 5486399"/>
              <a:gd name="connsiteY45" fmla="*/ 3600451 h 5486399"/>
              <a:gd name="connsiteX46" fmla="*/ 171450 w 5486399"/>
              <a:gd name="connsiteY46" fmla="*/ 3600451 h 5486399"/>
              <a:gd name="connsiteX47" fmla="*/ 171450 w 5486399"/>
              <a:gd name="connsiteY47" fmla="*/ 3771901 h 5486399"/>
              <a:gd name="connsiteX48" fmla="*/ 342900 w 5486399"/>
              <a:gd name="connsiteY48" fmla="*/ 3771901 h 5486399"/>
              <a:gd name="connsiteX49" fmla="*/ 342900 w 5486399"/>
              <a:gd name="connsiteY49" fmla="*/ 3600451 h 5486399"/>
              <a:gd name="connsiteX50" fmla="*/ 3257550 w 5486399"/>
              <a:gd name="connsiteY50" fmla="*/ 3257551 h 5486399"/>
              <a:gd name="connsiteX51" fmla="*/ 3257550 w 5486399"/>
              <a:gd name="connsiteY51" fmla="*/ 4114801 h 5486399"/>
              <a:gd name="connsiteX52" fmla="*/ 3771900 w 5486399"/>
              <a:gd name="connsiteY52" fmla="*/ 4114801 h 5486399"/>
              <a:gd name="connsiteX53" fmla="*/ 3771900 w 5486399"/>
              <a:gd name="connsiteY53" fmla="*/ 3257551 h 5486399"/>
              <a:gd name="connsiteX54" fmla="*/ 3086100 w 5486399"/>
              <a:gd name="connsiteY54" fmla="*/ 2914651 h 5486399"/>
              <a:gd name="connsiteX55" fmla="*/ 3086100 w 5486399"/>
              <a:gd name="connsiteY55" fmla="*/ 2966086 h 5486399"/>
              <a:gd name="connsiteX56" fmla="*/ 3206115 w 5486399"/>
              <a:gd name="connsiteY56" fmla="*/ 3086101 h 5486399"/>
              <a:gd name="connsiteX57" fmla="*/ 3823335 w 5486399"/>
              <a:gd name="connsiteY57" fmla="*/ 3086101 h 5486399"/>
              <a:gd name="connsiteX58" fmla="*/ 3943350 w 5486399"/>
              <a:gd name="connsiteY58" fmla="*/ 2966086 h 5486399"/>
              <a:gd name="connsiteX59" fmla="*/ 3943350 w 5486399"/>
              <a:gd name="connsiteY59" fmla="*/ 2914651 h 5486399"/>
              <a:gd name="connsiteX60" fmla="*/ 1371600 w 5486399"/>
              <a:gd name="connsiteY60" fmla="*/ 2228849 h 5486399"/>
              <a:gd name="connsiteX61" fmla="*/ 4114800 w 5486399"/>
              <a:gd name="connsiteY61" fmla="*/ 2228849 h 5486399"/>
              <a:gd name="connsiteX62" fmla="*/ 4114800 w 5486399"/>
              <a:gd name="connsiteY62" fmla="*/ 2400300 h 5486399"/>
              <a:gd name="connsiteX63" fmla="*/ 1371600 w 5486399"/>
              <a:gd name="connsiteY63" fmla="*/ 2400300 h 5486399"/>
              <a:gd name="connsiteX64" fmla="*/ 1371600 w 5486399"/>
              <a:gd name="connsiteY64" fmla="*/ 1605732 h 5486399"/>
              <a:gd name="connsiteX65" fmla="*/ 4114800 w 5486399"/>
              <a:gd name="connsiteY65" fmla="*/ 1605732 h 5486399"/>
              <a:gd name="connsiteX66" fmla="*/ 4114800 w 5486399"/>
              <a:gd name="connsiteY66" fmla="*/ 1777183 h 5486399"/>
              <a:gd name="connsiteX67" fmla="*/ 1371600 w 5486399"/>
              <a:gd name="connsiteY67" fmla="*/ 1777183 h 5486399"/>
              <a:gd name="connsiteX68" fmla="*/ 4114800 w 5486399"/>
              <a:gd name="connsiteY68" fmla="*/ 291465 h 5486399"/>
              <a:gd name="connsiteX69" fmla="*/ 4114800 w 5486399"/>
              <a:gd name="connsiteY69" fmla="*/ 685800 h 5486399"/>
              <a:gd name="connsiteX70" fmla="*/ 4509135 w 5486399"/>
              <a:gd name="connsiteY70" fmla="*/ 685800 h 5486399"/>
              <a:gd name="connsiteX71" fmla="*/ 1543050 w 5486399"/>
              <a:gd name="connsiteY71" fmla="*/ 171450 h 5486399"/>
              <a:gd name="connsiteX72" fmla="*/ 1543050 w 5486399"/>
              <a:gd name="connsiteY72" fmla="*/ 1114425 h 5486399"/>
              <a:gd name="connsiteX73" fmla="*/ 1800225 w 5486399"/>
              <a:gd name="connsiteY73" fmla="*/ 917257 h 5486399"/>
              <a:gd name="connsiteX74" fmla="*/ 2057400 w 5486399"/>
              <a:gd name="connsiteY74" fmla="*/ 1114425 h 5486399"/>
              <a:gd name="connsiteX75" fmla="*/ 2057400 w 5486399"/>
              <a:gd name="connsiteY75" fmla="*/ 171450 h 5486399"/>
              <a:gd name="connsiteX76" fmla="*/ 2400300 w 5486399"/>
              <a:gd name="connsiteY76" fmla="*/ 0 h 5486399"/>
              <a:gd name="connsiteX77" fmla="*/ 4063365 w 5486399"/>
              <a:gd name="connsiteY77" fmla="*/ 0 h 5486399"/>
              <a:gd name="connsiteX78" fmla="*/ 4800600 w 5486399"/>
              <a:gd name="connsiteY78" fmla="*/ 737235 h 5486399"/>
              <a:gd name="connsiteX79" fmla="*/ 4800600 w 5486399"/>
              <a:gd name="connsiteY79" fmla="*/ 4629151 h 5486399"/>
              <a:gd name="connsiteX80" fmla="*/ 4629150 w 5486399"/>
              <a:gd name="connsiteY80" fmla="*/ 4629151 h 5486399"/>
              <a:gd name="connsiteX81" fmla="*/ 4629150 w 5486399"/>
              <a:gd name="connsiteY81" fmla="*/ 857250 h 5486399"/>
              <a:gd name="connsiteX82" fmla="*/ 3943350 w 5486399"/>
              <a:gd name="connsiteY82" fmla="*/ 857250 h 5486399"/>
              <a:gd name="connsiteX83" fmla="*/ 3943350 w 5486399"/>
              <a:gd name="connsiteY83" fmla="*/ 171450 h 5486399"/>
              <a:gd name="connsiteX84" fmla="*/ 2400300 w 5486399"/>
              <a:gd name="connsiteY84" fmla="*/ 171450 h 5486399"/>
              <a:gd name="connsiteX85" fmla="*/ 685800 w 5486399"/>
              <a:gd name="connsiteY85" fmla="*/ 0 h 5486399"/>
              <a:gd name="connsiteX86" fmla="*/ 2228850 w 5486399"/>
              <a:gd name="connsiteY86" fmla="*/ 0 h 5486399"/>
              <a:gd name="connsiteX87" fmla="*/ 2228850 w 5486399"/>
              <a:gd name="connsiteY87" fmla="*/ 1457325 h 5486399"/>
              <a:gd name="connsiteX88" fmla="*/ 1800225 w 5486399"/>
              <a:gd name="connsiteY88" fmla="*/ 1131570 h 5486399"/>
              <a:gd name="connsiteX89" fmla="*/ 1371600 w 5486399"/>
              <a:gd name="connsiteY89" fmla="*/ 1457325 h 5486399"/>
              <a:gd name="connsiteX90" fmla="*/ 1371600 w 5486399"/>
              <a:gd name="connsiteY90" fmla="*/ 171450 h 5486399"/>
              <a:gd name="connsiteX91" fmla="*/ 857250 w 5486399"/>
              <a:gd name="connsiteY91" fmla="*/ 171450 h 5486399"/>
              <a:gd name="connsiteX92" fmla="*/ 857250 w 5486399"/>
              <a:gd name="connsiteY92" fmla="*/ 3429001 h 5486399"/>
              <a:gd name="connsiteX93" fmla="*/ 3086100 w 5486399"/>
              <a:gd name="connsiteY93" fmla="*/ 3429001 h 5486399"/>
              <a:gd name="connsiteX94" fmla="*/ 3086100 w 5486399"/>
              <a:gd name="connsiteY94" fmla="*/ 3206116 h 5486399"/>
              <a:gd name="connsiteX95" fmla="*/ 2914650 w 5486399"/>
              <a:gd name="connsiteY95" fmla="*/ 3034666 h 5486399"/>
              <a:gd name="connsiteX96" fmla="*/ 2914650 w 5486399"/>
              <a:gd name="connsiteY96" fmla="*/ 2743201 h 5486399"/>
              <a:gd name="connsiteX97" fmla="*/ 4114800 w 5486399"/>
              <a:gd name="connsiteY97" fmla="*/ 2743201 h 5486399"/>
              <a:gd name="connsiteX98" fmla="*/ 4114800 w 5486399"/>
              <a:gd name="connsiteY98" fmla="*/ 3034666 h 5486399"/>
              <a:gd name="connsiteX99" fmla="*/ 3943350 w 5486399"/>
              <a:gd name="connsiteY99" fmla="*/ 3206116 h 5486399"/>
              <a:gd name="connsiteX100" fmla="*/ 3943350 w 5486399"/>
              <a:gd name="connsiteY100" fmla="*/ 4166236 h 5486399"/>
              <a:gd name="connsiteX101" fmla="*/ 4114800 w 5486399"/>
              <a:gd name="connsiteY101" fmla="*/ 4337686 h 5486399"/>
              <a:gd name="connsiteX102" fmla="*/ 4114800 w 5486399"/>
              <a:gd name="connsiteY102" fmla="*/ 4629151 h 5486399"/>
              <a:gd name="connsiteX103" fmla="*/ 2914650 w 5486399"/>
              <a:gd name="connsiteY103" fmla="*/ 4629151 h 5486399"/>
              <a:gd name="connsiteX104" fmla="*/ 2914650 w 5486399"/>
              <a:gd name="connsiteY104" fmla="*/ 4337686 h 5486399"/>
              <a:gd name="connsiteX105" fmla="*/ 3086100 w 5486399"/>
              <a:gd name="connsiteY105" fmla="*/ 4166236 h 5486399"/>
              <a:gd name="connsiteX106" fmla="*/ 3086100 w 5486399"/>
              <a:gd name="connsiteY106" fmla="*/ 3943351 h 5486399"/>
              <a:gd name="connsiteX107" fmla="*/ 0 w 5486399"/>
              <a:gd name="connsiteY107" fmla="*/ 3943351 h 5486399"/>
              <a:gd name="connsiteX108" fmla="*/ 0 w 5486399"/>
              <a:gd name="connsiteY108" fmla="*/ 3429001 h 5486399"/>
              <a:gd name="connsiteX109" fmla="*/ 685800 w 5486399"/>
              <a:gd name="connsiteY109" fmla="*/ 3429001 h 5486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5486399" h="5486399">
                <a:moveTo>
                  <a:pt x="2400300" y="4457699"/>
                </a:moveTo>
                <a:lnTo>
                  <a:pt x="2571751" y="4457699"/>
                </a:lnTo>
                <a:lnTo>
                  <a:pt x="2571751" y="4629150"/>
                </a:lnTo>
                <a:lnTo>
                  <a:pt x="2400300" y="4629150"/>
                </a:lnTo>
                <a:close/>
                <a:moveTo>
                  <a:pt x="2057400" y="4457699"/>
                </a:moveTo>
                <a:lnTo>
                  <a:pt x="2228851" y="4457699"/>
                </a:lnTo>
                <a:lnTo>
                  <a:pt x="2228851" y="4629150"/>
                </a:lnTo>
                <a:lnTo>
                  <a:pt x="2057400" y="4629150"/>
                </a:lnTo>
                <a:close/>
                <a:moveTo>
                  <a:pt x="1714500" y="4457699"/>
                </a:moveTo>
                <a:lnTo>
                  <a:pt x="1885951" y="4457699"/>
                </a:lnTo>
                <a:lnTo>
                  <a:pt x="1885951" y="4629150"/>
                </a:lnTo>
                <a:lnTo>
                  <a:pt x="1714500" y="4629150"/>
                </a:lnTo>
                <a:close/>
                <a:moveTo>
                  <a:pt x="3206115" y="4286251"/>
                </a:moveTo>
                <a:lnTo>
                  <a:pt x="3086100" y="4406266"/>
                </a:lnTo>
                <a:lnTo>
                  <a:pt x="3086100" y="4457701"/>
                </a:lnTo>
                <a:lnTo>
                  <a:pt x="3943350" y="4457701"/>
                </a:lnTo>
                <a:lnTo>
                  <a:pt x="3943350" y="4406266"/>
                </a:lnTo>
                <a:lnTo>
                  <a:pt x="3823335" y="4286251"/>
                </a:lnTo>
                <a:close/>
                <a:moveTo>
                  <a:pt x="685799" y="4114799"/>
                </a:moveTo>
                <a:lnTo>
                  <a:pt x="857249" y="4114799"/>
                </a:lnTo>
                <a:lnTo>
                  <a:pt x="857249" y="5314949"/>
                </a:lnTo>
                <a:lnTo>
                  <a:pt x="5314949" y="5314949"/>
                </a:lnTo>
                <a:lnTo>
                  <a:pt x="5314949" y="4972049"/>
                </a:lnTo>
                <a:lnTo>
                  <a:pt x="1885949" y="4972049"/>
                </a:lnTo>
                <a:lnTo>
                  <a:pt x="1885949" y="5143499"/>
                </a:lnTo>
                <a:lnTo>
                  <a:pt x="1714499" y="5143499"/>
                </a:lnTo>
                <a:lnTo>
                  <a:pt x="1714499" y="4800599"/>
                </a:lnTo>
                <a:lnTo>
                  <a:pt x="5486399" y="4800599"/>
                </a:lnTo>
                <a:lnTo>
                  <a:pt x="5486399" y="5486399"/>
                </a:lnTo>
                <a:lnTo>
                  <a:pt x="685799" y="5486399"/>
                </a:lnTo>
                <a:close/>
                <a:moveTo>
                  <a:pt x="1543050" y="3600451"/>
                </a:moveTo>
                <a:lnTo>
                  <a:pt x="1543050" y="3771901"/>
                </a:lnTo>
                <a:lnTo>
                  <a:pt x="3086100" y="3771901"/>
                </a:lnTo>
                <a:lnTo>
                  <a:pt x="3086100" y="3600451"/>
                </a:lnTo>
                <a:close/>
                <a:moveTo>
                  <a:pt x="1200150" y="3600451"/>
                </a:moveTo>
                <a:lnTo>
                  <a:pt x="1200150" y="3771901"/>
                </a:lnTo>
                <a:lnTo>
                  <a:pt x="1371600" y="3771901"/>
                </a:lnTo>
                <a:lnTo>
                  <a:pt x="1371600" y="3600451"/>
                </a:lnTo>
                <a:close/>
                <a:moveTo>
                  <a:pt x="857250" y="3600451"/>
                </a:moveTo>
                <a:lnTo>
                  <a:pt x="857250" y="3771901"/>
                </a:lnTo>
                <a:lnTo>
                  <a:pt x="1028700" y="3771901"/>
                </a:lnTo>
                <a:lnTo>
                  <a:pt x="1028700" y="3600451"/>
                </a:lnTo>
                <a:close/>
                <a:moveTo>
                  <a:pt x="514350" y="3600451"/>
                </a:moveTo>
                <a:lnTo>
                  <a:pt x="514350" y="3771901"/>
                </a:lnTo>
                <a:lnTo>
                  <a:pt x="685800" y="3771901"/>
                </a:lnTo>
                <a:lnTo>
                  <a:pt x="685800" y="3600451"/>
                </a:lnTo>
                <a:close/>
                <a:moveTo>
                  <a:pt x="171450" y="3600451"/>
                </a:moveTo>
                <a:lnTo>
                  <a:pt x="171450" y="3771901"/>
                </a:lnTo>
                <a:lnTo>
                  <a:pt x="342900" y="3771901"/>
                </a:lnTo>
                <a:lnTo>
                  <a:pt x="342900" y="3600451"/>
                </a:lnTo>
                <a:close/>
                <a:moveTo>
                  <a:pt x="3257550" y="3257551"/>
                </a:moveTo>
                <a:lnTo>
                  <a:pt x="3257550" y="4114801"/>
                </a:lnTo>
                <a:lnTo>
                  <a:pt x="3771900" y="4114801"/>
                </a:lnTo>
                <a:lnTo>
                  <a:pt x="3771900" y="3257551"/>
                </a:lnTo>
                <a:close/>
                <a:moveTo>
                  <a:pt x="3086100" y="2914651"/>
                </a:moveTo>
                <a:lnTo>
                  <a:pt x="3086100" y="2966086"/>
                </a:lnTo>
                <a:lnTo>
                  <a:pt x="3206115" y="3086101"/>
                </a:lnTo>
                <a:lnTo>
                  <a:pt x="3823335" y="3086101"/>
                </a:lnTo>
                <a:lnTo>
                  <a:pt x="3943350" y="2966086"/>
                </a:lnTo>
                <a:lnTo>
                  <a:pt x="3943350" y="2914651"/>
                </a:lnTo>
                <a:close/>
                <a:moveTo>
                  <a:pt x="1371600" y="2228849"/>
                </a:moveTo>
                <a:lnTo>
                  <a:pt x="4114800" y="2228849"/>
                </a:lnTo>
                <a:lnTo>
                  <a:pt x="4114800" y="2400300"/>
                </a:lnTo>
                <a:lnTo>
                  <a:pt x="1371600" y="2400300"/>
                </a:lnTo>
                <a:close/>
                <a:moveTo>
                  <a:pt x="1371600" y="1605732"/>
                </a:moveTo>
                <a:lnTo>
                  <a:pt x="4114800" y="1605732"/>
                </a:lnTo>
                <a:lnTo>
                  <a:pt x="4114800" y="1777183"/>
                </a:lnTo>
                <a:lnTo>
                  <a:pt x="1371600" y="1777183"/>
                </a:lnTo>
                <a:close/>
                <a:moveTo>
                  <a:pt x="4114800" y="291465"/>
                </a:moveTo>
                <a:lnTo>
                  <a:pt x="4114800" y="685800"/>
                </a:lnTo>
                <a:lnTo>
                  <a:pt x="4509135" y="685800"/>
                </a:lnTo>
                <a:close/>
                <a:moveTo>
                  <a:pt x="1543050" y="171450"/>
                </a:moveTo>
                <a:lnTo>
                  <a:pt x="1543050" y="1114425"/>
                </a:lnTo>
                <a:lnTo>
                  <a:pt x="1800225" y="917257"/>
                </a:lnTo>
                <a:lnTo>
                  <a:pt x="2057400" y="1114425"/>
                </a:lnTo>
                <a:lnTo>
                  <a:pt x="2057400" y="171450"/>
                </a:lnTo>
                <a:close/>
                <a:moveTo>
                  <a:pt x="2400300" y="0"/>
                </a:moveTo>
                <a:lnTo>
                  <a:pt x="4063365" y="0"/>
                </a:lnTo>
                <a:lnTo>
                  <a:pt x="4800600" y="737235"/>
                </a:lnTo>
                <a:lnTo>
                  <a:pt x="4800600" y="4629151"/>
                </a:lnTo>
                <a:lnTo>
                  <a:pt x="4629150" y="4629151"/>
                </a:lnTo>
                <a:lnTo>
                  <a:pt x="4629150" y="857250"/>
                </a:lnTo>
                <a:lnTo>
                  <a:pt x="3943350" y="857250"/>
                </a:lnTo>
                <a:lnTo>
                  <a:pt x="3943350" y="171450"/>
                </a:lnTo>
                <a:lnTo>
                  <a:pt x="2400300" y="171450"/>
                </a:lnTo>
                <a:close/>
                <a:moveTo>
                  <a:pt x="685800" y="0"/>
                </a:moveTo>
                <a:lnTo>
                  <a:pt x="2228850" y="0"/>
                </a:lnTo>
                <a:lnTo>
                  <a:pt x="2228850" y="1457325"/>
                </a:lnTo>
                <a:lnTo>
                  <a:pt x="1800225" y="1131570"/>
                </a:lnTo>
                <a:lnTo>
                  <a:pt x="1371600" y="1457325"/>
                </a:lnTo>
                <a:lnTo>
                  <a:pt x="1371600" y="171450"/>
                </a:lnTo>
                <a:lnTo>
                  <a:pt x="857250" y="171450"/>
                </a:lnTo>
                <a:lnTo>
                  <a:pt x="857250" y="3429001"/>
                </a:lnTo>
                <a:lnTo>
                  <a:pt x="3086100" y="3429001"/>
                </a:lnTo>
                <a:lnTo>
                  <a:pt x="3086100" y="3206116"/>
                </a:lnTo>
                <a:lnTo>
                  <a:pt x="2914650" y="3034666"/>
                </a:lnTo>
                <a:lnTo>
                  <a:pt x="2914650" y="2743201"/>
                </a:lnTo>
                <a:lnTo>
                  <a:pt x="4114800" y="2743201"/>
                </a:lnTo>
                <a:lnTo>
                  <a:pt x="4114800" y="3034666"/>
                </a:lnTo>
                <a:lnTo>
                  <a:pt x="3943350" y="3206116"/>
                </a:lnTo>
                <a:lnTo>
                  <a:pt x="3943350" y="4166236"/>
                </a:lnTo>
                <a:lnTo>
                  <a:pt x="4114800" y="4337686"/>
                </a:lnTo>
                <a:lnTo>
                  <a:pt x="4114800" y="4629151"/>
                </a:lnTo>
                <a:lnTo>
                  <a:pt x="2914650" y="4629151"/>
                </a:lnTo>
                <a:lnTo>
                  <a:pt x="2914650" y="4337686"/>
                </a:lnTo>
                <a:lnTo>
                  <a:pt x="3086100" y="4166236"/>
                </a:lnTo>
                <a:lnTo>
                  <a:pt x="3086100" y="3943351"/>
                </a:lnTo>
                <a:lnTo>
                  <a:pt x="0" y="3943351"/>
                </a:lnTo>
                <a:lnTo>
                  <a:pt x="0" y="3429001"/>
                </a:lnTo>
                <a:lnTo>
                  <a:pt x="685800" y="3429001"/>
                </a:lnTo>
                <a:close/>
              </a:path>
            </a:pathLst>
          </a:custGeom>
          <a:solidFill>
            <a:schemeClr val="bg2">
              <a:lumMod val="60000"/>
              <a:lumOff val="40000"/>
            </a:schemeClr>
          </a:solid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latin typeface="Calibri" panose="020F0502020204030204"/>
              <a:cs typeface="+mn-cs"/>
            </a:endParaRPr>
          </a:p>
        </p:txBody>
      </p:sp>
    </p:spTree>
    <p:extLst>
      <p:ext uri="{BB962C8B-B14F-4D97-AF65-F5344CB8AC3E}">
        <p14:creationId xmlns:p14="http://schemas.microsoft.com/office/powerpoint/2010/main" val="31667237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143444"/>
            <a:ext cx="8106305" cy="513211"/>
          </a:xfrm>
        </p:spPr>
        <p:txBody>
          <a:bodyPr/>
          <a:lstStyle/>
          <a:p>
            <a:r>
              <a:rPr lang="en-US" sz="2100"/>
              <a:t>Capture &amp; Acquire</a:t>
            </a:r>
            <a:endParaRPr lang="en-IN" sz="2100"/>
          </a:p>
        </p:txBody>
      </p:sp>
      <p:pic>
        <p:nvPicPr>
          <p:cNvPr id="3" name="Picture 2">
            <a:extLst>
              <a:ext uri="{FF2B5EF4-FFF2-40B4-BE49-F238E27FC236}">
                <a16:creationId xmlns:a16="http://schemas.microsoft.com/office/drawing/2014/main" id="{8C7B7B2E-FD70-A6AA-28A2-A67C6D914DE0}"/>
              </a:ext>
            </a:extLst>
          </p:cNvPr>
          <p:cNvPicPr>
            <a:picLocks noChangeAspect="1"/>
          </p:cNvPicPr>
          <p:nvPr/>
        </p:nvPicPr>
        <p:blipFill>
          <a:blip r:embed="rId3"/>
          <a:stretch>
            <a:fillRect/>
          </a:stretch>
        </p:blipFill>
        <p:spPr>
          <a:xfrm>
            <a:off x="324018" y="993199"/>
            <a:ext cx="4409513" cy="2962786"/>
          </a:xfrm>
          <a:prstGeom prst="rect">
            <a:avLst/>
          </a:prstGeom>
        </p:spPr>
      </p:pic>
      <p:sp>
        <p:nvSpPr>
          <p:cNvPr id="4" name="Oval 3">
            <a:extLst>
              <a:ext uri="{FF2B5EF4-FFF2-40B4-BE49-F238E27FC236}">
                <a16:creationId xmlns:a16="http://schemas.microsoft.com/office/drawing/2014/main" id="{25275F7F-2715-776C-084D-D31BA3AE6804}"/>
              </a:ext>
            </a:extLst>
          </p:cNvPr>
          <p:cNvSpPr/>
          <p:nvPr/>
        </p:nvSpPr>
        <p:spPr>
          <a:xfrm>
            <a:off x="1466491" y="2255157"/>
            <a:ext cx="776377" cy="4388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Text Placeholder 4">
            <a:extLst>
              <a:ext uri="{FF2B5EF4-FFF2-40B4-BE49-F238E27FC236}">
                <a16:creationId xmlns:a16="http://schemas.microsoft.com/office/drawing/2014/main" id="{E40120BA-C257-652F-4C21-E48BFA41697D}"/>
              </a:ext>
            </a:extLst>
          </p:cNvPr>
          <p:cNvSpPr txBox="1">
            <a:spLocks/>
          </p:cNvSpPr>
          <p:nvPr/>
        </p:nvSpPr>
        <p:spPr>
          <a:xfrm>
            <a:off x="5833704" y="2038350"/>
            <a:ext cx="3417241" cy="443819"/>
          </a:xfrm>
          <a:prstGeom prst="rect">
            <a:avLst/>
          </a:prstGeom>
        </p:spPr>
        <p:txBody>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600" b="1">
                <a:solidFill>
                  <a:schemeClr val="bg2"/>
                </a:solidFill>
                <a:ea typeface="PS TT Commons DemiBold" charset="0"/>
              </a:rPr>
              <a:t>Prioritize Data Quality</a:t>
            </a:r>
            <a:endParaRPr lang="en-US" sz="1600">
              <a:solidFill>
                <a:schemeClr val="bg2"/>
              </a:solidFill>
            </a:endParaRPr>
          </a:p>
        </p:txBody>
      </p:sp>
      <p:sp>
        <p:nvSpPr>
          <p:cNvPr id="11" name="Text Placeholder 6">
            <a:extLst>
              <a:ext uri="{FF2B5EF4-FFF2-40B4-BE49-F238E27FC236}">
                <a16:creationId xmlns:a16="http://schemas.microsoft.com/office/drawing/2014/main" id="{AE7AABF7-19D7-C306-5632-D55CA289A8BD}"/>
              </a:ext>
            </a:extLst>
          </p:cNvPr>
          <p:cNvSpPr txBox="1">
            <a:spLocks/>
          </p:cNvSpPr>
          <p:nvPr/>
        </p:nvSpPr>
        <p:spPr>
          <a:xfrm>
            <a:off x="5830282" y="2959440"/>
            <a:ext cx="2882665" cy="443819"/>
          </a:xfrm>
          <a:prstGeom prst="rect">
            <a:avLst/>
          </a:prstGeom>
          <a:ln>
            <a:noFill/>
          </a:ln>
        </p:spPr>
        <p:txBody>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base" latinLnBrk="0" hangingPunct="1">
              <a:lnSpc>
                <a:spcPct val="90000"/>
              </a:lnSpc>
              <a:spcBef>
                <a:spcPts val="750"/>
              </a:spcBef>
              <a:spcAft>
                <a:spcPct val="0"/>
              </a:spcAft>
              <a:buClr>
                <a:srgbClr val="009845"/>
              </a:buClr>
              <a:buSzTx/>
              <a:buFont typeface="Arial" charset="0"/>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PS TT Commons DemiBold" charset="0"/>
                <a:cs typeface="Arial" panose="020B0604020202020204" pitchFamily="34" charset="0"/>
                <a:sym typeface="Arial" panose="020B0604020202020204" pitchFamily="34" charset="0"/>
              </a:rPr>
              <a:t>Filter Out Noise</a:t>
            </a:r>
            <a:endParaRPr kumimoji="0" lang="en-US" sz="1600" b="0" i="0" u="none" strike="noStrike" kern="1200" cap="none" spc="0" normalizeH="0" baseline="0" noProof="0">
              <a:ln>
                <a:noFill/>
              </a:ln>
              <a:solidFill>
                <a:schemeClr val="bg2"/>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3" name="Text Placeholder 5">
            <a:extLst>
              <a:ext uri="{FF2B5EF4-FFF2-40B4-BE49-F238E27FC236}">
                <a16:creationId xmlns:a16="http://schemas.microsoft.com/office/drawing/2014/main" id="{5CD97C4C-92E9-31F2-19C5-2B6A8B0A3DE6}"/>
              </a:ext>
            </a:extLst>
          </p:cNvPr>
          <p:cNvSpPr txBox="1">
            <a:spLocks/>
          </p:cNvSpPr>
          <p:nvPr/>
        </p:nvSpPr>
        <p:spPr>
          <a:xfrm>
            <a:off x="5763407" y="3761179"/>
            <a:ext cx="2882665" cy="320040"/>
          </a:xfrm>
          <a:prstGeom prst="rect">
            <a:avLst/>
          </a:prstGeom>
        </p:spPr>
        <p:txBody>
          <a:bodyPr vert="horz" lIns="182880" tIns="0" rIns="182880" bIns="0" rtlCol="0">
            <a:noAutofit/>
          </a:bodyPr>
          <a:lstStyle>
            <a:lvl1pPr marL="0" indent="0" algn="ctr" defTabSz="685800" rtl="0" eaLnBrk="1" fontAlgn="base" hangingPunct="1">
              <a:lnSpc>
                <a:spcPct val="100000"/>
              </a:lnSpc>
              <a:spcBef>
                <a:spcPts val="0"/>
              </a:spcBef>
              <a:spcAft>
                <a:spcPct val="0"/>
              </a:spcAft>
              <a:buClr>
                <a:schemeClr val="accent5"/>
              </a:buClr>
              <a:buFont typeface="Arial" charset="0"/>
              <a:buNone/>
              <a:defRPr sz="1700" b="0" i="0" kern="1200">
                <a:solidFill>
                  <a:schemeClr val="tx1"/>
                </a:solidFill>
                <a:latin typeface="+mn-lt"/>
                <a:ea typeface="PS TT Commons Light" charset="0"/>
                <a:cs typeface="PS TT Commons Light" charset="0"/>
                <a:sym typeface="Arial" panose="020B0604020202020204" pitchFamily="34" charset="0"/>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base" latinLnBrk="0" hangingPunct="1">
              <a:lnSpc>
                <a:spcPct val="100000"/>
              </a:lnSpc>
              <a:spcBef>
                <a:spcPts val="0"/>
              </a:spcBef>
              <a:spcAft>
                <a:spcPct val="0"/>
              </a:spcAft>
              <a:buClr>
                <a:srgbClr val="009845"/>
              </a:buClr>
              <a:buSzTx/>
              <a:buFont typeface="Arial" charset="0"/>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PS TT Commons DemiBold" charset="0"/>
                <a:cs typeface="Arial" panose="020B0604020202020204" pitchFamily="34" charset="0"/>
                <a:sym typeface="Arial" panose="020B0604020202020204" pitchFamily="34" charset="0"/>
              </a:rPr>
              <a:t>Ensure Data Context</a:t>
            </a:r>
          </a:p>
        </p:txBody>
      </p:sp>
      <p:sp>
        <p:nvSpPr>
          <p:cNvPr id="15" name="Text Placeholder 4">
            <a:extLst>
              <a:ext uri="{FF2B5EF4-FFF2-40B4-BE49-F238E27FC236}">
                <a16:creationId xmlns:a16="http://schemas.microsoft.com/office/drawing/2014/main" id="{CDE4E18F-D090-8D37-43A6-990A36D3B769}"/>
              </a:ext>
            </a:extLst>
          </p:cNvPr>
          <p:cNvSpPr txBox="1">
            <a:spLocks/>
          </p:cNvSpPr>
          <p:nvPr/>
        </p:nvSpPr>
        <p:spPr>
          <a:xfrm>
            <a:off x="5735571" y="954096"/>
            <a:ext cx="2882665" cy="443818"/>
          </a:xfrm>
          <a:prstGeom prst="rect">
            <a:avLst/>
          </a:prstGeom>
        </p:spPr>
        <p:txBody>
          <a:bodyPr vert="horz" lIns="182880" tIns="0" rIns="182880" bIns="0" rtlCol="0">
            <a:noAutofit/>
          </a:bodyPr>
          <a:lstStyle>
            <a:lvl1pPr marL="0" indent="0" algn="ctr" defTabSz="685800" rtl="0" eaLnBrk="1" fontAlgn="base" hangingPunct="1">
              <a:lnSpc>
                <a:spcPct val="100000"/>
              </a:lnSpc>
              <a:spcBef>
                <a:spcPts val="0"/>
              </a:spcBef>
              <a:spcAft>
                <a:spcPct val="0"/>
              </a:spcAft>
              <a:buClr>
                <a:schemeClr val="accent5"/>
              </a:buClr>
              <a:buFont typeface="Arial" charset="0"/>
              <a:buNone/>
              <a:defRPr sz="1700" b="0" i="0" kern="1200">
                <a:solidFill>
                  <a:schemeClr val="tx1"/>
                </a:solidFill>
                <a:latin typeface="+mn-lt"/>
                <a:ea typeface="PS TT Commons Light" charset="0"/>
                <a:cs typeface="PS TT Commons Light" charset="0"/>
                <a:sym typeface="Arial" panose="020B0604020202020204" pitchFamily="34" charset="0"/>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base" latinLnBrk="0" hangingPunct="1">
              <a:lnSpc>
                <a:spcPct val="100000"/>
              </a:lnSpc>
              <a:spcBef>
                <a:spcPts val="0"/>
              </a:spcBef>
              <a:spcAft>
                <a:spcPct val="0"/>
              </a:spcAft>
              <a:buClr>
                <a:srgbClr val="009845"/>
              </a:buClr>
              <a:buSzTx/>
              <a:buFont typeface="Arial" charset="0"/>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cs typeface="Arial" panose="020B0604020202020204" pitchFamily="34" charset="0"/>
                <a:sym typeface="Arial" panose="020B0604020202020204" pitchFamily="34" charset="0"/>
              </a:rPr>
              <a:t>Ensure Systemic Data Collection</a:t>
            </a:r>
            <a:endParaRPr kumimoji="0" lang="en-US" sz="1600" b="0" i="0" u="none" strike="noStrike" kern="1200" cap="none" spc="0" normalizeH="0" baseline="0" noProof="0">
              <a:ln>
                <a:noFill/>
              </a:ln>
              <a:solidFill>
                <a:schemeClr val="bg2"/>
              </a:solidFill>
              <a:effectLst/>
              <a:uLnTx/>
              <a:uFillTx/>
              <a:latin typeface="Arial" panose="020B0604020202020204" pitchFamily="34" charset="0"/>
              <a:cs typeface="Arial" panose="020B0604020202020204" pitchFamily="34" charset="0"/>
              <a:sym typeface="Arial" panose="020B0604020202020204" pitchFamily="34" charset="0"/>
            </a:endParaRPr>
          </a:p>
        </p:txBody>
      </p:sp>
      <p:pic>
        <p:nvPicPr>
          <p:cNvPr id="24" name="Graphic 23" descr="Magnifying glass with solid fill">
            <a:extLst>
              <a:ext uri="{FF2B5EF4-FFF2-40B4-BE49-F238E27FC236}">
                <a16:creationId xmlns:a16="http://schemas.microsoft.com/office/drawing/2014/main" id="{8A60DF61-3376-26B8-465C-E0A753261C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60281" y="3690950"/>
            <a:ext cx="640080" cy="640080"/>
          </a:xfrm>
          <a:prstGeom prst="rect">
            <a:avLst/>
          </a:prstGeom>
        </p:spPr>
      </p:pic>
      <p:pic>
        <p:nvPicPr>
          <p:cNvPr id="26" name="Graphic 25" descr="Checkmark with solid fill">
            <a:extLst>
              <a:ext uri="{FF2B5EF4-FFF2-40B4-BE49-F238E27FC236}">
                <a16:creationId xmlns:a16="http://schemas.microsoft.com/office/drawing/2014/main" id="{04A29D0F-A9F5-BD54-8552-AF95EC5B19B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19526" y="1990496"/>
            <a:ext cx="640080" cy="640080"/>
          </a:xfrm>
          <a:prstGeom prst="rect">
            <a:avLst/>
          </a:prstGeom>
        </p:spPr>
      </p:pic>
      <p:pic>
        <p:nvPicPr>
          <p:cNvPr id="27" name="Graphic 26" descr="Network with solid fill">
            <a:extLst>
              <a:ext uri="{FF2B5EF4-FFF2-40B4-BE49-F238E27FC236}">
                <a16:creationId xmlns:a16="http://schemas.microsoft.com/office/drawing/2014/main" id="{1B490FE8-1CB0-DC3E-BC9B-374D27B13FB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095243" y="903513"/>
            <a:ext cx="640080" cy="640080"/>
          </a:xfrm>
          <a:prstGeom prst="rect">
            <a:avLst/>
          </a:prstGeom>
        </p:spPr>
      </p:pic>
      <p:pic>
        <p:nvPicPr>
          <p:cNvPr id="31" name="Graphic 30">
            <a:extLst>
              <a:ext uri="{FF2B5EF4-FFF2-40B4-BE49-F238E27FC236}">
                <a16:creationId xmlns:a16="http://schemas.microsoft.com/office/drawing/2014/main" id="{4FD21888-C612-953A-08B6-D26D88537C1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036526" y="2788733"/>
            <a:ext cx="731520" cy="731520"/>
          </a:xfrm>
          <a:prstGeom prst="rect">
            <a:avLst/>
          </a:prstGeom>
        </p:spPr>
      </p:pic>
    </p:spTree>
    <p:extLst>
      <p:ext uri="{BB962C8B-B14F-4D97-AF65-F5344CB8AC3E}">
        <p14:creationId xmlns:p14="http://schemas.microsoft.com/office/powerpoint/2010/main" val="3874228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subTnLst>
                                    <p:animClr clrSpc="rgb" dir="cw">
                                      <p:cBhvr override="childStyle">
                                        <p:cTn dur="1" fill="hold" display="0" masterRel="nextClick" afterEffect="1"/>
                                        <p:tgtEl>
                                          <p:spTgt spid="15"/>
                                        </p:tgtEl>
                                        <p:attrNameLst>
                                          <p:attrName>ppt_c</p:attrName>
                                        </p:attrNameLst>
                                      </p:cBhvr>
                                      <p:to>
                                        <a:schemeClr val="tx1"/>
                                      </p:to>
                                    </p:animClr>
                                  </p:subTnLst>
                                </p:cTn>
                              </p:par>
                              <p:par>
                                <p:cTn id="7" presetID="1" presetClass="entr" presetSubtype="0" fill="hold"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subTnLst>
                                    <p:animClr clrSpc="rgb" dir="cw">
                                      <p:cBhvr override="childStyle">
                                        <p:cTn dur="1" fill="hold" display="0" masterRel="nextClick" afterEffect="1"/>
                                        <p:tgtEl>
                                          <p:spTgt spid="27"/>
                                        </p:tgtEl>
                                        <p:attrNameLst>
                                          <p:attrName>ppt_c</p:attrName>
                                        </p:attrNameLst>
                                      </p:cBhvr>
                                      <p:to>
                                        <a:srgbClr val="B2B2B2"/>
                                      </p:to>
                                    </p:animClr>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subTnLst>
                                    <p:animClr clrSpc="rgb" dir="cw">
                                      <p:cBhvr override="childStyle">
                                        <p:cTn dur="1" fill="hold" display="0" masterRel="nextClick" afterEffect="1"/>
                                        <p:tgtEl>
                                          <p:spTgt spid="9"/>
                                        </p:tgtEl>
                                        <p:attrNameLst>
                                          <p:attrName>ppt_c</p:attrName>
                                        </p:attrNameLst>
                                      </p:cBhvr>
                                      <p:to>
                                        <a:schemeClr val="tx1"/>
                                      </p:to>
                                    </p:animClr>
                                  </p:subTnLst>
                                </p:cTn>
                              </p:par>
                              <p:par>
                                <p:cTn id="13" presetID="1" presetClass="entr" presetSubtype="0"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subTnLst>
                                    <p:animClr clrSpc="rgb" dir="cw">
                                      <p:cBhvr override="childStyle">
                                        <p:cTn dur="1" fill="hold" display="0" masterRel="nextClick" afterEffect="1"/>
                                        <p:tgtEl>
                                          <p:spTgt spid="26"/>
                                        </p:tgtEl>
                                        <p:attrNameLst>
                                          <p:attrName>ppt_c</p:attrName>
                                        </p:attrNameLst>
                                      </p:cBhvr>
                                      <p:to>
                                        <a:srgbClr val="B2B2B2"/>
                                      </p:to>
                                    </p:animClr>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subTnLst>
                                    <p:animClr clrSpc="rgb" dir="cw">
                                      <p:cBhvr override="childStyle">
                                        <p:cTn dur="1" fill="hold" display="0" masterRel="nextClick" afterEffect="1"/>
                                        <p:tgtEl>
                                          <p:spTgt spid="11"/>
                                        </p:tgtEl>
                                        <p:attrNameLst>
                                          <p:attrName>ppt_c</p:attrName>
                                        </p:attrNameLst>
                                      </p:cBhvr>
                                      <p:to>
                                        <a:schemeClr val="tx1"/>
                                      </p:to>
                                    </p:animClr>
                                  </p:subTnLst>
                                </p:cTn>
                              </p:par>
                              <p:par>
                                <p:cTn id="19" presetID="1" presetClass="entr" presetSubtype="0" fill="hold"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subTnLst>
                                    <p:animClr clrSpc="rgb" dir="cw">
                                      <p:cBhvr override="childStyle">
                                        <p:cTn dur="1" fill="hold" display="0" masterRel="nextClick" afterEffect="1"/>
                                        <p:tgtEl>
                                          <p:spTgt spid="31"/>
                                        </p:tgtEl>
                                        <p:attrNameLst>
                                          <p:attrName>ppt_c</p:attrName>
                                        </p:attrNameLst>
                                      </p:cBhvr>
                                      <p:to>
                                        <a:srgbClr val="B2B2B2"/>
                                      </p:to>
                                    </p:animClr>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subTnLst>
                                    <p:animClr clrSpc="rgb" dir="cw">
                                      <p:cBhvr override="childStyle">
                                        <p:cTn dur="1" fill="hold" display="0" masterRel="nextClick" afterEffect="1"/>
                                        <p:tgtEl>
                                          <p:spTgt spid="13"/>
                                        </p:tgtEl>
                                        <p:attrNameLst>
                                          <p:attrName>ppt_c</p:attrName>
                                        </p:attrNameLst>
                                      </p:cBhvr>
                                      <p:to>
                                        <a:schemeClr val="tx1"/>
                                      </p:to>
                                    </p:animClr>
                                  </p:subTnLst>
                                </p:cTn>
                              </p:par>
                              <p:par>
                                <p:cTn id="25" presetID="1" presetClass="entr" presetSubtype="0" fill="hold"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subTnLst>
                                    <p:animClr clrSpc="rgb" dir="cw">
                                      <p:cBhvr override="childStyle">
                                        <p:cTn dur="1" fill="hold" display="0" masterRel="nextClick" afterEffect="1"/>
                                        <p:tgtEl>
                                          <p:spTgt spid="24"/>
                                        </p:tgtEl>
                                        <p:attrNameLst>
                                          <p:attrName>ppt_c</p:attrName>
                                        </p:attrNameLst>
                                      </p:cBhvr>
                                      <p:to>
                                        <a:srgbClr val="B2B2B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3" grpId="0"/>
      <p:bldP spid="1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B3F7AB-ACD3-7E7B-40A1-98AD06B5A9BB}"/>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45E6EBBF-7ACF-3C84-5759-8E284A78CBED}"/>
              </a:ext>
            </a:extLst>
          </p:cNvPr>
          <p:cNvSpPr>
            <a:spLocks noGrp="1"/>
          </p:cNvSpPr>
          <p:nvPr>
            <p:ph type="title"/>
          </p:nvPr>
        </p:nvSpPr>
        <p:spPr>
          <a:xfrm>
            <a:off x="504294" y="133605"/>
            <a:ext cx="8525406" cy="513211"/>
          </a:xfrm>
        </p:spPr>
        <p:txBody>
          <a:bodyPr/>
          <a:lstStyle/>
          <a:p>
            <a:r>
              <a:rPr lang="en-US" sz="2100"/>
              <a:t>Ensure Systemic Data Collection</a:t>
            </a:r>
          </a:p>
        </p:txBody>
      </p:sp>
      <p:grpSp>
        <p:nvGrpSpPr>
          <p:cNvPr id="17" name="Group 16">
            <a:extLst>
              <a:ext uri="{FF2B5EF4-FFF2-40B4-BE49-F238E27FC236}">
                <a16:creationId xmlns:a16="http://schemas.microsoft.com/office/drawing/2014/main" id="{6270298B-994F-3F34-03D8-0F3E2FD565B4}"/>
              </a:ext>
            </a:extLst>
          </p:cNvPr>
          <p:cNvGrpSpPr/>
          <p:nvPr/>
        </p:nvGrpSpPr>
        <p:grpSpPr>
          <a:xfrm>
            <a:off x="2458662" y="1252272"/>
            <a:ext cx="2177355" cy="2728458"/>
            <a:chOff x="2632586" y="1971220"/>
            <a:chExt cx="2318504" cy="3637944"/>
          </a:xfrm>
        </p:grpSpPr>
        <p:grpSp>
          <p:nvGrpSpPr>
            <p:cNvPr id="18" name="Group 17">
              <a:extLst>
                <a:ext uri="{FF2B5EF4-FFF2-40B4-BE49-F238E27FC236}">
                  <a16:creationId xmlns:a16="http://schemas.microsoft.com/office/drawing/2014/main" id="{BA2F96D5-4AD9-08FA-3E7C-D10D7FEB917B}"/>
                </a:ext>
              </a:extLst>
            </p:cNvPr>
            <p:cNvGrpSpPr/>
            <p:nvPr/>
          </p:nvGrpSpPr>
          <p:grpSpPr>
            <a:xfrm>
              <a:off x="2632586" y="1971220"/>
              <a:ext cx="2318504" cy="520255"/>
              <a:chOff x="2632586" y="1971220"/>
              <a:chExt cx="2318504" cy="520255"/>
            </a:xfrm>
          </p:grpSpPr>
          <p:sp>
            <p:nvSpPr>
              <p:cNvPr id="26" name="Rectangle: Diagonal Corners Rounded 8">
                <a:extLst>
                  <a:ext uri="{FF2B5EF4-FFF2-40B4-BE49-F238E27FC236}">
                    <a16:creationId xmlns:a16="http://schemas.microsoft.com/office/drawing/2014/main" id="{C8AA4D04-319A-ABA0-B743-0BA009FBF5E0}"/>
                  </a:ext>
                </a:extLst>
              </p:cNvPr>
              <p:cNvSpPr/>
              <p:nvPr/>
            </p:nvSpPr>
            <p:spPr>
              <a:xfrm>
                <a:off x="2632586" y="1971220"/>
                <a:ext cx="1969273" cy="520255"/>
              </a:xfrm>
              <a:custGeom>
                <a:avLst/>
                <a:gdLst>
                  <a:gd name="connsiteX0" fmla="*/ 0 w 1961619"/>
                  <a:gd name="connsiteY0" fmla="*/ 0 h 520255"/>
                  <a:gd name="connsiteX1" fmla="*/ 1961619 w 1961619"/>
                  <a:gd name="connsiteY1" fmla="*/ 0 h 520255"/>
                  <a:gd name="connsiteX2" fmla="*/ 1961619 w 1961619"/>
                  <a:gd name="connsiteY2" fmla="*/ 520255 h 520255"/>
                  <a:gd name="connsiteX3" fmla="*/ 0 w 1961619"/>
                  <a:gd name="connsiteY3" fmla="*/ 520255 h 520255"/>
                  <a:gd name="connsiteX4" fmla="*/ 0 w 1961619"/>
                  <a:gd name="connsiteY4" fmla="*/ 0 h 520255"/>
                  <a:gd name="connsiteX0" fmla="*/ 1961619 w 2053059"/>
                  <a:gd name="connsiteY0" fmla="*/ 520255 h 611695"/>
                  <a:gd name="connsiteX1" fmla="*/ 0 w 2053059"/>
                  <a:gd name="connsiteY1" fmla="*/ 520255 h 611695"/>
                  <a:gd name="connsiteX2" fmla="*/ 0 w 2053059"/>
                  <a:gd name="connsiteY2" fmla="*/ 0 h 611695"/>
                  <a:gd name="connsiteX3" fmla="*/ 1961619 w 2053059"/>
                  <a:gd name="connsiteY3" fmla="*/ 0 h 611695"/>
                  <a:gd name="connsiteX4" fmla="*/ 2053059 w 2053059"/>
                  <a:gd name="connsiteY4" fmla="*/ 611695 h 611695"/>
                  <a:gd name="connsiteX0" fmla="*/ 1961619 w 1961619"/>
                  <a:gd name="connsiteY0" fmla="*/ 520255 h 520255"/>
                  <a:gd name="connsiteX1" fmla="*/ 0 w 1961619"/>
                  <a:gd name="connsiteY1" fmla="*/ 520255 h 520255"/>
                  <a:gd name="connsiteX2" fmla="*/ 0 w 1961619"/>
                  <a:gd name="connsiteY2" fmla="*/ 0 h 520255"/>
                  <a:gd name="connsiteX3" fmla="*/ 1961619 w 1961619"/>
                  <a:gd name="connsiteY3" fmla="*/ 0 h 520255"/>
                  <a:gd name="connsiteX0" fmla="*/ 0 w 1961619"/>
                  <a:gd name="connsiteY0" fmla="*/ 520255 h 520255"/>
                  <a:gd name="connsiteX1" fmla="*/ 0 w 1961619"/>
                  <a:gd name="connsiteY1" fmla="*/ 0 h 520255"/>
                  <a:gd name="connsiteX2" fmla="*/ 1961619 w 1961619"/>
                  <a:gd name="connsiteY2" fmla="*/ 0 h 520255"/>
                </a:gdLst>
                <a:ahLst/>
                <a:cxnLst>
                  <a:cxn ang="0">
                    <a:pos x="connsiteX0" y="connsiteY0"/>
                  </a:cxn>
                  <a:cxn ang="0">
                    <a:pos x="connsiteX1" y="connsiteY1"/>
                  </a:cxn>
                  <a:cxn ang="0">
                    <a:pos x="connsiteX2" y="connsiteY2"/>
                  </a:cxn>
                </a:cxnLst>
                <a:rect l="l" t="t" r="r" b="b"/>
                <a:pathLst>
                  <a:path w="1961619" h="520255">
                    <a:moveTo>
                      <a:pt x="0" y="520255"/>
                    </a:moveTo>
                    <a:lnTo>
                      <a:pt x="0" y="0"/>
                    </a:lnTo>
                    <a:lnTo>
                      <a:pt x="1961619" y="0"/>
                    </a:lnTo>
                  </a:path>
                </a:pathLst>
              </a:custGeom>
              <a:noFill/>
              <a:ln w="6350" cap="flat" cmpd="sng" algn="ctr">
                <a:solidFill>
                  <a:srgbClr val="000000">
                    <a:lumMod val="65000"/>
                    <a:lumOff val="35000"/>
                  </a:srgbClr>
                </a:solidFill>
                <a:prstDash val="solid"/>
                <a:miter lim="800000"/>
                <a:tailEnd type="oval" w="sm" len="sm"/>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a:ea typeface="ＭＳ Ｐゴシック" charset="0"/>
                  <a:cs typeface="+mn-cs"/>
                </a:endParaRPr>
              </a:p>
            </p:txBody>
          </p:sp>
          <p:sp>
            <p:nvSpPr>
              <p:cNvPr id="27" name="Rectangle 26">
                <a:extLst>
                  <a:ext uri="{FF2B5EF4-FFF2-40B4-BE49-F238E27FC236}">
                    <a16:creationId xmlns:a16="http://schemas.microsoft.com/office/drawing/2014/main" id="{7D189406-FCA6-F48B-2007-FBBF95718C4F}"/>
                  </a:ext>
                </a:extLst>
              </p:cNvPr>
              <p:cNvSpPr/>
              <p:nvPr/>
            </p:nvSpPr>
            <p:spPr>
              <a:xfrm>
                <a:off x="2641538" y="2007605"/>
                <a:ext cx="2309552" cy="458482"/>
              </a:xfrm>
              <a:prstGeom prst="rect">
                <a:avLst/>
              </a:prstGeom>
              <a:noFill/>
              <a:ln w="12700" cap="flat" cmpd="sng" algn="ctr">
                <a:noFill/>
                <a:prstDash val="solid"/>
                <a:miter lim="800000"/>
              </a:ln>
              <a:effectLst/>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chemeClr val="bg2"/>
                    </a:solidFill>
                    <a:effectLst/>
                    <a:uLnTx/>
                    <a:uFillTx/>
                    <a:latin typeface="Arial" panose="020B0604020202020204"/>
                    <a:ea typeface="ＭＳ Ｐゴシック" charset="0"/>
                    <a:cs typeface="Arial" panose="020B0604020202020204" pitchFamily="34" charset="0"/>
                  </a:rPr>
                  <a:t>Data Origin</a:t>
                </a:r>
              </a:p>
            </p:txBody>
          </p:sp>
        </p:grpSp>
        <p:grpSp>
          <p:nvGrpSpPr>
            <p:cNvPr id="19" name="Group 18">
              <a:extLst>
                <a:ext uri="{FF2B5EF4-FFF2-40B4-BE49-F238E27FC236}">
                  <a16:creationId xmlns:a16="http://schemas.microsoft.com/office/drawing/2014/main" id="{6EAE957B-BC01-2ADB-CC49-BCCE835BA2F0}"/>
                </a:ext>
              </a:extLst>
            </p:cNvPr>
            <p:cNvGrpSpPr/>
            <p:nvPr/>
          </p:nvGrpSpPr>
          <p:grpSpPr>
            <a:xfrm>
              <a:off x="2633589" y="2495096"/>
              <a:ext cx="2128704" cy="3114068"/>
              <a:chOff x="2633589" y="2495096"/>
              <a:chExt cx="2128704" cy="3114068"/>
            </a:xfrm>
          </p:grpSpPr>
          <p:grpSp>
            <p:nvGrpSpPr>
              <p:cNvPr id="20" name="Group 19">
                <a:extLst>
                  <a:ext uri="{FF2B5EF4-FFF2-40B4-BE49-F238E27FC236}">
                    <a16:creationId xmlns:a16="http://schemas.microsoft.com/office/drawing/2014/main" id="{40183691-DDF9-7754-FCC1-B691E6D9BAA1}"/>
                  </a:ext>
                </a:extLst>
              </p:cNvPr>
              <p:cNvGrpSpPr/>
              <p:nvPr/>
            </p:nvGrpSpPr>
            <p:grpSpPr>
              <a:xfrm>
                <a:off x="2633589" y="2495096"/>
                <a:ext cx="2128704" cy="3114068"/>
                <a:chOff x="2633589" y="2495096"/>
                <a:chExt cx="2128704" cy="3114068"/>
              </a:xfrm>
            </p:grpSpPr>
            <p:sp>
              <p:nvSpPr>
                <p:cNvPr id="24" name="Rectangle: Rounded Corners 1032">
                  <a:extLst>
                    <a:ext uri="{FF2B5EF4-FFF2-40B4-BE49-F238E27FC236}">
                      <a16:creationId xmlns:a16="http://schemas.microsoft.com/office/drawing/2014/main" id="{0163B793-2BB8-E9C4-1C18-3D6FE710466C}"/>
                    </a:ext>
                  </a:extLst>
                </p:cNvPr>
                <p:cNvSpPr/>
                <p:nvPr/>
              </p:nvSpPr>
              <p:spPr>
                <a:xfrm>
                  <a:off x="2633589" y="2495096"/>
                  <a:ext cx="2128704" cy="3094292"/>
                </a:xfrm>
                <a:prstGeom prst="rect">
                  <a:avLst/>
                </a:prstGeom>
                <a:noFill/>
                <a:ln w="6350" cap="flat" cmpd="sng" algn="ctr">
                  <a:solidFill>
                    <a:srgbClr val="000000">
                      <a:lumMod val="65000"/>
                      <a:lumOff val="35000"/>
                    </a:srgbClr>
                  </a:solidFill>
                  <a:prstDash val="solid"/>
                  <a:miter lim="800000"/>
                  <a:tailEnd type="oval" w="sm" len="sm"/>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prstClr val="white"/>
                    </a:solidFill>
                    <a:effectLst/>
                    <a:uLnTx/>
                    <a:uFillTx/>
                    <a:latin typeface="Calibri" panose="020F0502020204030204"/>
                    <a:ea typeface="ＭＳ Ｐゴシック" charset="0"/>
                    <a:cs typeface="+mn-cs"/>
                  </a:endParaRPr>
                </a:p>
              </p:txBody>
            </p:sp>
            <p:sp>
              <p:nvSpPr>
                <p:cNvPr id="25" name="Rectangle 24">
                  <a:extLst>
                    <a:ext uri="{FF2B5EF4-FFF2-40B4-BE49-F238E27FC236}">
                      <a16:creationId xmlns:a16="http://schemas.microsoft.com/office/drawing/2014/main" id="{A6E322F2-7692-9497-D6A3-43D5BDB1FA30}"/>
                    </a:ext>
                  </a:extLst>
                </p:cNvPr>
                <p:cNvSpPr/>
                <p:nvPr/>
              </p:nvSpPr>
              <p:spPr>
                <a:xfrm>
                  <a:off x="3281954" y="5567316"/>
                  <a:ext cx="843600" cy="41848"/>
                </a:xfrm>
                <a:prstGeom prst="rect">
                  <a:avLst/>
                </a:prstGeom>
                <a:solidFill>
                  <a:schemeClr val="bg2"/>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prstClr val="white"/>
                    </a:solidFill>
                    <a:effectLst/>
                    <a:uLnTx/>
                    <a:uFillTx/>
                    <a:latin typeface="Calibri" panose="020F0502020204030204"/>
                    <a:ea typeface="ＭＳ Ｐゴシック" charset="0"/>
                    <a:cs typeface="+mn-cs"/>
                  </a:endParaRPr>
                </a:p>
              </p:txBody>
            </p:sp>
          </p:grpSp>
          <p:grpSp>
            <p:nvGrpSpPr>
              <p:cNvPr id="21" name="Group 20">
                <a:extLst>
                  <a:ext uri="{FF2B5EF4-FFF2-40B4-BE49-F238E27FC236}">
                    <a16:creationId xmlns:a16="http://schemas.microsoft.com/office/drawing/2014/main" id="{4B4EB488-30BA-7320-5D92-1B1E611AC616}"/>
                  </a:ext>
                </a:extLst>
              </p:cNvPr>
              <p:cNvGrpSpPr/>
              <p:nvPr/>
            </p:nvGrpSpPr>
            <p:grpSpPr>
              <a:xfrm>
                <a:off x="2664836" y="2560757"/>
                <a:ext cx="2040205" cy="2968088"/>
                <a:chOff x="2664836" y="2560757"/>
                <a:chExt cx="2040205" cy="2968088"/>
              </a:xfrm>
            </p:grpSpPr>
            <p:sp>
              <p:nvSpPr>
                <p:cNvPr id="22" name="Rectangle 21">
                  <a:extLst>
                    <a:ext uri="{FF2B5EF4-FFF2-40B4-BE49-F238E27FC236}">
                      <a16:creationId xmlns:a16="http://schemas.microsoft.com/office/drawing/2014/main" id="{ACE7AA59-6F93-BE03-F6C3-87D243A316A2}"/>
                    </a:ext>
                  </a:extLst>
                </p:cNvPr>
                <p:cNvSpPr/>
                <p:nvPr/>
              </p:nvSpPr>
              <p:spPr>
                <a:xfrm>
                  <a:off x="2706989" y="2560757"/>
                  <a:ext cx="1998052" cy="2968088"/>
                </a:xfrm>
                <a:prstGeom prst="rect">
                  <a:avLst/>
                </a:prstGeom>
                <a:solidFill>
                  <a:schemeClr val="bg2"/>
                </a:solidFill>
                <a:ln w="635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prstClr val="white"/>
                    </a:solidFill>
                    <a:effectLst/>
                    <a:uLnTx/>
                    <a:uFillTx/>
                    <a:latin typeface="Calibri" panose="020F0502020204030204"/>
                    <a:ea typeface="ＭＳ Ｐゴシック" charset="0"/>
                    <a:cs typeface="+mn-cs"/>
                  </a:endParaRPr>
                </a:p>
              </p:txBody>
            </p:sp>
            <p:sp>
              <p:nvSpPr>
                <p:cNvPr id="23" name="Rectangle 22">
                  <a:extLst>
                    <a:ext uri="{FF2B5EF4-FFF2-40B4-BE49-F238E27FC236}">
                      <a16:creationId xmlns:a16="http://schemas.microsoft.com/office/drawing/2014/main" id="{304FDEBE-1893-7501-0F49-054BB59D1222}"/>
                    </a:ext>
                  </a:extLst>
                </p:cNvPr>
                <p:cNvSpPr/>
                <p:nvPr/>
              </p:nvSpPr>
              <p:spPr>
                <a:xfrm>
                  <a:off x="2664836" y="2888056"/>
                  <a:ext cx="2040204" cy="1398719"/>
                </a:xfrm>
                <a:prstGeom prst="rect">
                  <a:avLst/>
                </a:prstGeom>
                <a:noFill/>
                <a:ln w="12700" cap="flat" cmpd="sng" algn="ctr">
                  <a:noFill/>
                  <a:prstDash val="solid"/>
                  <a:miter lim="800000"/>
                </a:ln>
                <a:effectLst/>
              </p:spPr>
              <p:txBody>
                <a:bodyPr rtlCol="0" anchor="t"/>
                <a:lstStyle/>
                <a:p>
                  <a:pPr marL="52388" marR="0" lvl="1" indent="0" algn="ctr"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ＭＳ Ｐゴシック" charset="0"/>
                      <a:cs typeface="Arial" panose="020B0604020202020204" pitchFamily="34" charset="0"/>
                    </a:rPr>
                    <a:t>Internal vs External</a:t>
                  </a:r>
                </a:p>
                <a:p>
                  <a:pPr marL="52388" marR="0" lvl="1" indent="0" algn="ctr" defTabSz="457200" rtl="0" eaLnBrk="1" fontAlgn="base" latinLnBrk="0" hangingPunct="1">
                    <a:lnSpc>
                      <a:spcPct val="100000"/>
                    </a:lnSpc>
                    <a:spcBef>
                      <a:spcPct val="0"/>
                    </a:spcBef>
                    <a:spcAft>
                      <a:spcPct val="0"/>
                    </a:spcAft>
                    <a:buClrTx/>
                    <a:buSzTx/>
                    <a:buFontTx/>
                    <a:buNone/>
                    <a:tabLst/>
                    <a:defRPr/>
                  </a:pPr>
                  <a:endParaRPr lang="en-US" sz="1000" b="1" kern="0">
                    <a:solidFill>
                      <a:srgbClr val="FFFFFF"/>
                    </a:solidFill>
                    <a:latin typeface="Arial" panose="020B0604020202020204"/>
                    <a:cs typeface="Arial" panose="020B0604020202020204" pitchFamily="34" charset="0"/>
                  </a:endParaRPr>
                </a:p>
                <a:p>
                  <a:pPr marL="52388" marR="0" lvl="1" indent="0" algn="ctr"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ＭＳ Ｐゴシック" charset="0"/>
                      <a:cs typeface="Arial" panose="020B0604020202020204" pitchFamily="34" charset="0"/>
                    </a:rPr>
                    <a:t>Primary vs Secondary</a:t>
                  </a:r>
                </a:p>
                <a:p>
                  <a:pPr marL="52388" marR="0" lvl="1" indent="0" algn="ctr" defTabSz="457200" rtl="0" eaLnBrk="1" fontAlgn="base" latinLnBrk="0" hangingPunct="1">
                    <a:lnSpc>
                      <a:spcPct val="100000"/>
                    </a:lnSpc>
                    <a:spcBef>
                      <a:spcPct val="0"/>
                    </a:spcBef>
                    <a:spcAft>
                      <a:spcPct val="0"/>
                    </a:spcAft>
                    <a:buClrTx/>
                    <a:buSzTx/>
                    <a:buFontTx/>
                    <a:buNone/>
                    <a:tabLst/>
                    <a:defRPr/>
                  </a:pPr>
                  <a:endParaRPr lang="en-US" sz="1000" b="1" kern="0">
                    <a:solidFill>
                      <a:srgbClr val="FFFFFF"/>
                    </a:solidFill>
                    <a:latin typeface="Arial" panose="020B0604020202020204"/>
                    <a:cs typeface="Arial" panose="020B0604020202020204" pitchFamily="34" charset="0"/>
                  </a:endParaRPr>
                </a:p>
                <a:p>
                  <a:pPr marL="52388" marR="0" lvl="1" indent="0" algn="ctr"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ＭＳ Ｐゴシック" charset="0"/>
                      <a:cs typeface="Arial" panose="020B0604020202020204" pitchFamily="34" charset="0"/>
                    </a:rPr>
                    <a:t>Manually Collected vs Automated Collection</a:t>
                  </a:r>
                </a:p>
              </p:txBody>
            </p:sp>
          </p:grpSp>
        </p:grpSp>
      </p:grpSp>
      <p:grpSp>
        <p:nvGrpSpPr>
          <p:cNvPr id="28" name="Group 27">
            <a:extLst>
              <a:ext uri="{FF2B5EF4-FFF2-40B4-BE49-F238E27FC236}">
                <a16:creationId xmlns:a16="http://schemas.microsoft.com/office/drawing/2014/main" id="{45CE91A9-B56C-3498-5837-60D1CE8EFB96}"/>
              </a:ext>
            </a:extLst>
          </p:cNvPr>
          <p:cNvGrpSpPr/>
          <p:nvPr/>
        </p:nvGrpSpPr>
        <p:grpSpPr>
          <a:xfrm>
            <a:off x="4664988" y="1252272"/>
            <a:ext cx="1999784" cy="2730027"/>
            <a:chOff x="5043358" y="1971220"/>
            <a:chExt cx="2129422" cy="3640036"/>
          </a:xfrm>
        </p:grpSpPr>
        <p:grpSp>
          <p:nvGrpSpPr>
            <p:cNvPr id="29" name="Group 28">
              <a:extLst>
                <a:ext uri="{FF2B5EF4-FFF2-40B4-BE49-F238E27FC236}">
                  <a16:creationId xmlns:a16="http://schemas.microsoft.com/office/drawing/2014/main" id="{143CF0B8-E7CC-3B4A-43CE-E4C900776BF0}"/>
                </a:ext>
              </a:extLst>
            </p:cNvPr>
            <p:cNvGrpSpPr/>
            <p:nvPr/>
          </p:nvGrpSpPr>
          <p:grpSpPr>
            <a:xfrm>
              <a:off x="5043358" y="1971220"/>
              <a:ext cx="2129422" cy="3640036"/>
              <a:chOff x="5043358" y="1971220"/>
              <a:chExt cx="2129422" cy="3640036"/>
            </a:xfrm>
          </p:grpSpPr>
          <p:grpSp>
            <p:nvGrpSpPr>
              <p:cNvPr id="33" name="Group 32">
                <a:extLst>
                  <a:ext uri="{FF2B5EF4-FFF2-40B4-BE49-F238E27FC236}">
                    <a16:creationId xmlns:a16="http://schemas.microsoft.com/office/drawing/2014/main" id="{B4BF2199-E5B4-6911-CB92-EC9B573075DE}"/>
                  </a:ext>
                </a:extLst>
              </p:cNvPr>
              <p:cNvGrpSpPr/>
              <p:nvPr/>
            </p:nvGrpSpPr>
            <p:grpSpPr>
              <a:xfrm>
                <a:off x="5043358" y="2492380"/>
                <a:ext cx="2129422" cy="3118876"/>
                <a:chOff x="5043358" y="2492380"/>
                <a:chExt cx="2129422" cy="3118876"/>
              </a:xfrm>
            </p:grpSpPr>
            <p:sp>
              <p:nvSpPr>
                <p:cNvPr id="37" name="Rectangle: Rounded Corners 1032">
                  <a:extLst>
                    <a:ext uri="{FF2B5EF4-FFF2-40B4-BE49-F238E27FC236}">
                      <a16:creationId xmlns:a16="http://schemas.microsoft.com/office/drawing/2014/main" id="{FF0CD066-579F-3247-BDF5-6F08672E3162}"/>
                    </a:ext>
                  </a:extLst>
                </p:cNvPr>
                <p:cNvSpPr/>
                <p:nvPr/>
              </p:nvSpPr>
              <p:spPr>
                <a:xfrm>
                  <a:off x="5043358" y="2492380"/>
                  <a:ext cx="2129422" cy="3094292"/>
                </a:xfrm>
                <a:prstGeom prst="rect">
                  <a:avLst/>
                </a:prstGeom>
                <a:noFill/>
                <a:ln w="6350" cap="flat" cmpd="sng" algn="ctr">
                  <a:solidFill>
                    <a:srgbClr val="000000">
                      <a:lumMod val="65000"/>
                      <a:lumOff val="35000"/>
                    </a:srgbClr>
                  </a:solidFill>
                  <a:prstDash val="solid"/>
                  <a:miter lim="800000"/>
                  <a:tailEnd type="oval" w="sm" len="sm"/>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prstClr val="white"/>
                    </a:solidFill>
                    <a:effectLst/>
                    <a:uLnTx/>
                    <a:uFillTx/>
                    <a:latin typeface="Calibri" panose="020F0502020204030204"/>
                    <a:ea typeface="ＭＳ Ｐゴシック" charset="0"/>
                    <a:cs typeface="+mn-cs"/>
                  </a:endParaRPr>
                </a:p>
              </p:txBody>
            </p:sp>
            <p:sp>
              <p:nvSpPr>
                <p:cNvPr id="38" name="Rectangle 37">
                  <a:extLst>
                    <a:ext uri="{FF2B5EF4-FFF2-40B4-BE49-F238E27FC236}">
                      <a16:creationId xmlns:a16="http://schemas.microsoft.com/office/drawing/2014/main" id="{C7432489-B66D-65F2-1B7C-8E1DF4613D47}"/>
                    </a:ext>
                  </a:extLst>
                </p:cNvPr>
                <p:cNvSpPr/>
                <p:nvPr/>
              </p:nvSpPr>
              <p:spPr>
                <a:xfrm>
                  <a:off x="5688358" y="5565224"/>
                  <a:ext cx="843600" cy="46032"/>
                </a:xfrm>
                <a:prstGeom prst="rect">
                  <a:avLst/>
                </a:prstGeom>
                <a:solidFill>
                  <a:schemeClr val="bg2"/>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prstClr val="white"/>
                    </a:solidFill>
                    <a:effectLst/>
                    <a:uLnTx/>
                    <a:uFillTx/>
                    <a:latin typeface="Calibri" panose="020F0502020204030204"/>
                    <a:ea typeface="ＭＳ Ｐゴシック" charset="0"/>
                    <a:cs typeface="+mn-cs"/>
                  </a:endParaRPr>
                </a:p>
              </p:txBody>
            </p:sp>
          </p:grpSp>
          <p:grpSp>
            <p:nvGrpSpPr>
              <p:cNvPr id="34" name="Group 33">
                <a:extLst>
                  <a:ext uri="{FF2B5EF4-FFF2-40B4-BE49-F238E27FC236}">
                    <a16:creationId xmlns:a16="http://schemas.microsoft.com/office/drawing/2014/main" id="{2AE51781-AC0A-C615-E453-494DACC280AA}"/>
                  </a:ext>
                </a:extLst>
              </p:cNvPr>
              <p:cNvGrpSpPr/>
              <p:nvPr/>
            </p:nvGrpSpPr>
            <p:grpSpPr>
              <a:xfrm>
                <a:off x="5043358" y="1971220"/>
                <a:ext cx="2035752" cy="520255"/>
                <a:chOff x="5043358" y="1971220"/>
                <a:chExt cx="2035752" cy="520255"/>
              </a:xfrm>
            </p:grpSpPr>
            <p:sp>
              <p:nvSpPr>
                <p:cNvPr id="35" name="Rectangle: Diagonal Corners Rounded 8">
                  <a:extLst>
                    <a:ext uri="{FF2B5EF4-FFF2-40B4-BE49-F238E27FC236}">
                      <a16:creationId xmlns:a16="http://schemas.microsoft.com/office/drawing/2014/main" id="{1A96E691-E859-D66C-6908-88CA8060F1E3}"/>
                    </a:ext>
                  </a:extLst>
                </p:cNvPr>
                <p:cNvSpPr/>
                <p:nvPr/>
              </p:nvSpPr>
              <p:spPr>
                <a:xfrm>
                  <a:off x="5043358" y="1971220"/>
                  <a:ext cx="1968194" cy="520255"/>
                </a:xfrm>
                <a:custGeom>
                  <a:avLst/>
                  <a:gdLst>
                    <a:gd name="connsiteX0" fmla="*/ 0 w 1961619"/>
                    <a:gd name="connsiteY0" fmla="*/ 0 h 520255"/>
                    <a:gd name="connsiteX1" fmla="*/ 1961619 w 1961619"/>
                    <a:gd name="connsiteY1" fmla="*/ 0 h 520255"/>
                    <a:gd name="connsiteX2" fmla="*/ 1961619 w 1961619"/>
                    <a:gd name="connsiteY2" fmla="*/ 520255 h 520255"/>
                    <a:gd name="connsiteX3" fmla="*/ 0 w 1961619"/>
                    <a:gd name="connsiteY3" fmla="*/ 520255 h 520255"/>
                    <a:gd name="connsiteX4" fmla="*/ 0 w 1961619"/>
                    <a:gd name="connsiteY4" fmla="*/ 0 h 520255"/>
                    <a:gd name="connsiteX0" fmla="*/ 1961619 w 2053059"/>
                    <a:gd name="connsiteY0" fmla="*/ 520255 h 611695"/>
                    <a:gd name="connsiteX1" fmla="*/ 0 w 2053059"/>
                    <a:gd name="connsiteY1" fmla="*/ 520255 h 611695"/>
                    <a:gd name="connsiteX2" fmla="*/ 0 w 2053059"/>
                    <a:gd name="connsiteY2" fmla="*/ 0 h 611695"/>
                    <a:gd name="connsiteX3" fmla="*/ 1961619 w 2053059"/>
                    <a:gd name="connsiteY3" fmla="*/ 0 h 611695"/>
                    <a:gd name="connsiteX4" fmla="*/ 2053059 w 2053059"/>
                    <a:gd name="connsiteY4" fmla="*/ 611695 h 611695"/>
                    <a:gd name="connsiteX0" fmla="*/ 1961619 w 1961619"/>
                    <a:gd name="connsiteY0" fmla="*/ 520255 h 520255"/>
                    <a:gd name="connsiteX1" fmla="*/ 0 w 1961619"/>
                    <a:gd name="connsiteY1" fmla="*/ 520255 h 520255"/>
                    <a:gd name="connsiteX2" fmla="*/ 0 w 1961619"/>
                    <a:gd name="connsiteY2" fmla="*/ 0 h 520255"/>
                    <a:gd name="connsiteX3" fmla="*/ 1961619 w 1961619"/>
                    <a:gd name="connsiteY3" fmla="*/ 0 h 520255"/>
                    <a:gd name="connsiteX0" fmla="*/ 0 w 1961619"/>
                    <a:gd name="connsiteY0" fmla="*/ 520255 h 520255"/>
                    <a:gd name="connsiteX1" fmla="*/ 0 w 1961619"/>
                    <a:gd name="connsiteY1" fmla="*/ 0 h 520255"/>
                    <a:gd name="connsiteX2" fmla="*/ 1961619 w 1961619"/>
                    <a:gd name="connsiteY2" fmla="*/ 0 h 520255"/>
                  </a:gdLst>
                  <a:ahLst/>
                  <a:cxnLst>
                    <a:cxn ang="0">
                      <a:pos x="connsiteX0" y="connsiteY0"/>
                    </a:cxn>
                    <a:cxn ang="0">
                      <a:pos x="connsiteX1" y="connsiteY1"/>
                    </a:cxn>
                    <a:cxn ang="0">
                      <a:pos x="connsiteX2" y="connsiteY2"/>
                    </a:cxn>
                  </a:cxnLst>
                  <a:rect l="l" t="t" r="r" b="b"/>
                  <a:pathLst>
                    <a:path w="1961619" h="520255">
                      <a:moveTo>
                        <a:pt x="0" y="520255"/>
                      </a:moveTo>
                      <a:lnTo>
                        <a:pt x="0" y="0"/>
                      </a:lnTo>
                      <a:lnTo>
                        <a:pt x="1961619" y="0"/>
                      </a:lnTo>
                    </a:path>
                  </a:pathLst>
                </a:custGeom>
                <a:noFill/>
                <a:ln w="6350" cap="flat" cmpd="sng" algn="ctr">
                  <a:solidFill>
                    <a:srgbClr val="000000">
                      <a:lumMod val="65000"/>
                      <a:lumOff val="35000"/>
                    </a:srgbClr>
                  </a:solidFill>
                  <a:prstDash val="solid"/>
                  <a:miter lim="800000"/>
                  <a:tailEnd type="oval" w="sm" len="sm"/>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a:ea typeface="ＭＳ Ｐゴシック" charset="0"/>
                    <a:cs typeface="+mn-cs"/>
                  </a:endParaRPr>
                </a:p>
              </p:txBody>
            </p:sp>
            <p:sp>
              <p:nvSpPr>
                <p:cNvPr id="36" name="Rectangle 35">
                  <a:extLst>
                    <a:ext uri="{FF2B5EF4-FFF2-40B4-BE49-F238E27FC236}">
                      <a16:creationId xmlns:a16="http://schemas.microsoft.com/office/drawing/2014/main" id="{5D94478C-1BC2-D667-1653-E94D77E7C505}"/>
                    </a:ext>
                  </a:extLst>
                </p:cNvPr>
                <p:cNvSpPr/>
                <p:nvPr/>
              </p:nvSpPr>
              <p:spPr>
                <a:xfrm>
                  <a:off x="5047536" y="2007270"/>
                  <a:ext cx="2031574" cy="458482"/>
                </a:xfrm>
                <a:prstGeom prst="rect">
                  <a:avLst/>
                </a:prstGeom>
                <a:noFill/>
                <a:ln w="12700" cap="flat" cmpd="sng" algn="ctr">
                  <a:noFill/>
                  <a:prstDash val="solid"/>
                  <a:miter lim="800000"/>
                </a:ln>
                <a:effectLst/>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chemeClr val="bg2"/>
                      </a:solidFill>
                      <a:effectLst/>
                      <a:uLnTx/>
                      <a:uFillTx/>
                      <a:latin typeface="Arial" panose="020B0604020202020204"/>
                      <a:ea typeface="ＭＳ Ｐゴシック" charset="0"/>
                      <a:cs typeface="Arial" panose="020B0604020202020204" pitchFamily="34" charset="0"/>
                    </a:rPr>
                    <a:t>Time-based Data</a:t>
                  </a:r>
                </a:p>
              </p:txBody>
            </p:sp>
          </p:grpSp>
        </p:grpSp>
        <p:grpSp>
          <p:nvGrpSpPr>
            <p:cNvPr id="30" name="Group 29">
              <a:extLst>
                <a:ext uri="{FF2B5EF4-FFF2-40B4-BE49-F238E27FC236}">
                  <a16:creationId xmlns:a16="http://schemas.microsoft.com/office/drawing/2014/main" id="{572B07EE-D038-206D-BFA1-62692F865BC6}"/>
                </a:ext>
              </a:extLst>
            </p:cNvPr>
            <p:cNvGrpSpPr/>
            <p:nvPr/>
          </p:nvGrpSpPr>
          <p:grpSpPr>
            <a:xfrm>
              <a:off x="5089631" y="2557254"/>
              <a:ext cx="2019553" cy="2964544"/>
              <a:chOff x="5089631" y="2557254"/>
              <a:chExt cx="2019553" cy="2964544"/>
            </a:xfrm>
          </p:grpSpPr>
          <p:sp>
            <p:nvSpPr>
              <p:cNvPr id="31" name="Rectangle 30">
                <a:extLst>
                  <a:ext uri="{FF2B5EF4-FFF2-40B4-BE49-F238E27FC236}">
                    <a16:creationId xmlns:a16="http://schemas.microsoft.com/office/drawing/2014/main" id="{3B90A7C7-4027-948A-DA1D-7294EE280240}"/>
                  </a:ext>
                </a:extLst>
              </p:cNvPr>
              <p:cNvSpPr/>
              <p:nvPr/>
            </p:nvSpPr>
            <p:spPr>
              <a:xfrm>
                <a:off x="5111132" y="2557254"/>
                <a:ext cx="1998052" cy="2964544"/>
              </a:xfrm>
              <a:prstGeom prst="rect">
                <a:avLst/>
              </a:prstGeom>
              <a:solidFill>
                <a:schemeClr val="bg2"/>
              </a:solidFill>
              <a:ln w="635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prstClr val="white"/>
                  </a:solidFill>
                  <a:effectLst/>
                  <a:uLnTx/>
                  <a:uFillTx/>
                  <a:latin typeface="Calibri" panose="020F0502020204030204"/>
                  <a:ea typeface="ＭＳ Ｐゴシック" charset="0"/>
                  <a:cs typeface="+mn-cs"/>
                </a:endParaRPr>
              </a:p>
            </p:txBody>
          </p:sp>
          <p:sp>
            <p:nvSpPr>
              <p:cNvPr id="32" name="Rectangle 31">
                <a:extLst>
                  <a:ext uri="{FF2B5EF4-FFF2-40B4-BE49-F238E27FC236}">
                    <a16:creationId xmlns:a16="http://schemas.microsoft.com/office/drawing/2014/main" id="{0BCD236E-AA3C-64B7-B06F-559A0AB05569}"/>
                  </a:ext>
                </a:extLst>
              </p:cNvPr>
              <p:cNvSpPr/>
              <p:nvPr/>
            </p:nvSpPr>
            <p:spPr>
              <a:xfrm>
                <a:off x="5089631" y="2865730"/>
                <a:ext cx="1970146" cy="1398719"/>
              </a:xfrm>
              <a:prstGeom prst="rect">
                <a:avLst/>
              </a:prstGeom>
              <a:noFill/>
              <a:ln w="12700" cap="flat" cmpd="sng" algn="ctr">
                <a:noFill/>
                <a:prstDash val="solid"/>
                <a:miter lim="800000"/>
              </a:ln>
              <a:effectLst/>
            </p:spPr>
            <p:txBody>
              <a:bodyPr rtlCol="0" anchor="t"/>
              <a:lstStyle/>
              <a:p>
                <a:pPr marL="52388" marR="0" lvl="1" indent="0" algn="ctr"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ＭＳ Ｐゴシック" charset="0"/>
                    <a:cs typeface="Arial" panose="020B0604020202020204" pitchFamily="34" charset="0"/>
                  </a:rPr>
                  <a:t>Real-Time vs Historical</a:t>
                </a:r>
              </a:p>
              <a:p>
                <a:pPr marL="52388" marR="0" lvl="1" indent="0" algn="ctr" defTabSz="457200" rtl="0" eaLnBrk="1" fontAlgn="base" latinLnBrk="0" hangingPunct="1">
                  <a:lnSpc>
                    <a:spcPct val="100000"/>
                  </a:lnSpc>
                  <a:spcBef>
                    <a:spcPct val="0"/>
                  </a:spcBef>
                  <a:spcAft>
                    <a:spcPct val="0"/>
                  </a:spcAft>
                  <a:buClrTx/>
                  <a:buSzTx/>
                  <a:buFontTx/>
                  <a:buNone/>
                  <a:tabLst/>
                  <a:defRPr/>
                </a:pPr>
                <a:endParaRPr lang="en-US" sz="1000" b="1" kern="0">
                  <a:solidFill>
                    <a:srgbClr val="FFFFFF"/>
                  </a:solidFill>
                  <a:latin typeface="Arial" panose="020B0604020202020204"/>
                  <a:cs typeface="Arial" panose="020B0604020202020204" pitchFamily="34" charset="0"/>
                </a:endParaRPr>
              </a:p>
              <a:p>
                <a:pPr marL="52388" marR="0" lvl="1" indent="0" algn="ctr" defTabSz="457200" rtl="0" eaLnBrk="1" fontAlgn="base" latinLnBrk="0" hangingPunct="1">
                  <a:lnSpc>
                    <a:spcPct val="100000"/>
                  </a:lnSpc>
                  <a:spcBef>
                    <a:spcPct val="0"/>
                  </a:spcBef>
                  <a:spcAft>
                    <a:spcPct val="0"/>
                  </a:spcAft>
                  <a:buClrTx/>
                  <a:buSzTx/>
                  <a:buFontTx/>
                  <a:buNone/>
                  <a:tabLst/>
                  <a:defRPr/>
                </a:pPr>
                <a:r>
                  <a:rPr lang="en-US" sz="1000" b="1" kern="0">
                    <a:solidFill>
                      <a:srgbClr val="FFFFFF"/>
                    </a:solidFill>
                    <a:latin typeface="Arial" panose="020B0604020202020204"/>
                    <a:cs typeface="Arial" panose="020B0604020202020204" pitchFamily="34" charset="0"/>
                  </a:rPr>
                  <a:t>Frequent vs Infrequent</a:t>
                </a:r>
                <a:endParaRPr kumimoji="0" lang="en-US" sz="1000" b="0" i="0" u="none" strike="noStrike" kern="0" cap="none" spc="0" normalizeH="0" baseline="0" noProof="0">
                  <a:ln>
                    <a:noFill/>
                  </a:ln>
                  <a:solidFill>
                    <a:srgbClr val="FFFFFF"/>
                  </a:solidFill>
                  <a:effectLst/>
                  <a:uLnTx/>
                  <a:uFillTx/>
                  <a:latin typeface="Arial" panose="020B0604020202020204"/>
                  <a:ea typeface="ＭＳ Ｐゴシック" charset="0"/>
                  <a:cs typeface="Arial" panose="020B0604020202020204" pitchFamily="34" charset="0"/>
                </a:endParaRPr>
              </a:p>
            </p:txBody>
          </p:sp>
        </p:grpSp>
      </p:grpSp>
      <p:grpSp>
        <p:nvGrpSpPr>
          <p:cNvPr id="39" name="Group 38">
            <a:extLst>
              <a:ext uri="{FF2B5EF4-FFF2-40B4-BE49-F238E27FC236}">
                <a16:creationId xmlns:a16="http://schemas.microsoft.com/office/drawing/2014/main" id="{C17ECEBE-E8AC-072B-8EA0-520D55ED3494}"/>
              </a:ext>
            </a:extLst>
          </p:cNvPr>
          <p:cNvGrpSpPr/>
          <p:nvPr/>
        </p:nvGrpSpPr>
        <p:grpSpPr>
          <a:xfrm>
            <a:off x="6788889" y="1252272"/>
            <a:ext cx="2041841" cy="2730027"/>
            <a:chOff x="7376627" y="1971220"/>
            <a:chExt cx="2174205" cy="3640036"/>
          </a:xfrm>
        </p:grpSpPr>
        <p:grpSp>
          <p:nvGrpSpPr>
            <p:cNvPr id="40" name="Group 39">
              <a:extLst>
                <a:ext uri="{FF2B5EF4-FFF2-40B4-BE49-F238E27FC236}">
                  <a16:creationId xmlns:a16="http://schemas.microsoft.com/office/drawing/2014/main" id="{E62DCB61-3F83-54FF-679D-492C8F6D6FB3}"/>
                </a:ext>
              </a:extLst>
            </p:cNvPr>
            <p:cNvGrpSpPr/>
            <p:nvPr/>
          </p:nvGrpSpPr>
          <p:grpSpPr>
            <a:xfrm>
              <a:off x="7425588" y="1971220"/>
              <a:ext cx="2125244" cy="3640036"/>
              <a:chOff x="7425588" y="1971220"/>
              <a:chExt cx="2125244" cy="3640036"/>
            </a:xfrm>
          </p:grpSpPr>
          <p:grpSp>
            <p:nvGrpSpPr>
              <p:cNvPr id="44" name="Group 43">
                <a:extLst>
                  <a:ext uri="{FF2B5EF4-FFF2-40B4-BE49-F238E27FC236}">
                    <a16:creationId xmlns:a16="http://schemas.microsoft.com/office/drawing/2014/main" id="{D6D89D88-7E0B-EBB6-B182-B79D8FA7842B}"/>
                  </a:ext>
                </a:extLst>
              </p:cNvPr>
              <p:cNvGrpSpPr/>
              <p:nvPr/>
            </p:nvGrpSpPr>
            <p:grpSpPr>
              <a:xfrm>
                <a:off x="7427986" y="1971220"/>
                <a:ext cx="2028574" cy="520255"/>
                <a:chOff x="7427986" y="1971220"/>
                <a:chExt cx="2028574" cy="520255"/>
              </a:xfrm>
            </p:grpSpPr>
            <p:sp>
              <p:nvSpPr>
                <p:cNvPr id="48" name="Rectangle: Diagonal Corners Rounded 8">
                  <a:extLst>
                    <a:ext uri="{FF2B5EF4-FFF2-40B4-BE49-F238E27FC236}">
                      <a16:creationId xmlns:a16="http://schemas.microsoft.com/office/drawing/2014/main" id="{C2ADE1EC-B080-E7C0-718F-F21B105D1974}"/>
                    </a:ext>
                  </a:extLst>
                </p:cNvPr>
                <p:cNvSpPr/>
                <p:nvPr/>
              </p:nvSpPr>
              <p:spPr>
                <a:xfrm>
                  <a:off x="7427986" y="1971220"/>
                  <a:ext cx="1962698" cy="520255"/>
                </a:xfrm>
                <a:custGeom>
                  <a:avLst/>
                  <a:gdLst>
                    <a:gd name="connsiteX0" fmla="*/ 0 w 1961619"/>
                    <a:gd name="connsiteY0" fmla="*/ 0 h 520255"/>
                    <a:gd name="connsiteX1" fmla="*/ 1961619 w 1961619"/>
                    <a:gd name="connsiteY1" fmla="*/ 0 h 520255"/>
                    <a:gd name="connsiteX2" fmla="*/ 1961619 w 1961619"/>
                    <a:gd name="connsiteY2" fmla="*/ 520255 h 520255"/>
                    <a:gd name="connsiteX3" fmla="*/ 0 w 1961619"/>
                    <a:gd name="connsiteY3" fmla="*/ 520255 h 520255"/>
                    <a:gd name="connsiteX4" fmla="*/ 0 w 1961619"/>
                    <a:gd name="connsiteY4" fmla="*/ 0 h 520255"/>
                    <a:gd name="connsiteX0" fmla="*/ 1961619 w 2053059"/>
                    <a:gd name="connsiteY0" fmla="*/ 520255 h 611695"/>
                    <a:gd name="connsiteX1" fmla="*/ 0 w 2053059"/>
                    <a:gd name="connsiteY1" fmla="*/ 520255 h 611695"/>
                    <a:gd name="connsiteX2" fmla="*/ 0 w 2053059"/>
                    <a:gd name="connsiteY2" fmla="*/ 0 h 611695"/>
                    <a:gd name="connsiteX3" fmla="*/ 1961619 w 2053059"/>
                    <a:gd name="connsiteY3" fmla="*/ 0 h 611695"/>
                    <a:gd name="connsiteX4" fmla="*/ 2053059 w 2053059"/>
                    <a:gd name="connsiteY4" fmla="*/ 611695 h 611695"/>
                    <a:gd name="connsiteX0" fmla="*/ 1961619 w 1961619"/>
                    <a:gd name="connsiteY0" fmla="*/ 520255 h 520255"/>
                    <a:gd name="connsiteX1" fmla="*/ 0 w 1961619"/>
                    <a:gd name="connsiteY1" fmla="*/ 520255 h 520255"/>
                    <a:gd name="connsiteX2" fmla="*/ 0 w 1961619"/>
                    <a:gd name="connsiteY2" fmla="*/ 0 h 520255"/>
                    <a:gd name="connsiteX3" fmla="*/ 1961619 w 1961619"/>
                    <a:gd name="connsiteY3" fmla="*/ 0 h 520255"/>
                    <a:gd name="connsiteX0" fmla="*/ 0 w 1961619"/>
                    <a:gd name="connsiteY0" fmla="*/ 520255 h 520255"/>
                    <a:gd name="connsiteX1" fmla="*/ 0 w 1961619"/>
                    <a:gd name="connsiteY1" fmla="*/ 0 h 520255"/>
                    <a:gd name="connsiteX2" fmla="*/ 1961619 w 1961619"/>
                    <a:gd name="connsiteY2" fmla="*/ 0 h 520255"/>
                  </a:gdLst>
                  <a:ahLst/>
                  <a:cxnLst>
                    <a:cxn ang="0">
                      <a:pos x="connsiteX0" y="connsiteY0"/>
                    </a:cxn>
                    <a:cxn ang="0">
                      <a:pos x="connsiteX1" y="connsiteY1"/>
                    </a:cxn>
                    <a:cxn ang="0">
                      <a:pos x="connsiteX2" y="connsiteY2"/>
                    </a:cxn>
                  </a:cxnLst>
                  <a:rect l="l" t="t" r="r" b="b"/>
                  <a:pathLst>
                    <a:path w="1961619" h="520255">
                      <a:moveTo>
                        <a:pt x="0" y="520255"/>
                      </a:moveTo>
                      <a:lnTo>
                        <a:pt x="0" y="0"/>
                      </a:lnTo>
                      <a:lnTo>
                        <a:pt x="1961619" y="0"/>
                      </a:lnTo>
                    </a:path>
                  </a:pathLst>
                </a:custGeom>
                <a:noFill/>
                <a:ln w="6350" cap="flat" cmpd="sng" algn="ctr">
                  <a:solidFill>
                    <a:srgbClr val="000000">
                      <a:lumMod val="65000"/>
                      <a:lumOff val="35000"/>
                    </a:srgbClr>
                  </a:solidFill>
                  <a:prstDash val="solid"/>
                  <a:miter lim="800000"/>
                  <a:tailEnd type="oval" w="sm" len="sm"/>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a:ea typeface="ＭＳ Ｐゴシック" charset="0"/>
                    <a:cs typeface="+mn-cs"/>
                  </a:endParaRPr>
                </a:p>
              </p:txBody>
            </p:sp>
            <p:sp>
              <p:nvSpPr>
                <p:cNvPr id="49" name="Rectangle 48">
                  <a:extLst>
                    <a:ext uri="{FF2B5EF4-FFF2-40B4-BE49-F238E27FC236}">
                      <a16:creationId xmlns:a16="http://schemas.microsoft.com/office/drawing/2014/main" id="{6FE5A59D-802F-9738-7615-4F582C01D4AA}"/>
                    </a:ext>
                  </a:extLst>
                </p:cNvPr>
                <p:cNvSpPr/>
                <p:nvPr/>
              </p:nvSpPr>
              <p:spPr>
                <a:xfrm>
                  <a:off x="7429064" y="2008739"/>
                  <a:ext cx="2027496" cy="458482"/>
                </a:xfrm>
                <a:prstGeom prst="rect">
                  <a:avLst/>
                </a:prstGeom>
                <a:noFill/>
                <a:ln w="12700" cap="flat" cmpd="sng" algn="ctr">
                  <a:noFill/>
                  <a:prstDash val="solid"/>
                  <a:miter lim="800000"/>
                </a:ln>
                <a:effectLst/>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chemeClr val="bg2"/>
                      </a:solidFill>
                      <a:effectLst/>
                      <a:uLnTx/>
                      <a:uFillTx/>
                      <a:latin typeface="Arial" panose="020B0604020202020204"/>
                      <a:ea typeface="ＭＳ Ｐゴシック" charset="0"/>
                      <a:cs typeface="Arial" panose="020B0604020202020204" pitchFamily="34" charset="0"/>
                    </a:rPr>
                    <a:t>Data Purpose</a:t>
                  </a:r>
                </a:p>
              </p:txBody>
            </p:sp>
          </p:grpSp>
          <p:grpSp>
            <p:nvGrpSpPr>
              <p:cNvPr id="45" name="Group 44">
                <a:extLst>
                  <a:ext uri="{FF2B5EF4-FFF2-40B4-BE49-F238E27FC236}">
                    <a16:creationId xmlns:a16="http://schemas.microsoft.com/office/drawing/2014/main" id="{F1BD71CF-E5A7-2465-CBEC-99754659C7C8}"/>
                  </a:ext>
                </a:extLst>
              </p:cNvPr>
              <p:cNvGrpSpPr/>
              <p:nvPr/>
            </p:nvGrpSpPr>
            <p:grpSpPr>
              <a:xfrm>
                <a:off x="7425588" y="2494871"/>
                <a:ext cx="2125244" cy="3116385"/>
                <a:chOff x="7425588" y="2494871"/>
                <a:chExt cx="2125244" cy="3116385"/>
              </a:xfrm>
            </p:grpSpPr>
            <p:sp>
              <p:nvSpPr>
                <p:cNvPr id="46" name="Rectangle: Rounded Corners 1032">
                  <a:extLst>
                    <a:ext uri="{FF2B5EF4-FFF2-40B4-BE49-F238E27FC236}">
                      <a16:creationId xmlns:a16="http://schemas.microsoft.com/office/drawing/2014/main" id="{61855F18-7346-8905-699E-03500E2A31E7}"/>
                    </a:ext>
                  </a:extLst>
                </p:cNvPr>
                <p:cNvSpPr/>
                <p:nvPr/>
              </p:nvSpPr>
              <p:spPr>
                <a:xfrm>
                  <a:off x="7425588" y="2494871"/>
                  <a:ext cx="2125244" cy="3094293"/>
                </a:xfrm>
                <a:prstGeom prst="rect">
                  <a:avLst/>
                </a:prstGeom>
                <a:noFill/>
                <a:ln w="6350" cap="flat" cmpd="sng" algn="ctr">
                  <a:solidFill>
                    <a:srgbClr val="000000">
                      <a:lumMod val="65000"/>
                      <a:lumOff val="35000"/>
                    </a:srgbClr>
                  </a:solidFill>
                  <a:prstDash val="solid"/>
                  <a:miter lim="800000"/>
                  <a:tailEnd type="oval" w="sm" len="sm"/>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prstClr val="white"/>
                    </a:solidFill>
                    <a:effectLst/>
                    <a:uLnTx/>
                    <a:uFillTx/>
                    <a:latin typeface="Calibri" panose="020F0502020204030204"/>
                    <a:ea typeface="ＭＳ Ｐゴシック" charset="0"/>
                    <a:cs typeface="+mn-cs"/>
                  </a:endParaRPr>
                </a:p>
              </p:txBody>
            </p:sp>
            <p:sp>
              <p:nvSpPr>
                <p:cNvPr id="47" name="Rectangle 46">
                  <a:extLst>
                    <a:ext uri="{FF2B5EF4-FFF2-40B4-BE49-F238E27FC236}">
                      <a16:creationId xmlns:a16="http://schemas.microsoft.com/office/drawing/2014/main" id="{556A0487-C3F6-938F-AD0F-E42EE4D1E1A6}"/>
                    </a:ext>
                  </a:extLst>
                </p:cNvPr>
                <p:cNvSpPr/>
                <p:nvPr/>
              </p:nvSpPr>
              <p:spPr>
                <a:xfrm>
                  <a:off x="8066592" y="5565224"/>
                  <a:ext cx="843600" cy="46032"/>
                </a:xfrm>
                <a:prstGeom prst="rect">
                  <a:avLst/>
                </a:prstGeom>
                <a:solidFill>
                  <a:schemeClr val="bg2"/>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prstClr val="white"/>
                    </a:solidFill>
                    <a:effectLst/>
                    <a:uLnTx/>
                    <a:uFillTx/>
                    <a:latin typeface="Calibri" panose="020F0502020204030204"/>
                    <a:ea typeface="ＭＳ Ｐゴシック" charset="0"/>
                    <a:cs typeface="+mn-cs"/>
                  </a:endParaRPr>
                </a:p>
              </p:txBody>
            </p:sp>
          </p:grpSp>
        </p:grpSp>
        <p:grpSp>
          <p:nvGrpSpPr>
            <p:cNvPr id="41" name="Group 40">
              <a:extLst>
                <a:ext uri="{FF2B5EF4-FFF2-40B4-BE49-F238E27FC236}">
                  <a16:creationId xmlns:a16="http://schemas.microsoft.com/office/drawing/2014/main" id="{C5A6E83F-EB6F-FC14-62F3-662A070E3D73}"/>
                </a:ext>
              </a:extLst>
            </p:cNvPr>
            <p:cNvGrpSpPr/>
            <p:nvPr/>
          </p:nvGrpSpPr>
          <p:grpSpPr>
            <a:xfrm>
              <a:off x="7376627" y="2560855"/>
              <a:ext cx="2173202" cy="2962324"/>
              <a:chOff x="7376627" y="2560855"/>
              <a:chExt cx="2173202" cy="2962324"/>
            </a:xfrm>
          </p:grpSpPr>
          <p:sp>
            <p:nvSpPr>
              <p:cNvPr id="42" name="Rectangle 41">
                <a:extLst>
                  <a:ext uri="{FF2B5EF4-FFF2-40B4-BE49-F238E27FC236}">
                    <a16:creationId xmlns:a16="http://schemas.microsoft.com/office/drawing/2014/main" id="{069D3071-F928-8F56-AF43-0BD2FE2CDB09}"/>
                  </a:ext>
                </a:extLst>
              </p:cNvPr>
              <p:cNvSpPr/>
              <p:nvPr/>
            </p:nvSpPr>
            <p:spPr>
              <a:xfrm>
                <a:off x="7489184" y="2560855"/>
                <a:ext cx="1998053" cy="2962324"/>
              </a:xfrm>
              <a:prstGeom prst="rect">
                <a:avLst/>
              </a:prstGeom>
              <a:solidFill>
                <a:schemeClr val="bg2"/>
              </a:solidFill>
              <a:ln w="635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prstClr val="white"/>
                  </a:solidFill>
                  <a:effectLst/>
                  <a:uLnTx/>
                  <a:uFillTx/>
                  <a:latin typeface="Calibri" panose="020F0502020204030204"/>
                  <a:ea typeface="ＭＳ Ｐゴシック" charset="0"/>
                  <a:cs typeface="+mn-cs"/>
                </a:endParaRPr>
              </a:p>
            </p:txBody>
          </p:sp>
          <p:sp>
            <p:nvSpPr>
              <p:cNvPr id="43" name="Rectangle 42">
                <a:extLst>
                  <a:ext uri="{FF2B5EF4-FFF2-40B4-BE49-F238E27FC236}">
                    <a16:creationId xmlns:a16="http://schemas.microsoft.com/office/drawing/2014/main" id="{0E51838B-2962-AE45-3F5E-EFE26F170BEC}"/>
                  </a:ext>
                </a:extLst>
              </p:cNvPr>
              <p:cNvSpPr/>
              <p:nvPr/>
            </p:nvSpPr>
            <p:spPr>
              <a:xfrm>
                <a:off x="7376627" y="2849403"/>
                <a:ext cx="2173202" cy="1398719"/>
              </a:xfrm>
              <a:prstGeom prst="rect">
                <a:avLst/>
              </a:prstGeom>
              <a:noFill/>
              <a:ln w="12700" cap="flat" cmpd="sng" algn="ctr">
                <a:noFill/>
                <a:prstDash val="solid"/>
                <a:miter lim="800000"/>
              </a:ln>
              <a:effectLst/>
            </p:spPr>
            <p:txBody>
              <a:bodyPr rtlCol="0" anchor="t"/>
              <a:lstStyle/>
              <a:p>
                <a:pPr marL="52388" marR="0" lvl="1" indent="0" algn="ctr"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ＭＳ Ｐゴシック" charset="0"/>
                    <a:cs typeface="Arial" panose="020B0604020202020204" pitchFamily="34" charset="0"/>
                  </a:rPr>
                  <a:t>Operational vs Strategic</a:t>
                </a:r>
                <a:endParaRPr kumimoji="0" lang="en-US" sz="1000" b="0" i="0" u="none" strike="noStrike" kern="0" cap="none" spc="0" normalizeH="0" baseline="0" noProof="0">
                  <a:ln>
                    <a:noFill/>
                  </a:ln>
                  <a:solidFill>
                    <a:srgbClr val="FFFFFF"/>
                  </a:solidFill>
                  <a:effectLst/>
                  <a:uLnTx/>
                  <a:uFillTx/>
                  <a:latin typeface="Arial" panose="020B0604020202020204"/>
                  <a:ea typeface="ＭＳ Ｐゴシック" charset="0"/>
                  <a:cs typeface="Arial" panose="020B0604020202020204" pitchFamily="34" charset="0"/>
                </a:endParaRPr>
              </a:p>
            </p:txBody>
          </p:sp>
        </p:grpSp>
      </p:grpSp>
      <p:grpSp>
        <p:nvGrpSpPr>
          <p:cNvPr id="50" name="Group 49">
            <a:extLst>
              <a:ext uri="{FF2B5EF4-FFF2-40B4-BE49-F238E27FC236}">
                <a16:creationId xmlns:a16="http://schemas.microsoft.com/office/drawing/2014/main" id="{BD911F7E-7C5C-B03B-B8E6-BB13289EEF3A}"/>
              </a:ext>
            </a:extLst>
          </p:cNvPr>
          <p:cNvGrpSpPr/>
          <p:nvPr/>
        </p:nvGrpSpPr>
        <p:grpSpPr>
          <a:xfrm>
            <a:off x="140664" y="1245128"/>
            <a:ext cx="2206672" cy="2735914"/>
            <a:chOff x="115378" y="1961695"/>
            <a:chExt cx="2349722" cy="3647885"/>
          </a:xfrm>
        </p:grpSpPr>
        <p:grpSp>
          <p:nvGrpSpPr>
            <p:cNvPr id="51" name="Group 50">
              <a:extLst>
                <a:ext uri="{FF2B5EF4-FFF2-40B4-BE49-F238E27FC236}">
                  <a16:creationId xmlns:a16="http://schemas.microsoft.com/office/drawing/2014/main" id="{0190B4B7-EF62-23C5-6BE6-90409F5E3754}"/>
                </a:ext>
              </a:extLst>
            </p:cNvPr>
            <p:cNvGrpSpPr/>
            <p:nvPr/>
          </p:nvGrpSpPr>
          <p:grpSpPr>
            <a:xfrm>
              <a:off x="115378" y="2555725"/>
              <a:ext cx="2349722" cy="2968991"/>
              <a:chOff x="115378" y="2555725"/>
              <a:chExt cx="2349722" cy="2968991"/>
            </a:xfrm>
          </p:grpSpPr>
          <p:sp>
            <p:nvSpPr>
              <p:cNvPr id="59" name="Rectangle 58">
                <a:extLst>
                  <a:ext uri="{FF2B5EF4-FFF2-40B4-BE49-F238E27FC236}">
                    <a16:creationId xmlns:a16="http://schemas.microsoft.com/office/drawing/2014/main" id="{501C5090-5C70-BE2C-330C-8FD2B0381476}"/>
                  </a:ext>
                </a:extLst>
              </p:cNvPr>
              <p:cNvSpPr/>
              <p:nvPr/>
            </p:nvSpPr>
            <p:spPr>
              <a:xfrm>
                <a:off x="329550" y="2555725"/>
                <a:ext cx="1998053" cy="2968991"/>
              </a:xfrm>
              <a:prstGeom prst="rect">
                <a:avLst/>
              </a:prstGeom>
              <a:solidFill>
                <a:schemeClr val="bg2"/>
              </a:solidFill>
              <a:ln w="635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prstClr val="white"/>
                  </a:solidFill>
                  <a:effectLst/>
                  <a:uLnTx/>
                  <a:uFillTx/>
                  <a:latin typeface="Calibri" panose="020F0502020204030204"/>
                  <a:ea typeface="ＭＳ Ｐゴシック" charset="0"/>
                  <a:cs typeface="+mn-cs"/>
                </a:endParaRPr>
              </a:p>
            </p:txBody>
          </p:sp>
          <p:sp>
            <p:nvSpPr>
              <p:cNvPr id="60" name="Rectangle 59">
                <a:extLst>
                  <a:ext uri="{FF2B5EF4-FFF2-40B4-BE49-F238E27FC236}">
                    <a16:creationId xmlns:a16="http://schemas.microsoft.com/office/drawing/2014/main" id="{F571085D-36C8-E99A-0602-11FA7270E716}"/>
                  </a:ext>
                </a:extLst>
              </p:cNvPr>
              <p:cNvSpPr/>
              <p:nvPr/>
            </p:nvSpPr>
            <p:spPr>
              <a:xfrm>
                <a:off x="115378" y="2874030"/>
                <a:ext cx="2349722" cy="1398719"/>
              </a:xfrm>
              <a:prstGeom prst="rect">
                <a:avLst/>
              </a:prstGeom>
              <a:noFill/>
              <a:ln w="12700" cap="flat" cmpd="sng" algn="ctr">
                <a:noFill/>
                <a:prstDash val="solid"/>
                <a:miter lim="800000"/>
              </a:ln>
              <a:effectLst/>
            </p:spPr>
            <p:txBody>
              <a:bodyPr rtlCol="0" anchor="t"/>
              <a:lstStyle/>
              <a:p>
                <a:pPr marL="52388" marR="0" lvl="1" indent="0" algn="ctr"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ＭＳ Ｐゴシック" charset="0"/>
                    <a:cs typeface="Arial" panose="020B0604020202020204" pitchFamily="34" charset="0"/>
                  </a:rPr>
                  <a:t>Structured vs Unstructured</a:t>
                </a:r>
              </a:p>
              <a:p>
                <a:pPr marL="52388" marR="0" lvl="1" indent="0" algn="ctr"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Arial" panose="020B0604020202020204"/>
                  <a:ea typeface="ＭＳ Ｐゴシック" charset="0"/>
                  <a:cs typeface="Arial" panose="020B0604020202020204" pitchFamily="34" charset="0"/>
                </a:endParaRPr>
              </a:p>
              <a:p>
                <a:pPr marL="52388" marR="0" lvl="1" indent="0" algn="ctr"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ＭＳ Ｐゴシック" charset="0"/>
                    <a:cs typeface="Arial" panose="020B0604020202020204" pitchFamily="34" charset="0"/>
                  </a:rPr>
                  <a:t>Quantitative vs Qualitative</a:t>
                </a:r>
                <a:endParaRPr kumimoji="0" lang="en-US" sz="1000" b="0" i="0" u="none" strike="noStrike" kern="0" cap="none" spc="0" normalizeH="0" baseline="0" noProof="0">
                  <a:ln>
                    <a:noFill/>
                  </a:ln>
                  <a:solidFill>
                    <a:srgbClr val="FFFFFF"/>
                  </a:solidFill>
                  <a:effectLst/>
                  <a:uLnTx/>
                  <a:uFillTx/>
                  <a:latin typeface="Arial" panose="020B0604020202020204"/>
                  <a:ea typeface="ＭＳ Ｐゴシック" charset="0"/>
                  <a:cs typeface="Arial" panose="020B0604020202020204" pitchFamily="34" charset="0"/>
                </a:endParaRPr>
              </a:p>
              <a:p>
                <a:pPr marL="52388" marR="0" lvl="1" indent="0" algn="ctr" defTabSz="457200" rtl="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a:ln>
                    <a:noFill/>
                  </a:ln>
                  <a:solidFill>
                    <a:srgbClr val="FFFFFF"/>
                  </a:solidFill>
                  <a:effectLst/>
                  <a:uLnTx/>
                  <a:uFillTx/>
                  <a:latin typeface="Arial" panose="020B0604020202020204"/>
                  <a:ea typeface="ＭＳ Ｐゴシック" charset="0"/>
                  <a:cs typeface="Arial" panose="020B0604020202020204" pitchFamily="34" charset="0"/>
                </a:endParaRPr>
              </a:p>
              <a:p>
                <a:pPr marL="52388" marR="0" lvl="1" indent="0" algn="ctr"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ＭＳ Ｐゴシック" charset="0"/>
                    <a:cs typeface="Arial" panose="020B0604020202020204" pitchFamily="34" charset="0"/>
                  </a:rPr>
                  <a:t>Transactional vs Behavior</a:t>
                </a:r>
              </a:p>
              <a:p>
                <a:pPr marL="52388" marR="0" lvl="1" indent="0" algn="ctr" defTabSz="457200" rtl="0"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a:ln>
                    <a:noFill/>
                  </a:ln>
                  <a:solidFill>
                    <a:srgbClr val="FFFFFF"/>
                  </a:solidFill>
                  <a:effectLst/>
                  <a:uLnTx/>
                  <a:uFillTx/>
                  <a:latin typeface="Arial" panose="020B0604020202020204"/>
                  <a:ea typeface="ＭＳ Ｐゴシック" charset="0"/>
                  <a:cs typeface="Arial" panose="020B0604020202020204" pitchFamily="34" charset="0"/>
                </a:endParaRPr>
              </a:p>
              <a:p>
                <a:pPr marL="52388" marR="0" lvl="1" indent="0" algn="ctr"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panose="020B0604020202020204"/>
                    <a:ea typeface="ＭＳ Ｐゴシック" charset="0"/>
                    <a:cs typeface="Arial" panose="020B0604020202020204" pitchFamily="34" charset="0"/>
                  </a:rPr>
                  <a:t>Aggregated vs Granular</a:t>
                </a:r>
                <a:endParaRPr kumimoji="0" lang="en-US" sz="900" b="0" i="0" u="none" strike="noStrike" kern="0" cap="none" spc="0" normalizeH="0" baseline="0" noProof="0">
                  <a:ln>
                    <a:noFill/>
                  </a:ln>
                  <a:solidFill>
                    <a:srgbClr val="FFFFFF"/>
                  </a:solidFill>
                  <a:effectLst/>
                  <a:uLnTx/>
                  <a:uFillTx/>
                  <a:latin typeface="Arial" panose="020B0604020202020204"/>
                  <a:ea typeface="ＭＳ Ｐゴシック" charset="0"/>
                  <a:cs typeface="Arial" panose="020B0604020202020204" pitchFamily="34" charset="0"/>
                </a:endParaRPr>
              </a:p>
            </p:txBody>
          </p:sp>
        </p:grpSp>
        <p:grpSp>
          <p:nvGrpSpPr>
            <p:cNvPr id="52" name="Group 51">
              <a:extLst>
                <a:ext uri="{FF2B5EF4-FFF2-40B4-BE49-F238E27FC236}">
                  <a16:creationId xmlns:a16="http://schemas.microsoft.com/office/drawing/2014/main" id="{7563D5B3-687F-2DCE-1DC2-2F0D11012FF6}"/>
                </a:ext>
              </a:extLst>
            </p:cNvPr>
            <p:cNvGrpSpPr/>
            <p:nvPr/>
          </p:nvGrpSpPr>
          <p:grpSpPr>
            <a:xfrm>
              <a:off x="255821" y="1961695"/>
              <a:ext cx="2129705" cy="3647885"/>
              <a:chOff x="255821" y="1961695"/>
              <a:chExt cx="2129705" cy="3647885"/>
            </a:xfrm>
          </p:grpSpPr>
          <p:grpSp>
            <p:nvGrpSpPr>
              <p:cNvPr id="53" name="Group 52">
                <a:extLst>
                  <a:ext uri="{FF2B5EF4-FFF2-40B4-BE49-F238E27FC236}">
                    <a16:creationId xmlns:a16="http://schemas.microsoft.com/office/drawing/2014/main" id="{89EB1C16-F13F-260D-FD02-543A8A7938F5}"/>
                  </a:ext>
                </a:extLst>
              </p:cNvPr>
              <p:cNvGrpSpPr/>
              <p:nvPr/>
            </p:nvGrpSpPr>
            <p:grpSpPr>
              <a:xfrm>
                <a:off x="255821" y="1961695"/>
                <a:ext cx="2129705" cy="3615560"/>
                <a:chOff x="255821" y="1961695"/>
                <a:chExt cx="2129705" cy="3615560"/>
              </a:xfrm>
            </p:grpSpPr>
            <p:sp>
              <p:nvSpPr>
                <p:cNvPr id="55" name="Rectangle: Rounded Corners 1032">
                  <a:extLst>
                    <a:ext uri="{FF2B5EF4-FFF2-40B4-BE49-F238E27FC236}">
                      <a16:creationId xmlns:a16="http://schemas.microsoft.com/office/drawing/2014/main" id="{4BA221FF-8CA6-DC01-9FFB-237EADCF16B2}"/>
                    </a:ext>
                  </a:extLst>
                </p:cNvPr>
                <p:cNvSpPr/>
                <p:nvPr/>
              </p:nvSpPr>
              <p:spPr>
                <a:xfrm>
                  <a:off x="257541" y="2482963"/>
                  <a:ext cx="2127985" cy="3094292"/>
                </a:xfrm>
                <a:prstGeom prst="rect">
                  <a:avLst/>
                </a:prstGeom>
                <a:noFill/>
                <a:ln w="6350" cap="flat" cmpd="sng" algn="ctr">
                  <a:solidFill>
                    <a:srgbClr val="000000">
                      <a:lumMod val="65000"/>
                      <a:lumOff val="35000"/>
                    </a:srgbClr>
                  </a:solidFill>
                  <a:prstDash val="solid"/>
                  <a:miter lim="800000"/>
                  <a:tailEnd type="oval" w="sm" len="sm"/>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prstClr val="white"/>
                    </a:solidFill>
                    <a:effectLst/>
                    <a:uLnTx/>
                    <a:uFillTx/>
                    <a:latin typeface="Calibri" panose="020F0502020204030204"/>
                    <a:ea typeface="ＭＳ Ｐゴシック" charset="0"/>
                    <a:cs typeface="+mn-cs"/>
                  </a:endParaRPr>
                </a:p>
              </p:txBody>
            </p:sp>
            <p:grpSp>
              <p:nvGrpSpPr>
                <p:cNvPr id="56" name="Group 55">
                  <a:extLst>
                    <a:ext uri="{FF2B5EF4-FFF2-40B4-BE49-F238E27FC236}">
                      <a16:creationId xmlns:a16="http://schemas.microsoft.com/office/drawing/2014/main" id="{2ADC508B-A9E6-BA43-4774-337FA2F35426}"/>
                    </a:ext>
                  </a:extLst>
                </p:cNvPr>
                <p:cNvGrpSpPr/>
                <p:nvPr/>
              </p:nvGrpSpPr>
              <p:grpSpPr>
                <a:xfrm>
                  <a:off x="255821" y="1961695"/>
                  <a:ext cx="1972193" cy="520255"/>
                  <a:chOff x="255821" y="1961695"/>
                  <a:chExt cx="1972193" cy="520255"/>
                </a:xfrm>
              </p:grpSpPr>
              <p:sp>
                <p:nvSpPr>
                  <p:cNvPr id="57" name="Rectangle: Diagonal Corners Rounded 8">
                    <a:extLst>
                      <a:ext uri="{FF2B5EF4-FFF2-40B4-BE49-F238E27FC236}">
                        <a16:creationId xmlns:a16="http://schemas.microsoft.com/office/drawing/2014/main" id="{506A612A-BC41-0329-B859-B1CEC2DD162B}"/>
                      </a:ext>
                    </a:extLst>
                  </p:cNvPr>
                  <p:cNvSpPr/>
                  <p:nvPr/>
                </p:nvSpPr>
                <p:spPr>
                  <a:xfrm>
                    <a:off x="255821" y="1961695"/>
                    <a:ext cx="1969273" cy="520255"/>
                  </a:xfrm>
                  <a:custGeom>
                    <a:avLst/>
                    <a:gdLst>
                      <a:gd name="connsiteX0" fmla="*/ 0 w 1961619"/>
                      <a:gd name="connsiteY0" fmla="*/ 0 h 520255"/>
                      <a:gd name="connsiteX1" fmla="*/ 1961619 w 1961619"/>
                      <a:gd name="connsiteY1" fmla="*/ 0 h 520255"/>
                      <a:gd name="connsiteX2" fmla="*/ 1961619 w 1961619"/>
                      <a:gd name="connsiteY2" fmla="*/ 520255 h 520255"/>
                      <a:gd name="connsiteX3" fmla="*/ 0 w 1961619"/>
                      <a:gd name="connsiteY3" fmla="*/ 520255 h 520255"/>
                      <a:gd name="connsiteX4" fmla="*/ 0 w 1961619"/>
                      <a:gd name="connsiteY4" fmla="*/ 0 h 520255"/>
                      <a:gd name="connsiteX0" fmla="*/ 1961619 w 2053059"/>
                      <a:gd name="connsiteY0" fmla="*/ 520255 h 611695"/>
                      <a:gd name="connsiteX1" fmla="*/ 0 w 2053059"/>
                      <a:gd name="connsiteY1" fmla="*/ 520255 h 611695"/>
                      <a:gd name="connsiteX2" fmla="*/ 0 w 2053059"/>
                      <a:gd name="connsiteY2" fmla="*/ 0 h 611695"/>
                      <a:gd name="connsiteX3" fmla="*/ 1961619 w 2053059"/>
                      <a:gd name="connsiteY3" fmla="*/ 0 h 611695"/>
                      <a:gd name="connsiteX4" fmla="*/ 2053059 w 2053059"/>
                      <a:gd name="connsiteY4" fmla="*/ 611695 h 611695"/>
                      <a:gd name="connsiteX0" fmla="*/ 1961619 w 1961619"/>
                      <a:gd name="connsiteY0" fmla="*/ 520255 h 520255"/>
                      <a:gd name="connsiteX1" fmla="*/ 0 w 1961619"/>
                      <a:gd name="connsiteY1" fmla="*/ 520255 h 520255"/>
                      <a:gd name="connsiteX2" fmla="*/ 0 w 1961619"/>
                      <a:gd name="connsiteY2" fmla="*/ 0 h 520255"/>
                      <a:gd name="connsiteX3" fmla="*/ 1961619 w 1961619"/>
                      <a:gd name="connsiteY3" fmla="*/ 0 h 520255"/>
                      <a:gd name="connsiteX0" fmla="*/ 0 w 1961619"/>
                      <a:gd name="connsiteY0" fmla="*/ 520255 h 520255"/>
                      <a:gd name="connsiteX1" fmla="*/ 0 w 1961619"/>
                      <a:gd name="connsiteY1" fmla="*/ 0 h 520255"/>
                      <a:gd name="connsiteX2" fmla="*/ 1961619 w 1961619"/>
                      <a:gd name="connsiteY2" fmla="*/ 0 h 520255"/>
                    </a:gdLst>
                    <a:ahLst/>
                    <a:cxnLst>
                      <a:cxn ang="0">
                        <a:pos x="connsiteX0" y="connsiteY0"/>
                      </a:cxn>
                      <a:cxn ang="0">
                        <a:pos x="connsiteX1" y="connsiteY1"/>
                      </a:cxn>
                      <a:cxn ang="0">
                        <a:pos x="connsiteX2" y="connsiteY2"/>
                      </a:cxn>
                    </a:cxnLst>
                    <a:rect l="l" t="t" r="r" b="b"/>
                    <a:pathLst>
                      <a:path w="1961619" h="520255">
                        <a:moveTo>
                          <a:pt x="0" y="520255"/>
                        </a:moveTo>
                        <a:lnTo>
                          <a:pt x="0" y="0"/>
                        </a:lnTo>
                        <a:lnTo>
                          <a:pt x="1961619" y="0"/>
                        </a:lnTo>
                      </a:path>
                    </a:pathLst>
                  </a:custGeom>
                  <a:noFill/>
                  <a:ln w="6350" cap="flat" cmpd="sng" algn="ctr">
                    <a:solidFill>
                      <a:srgbClr val="000000">
                        <a:lumMod val="65000"/>
                        <a:lumOff val="35000"/>
                      </a:srgbClr>
                    </a:solidFill>
                    <a:prstDash val="solid"/>
                    <a:miter lim="800000"/>
                    <a:tailEnd type="oval" w="sm" len="sm"/>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a:ea typeface="ＭＳ Ｐゴシック" charset="0"/>
                      <a:cs typeface="+mn-cs"/>
                    </a:endParaRPr>
                  </a:p>
                </p:txBody>
              </p:sp>
              <p:sp>
                <p:nvSpPr>
                  <p:cNvPr id="58" name="Rectangle 57">
                    <a:extLst>
                      <a:ext uri="{FF2B5EF4-FFF2-40B4-BE49-F238E27FC236}">
                        <a16:creationId xmlns:a16="http://schemas.microsoft.com/office/drawing/2014/main" id="{A0B599F5-E6FD-7C04-0321-10DD370C268B}"/>
                      </a:ext>
                    </a:extLst>
                  </p:cNvPr>
                  <p:cNvSpPr/>
                  <p:nvPr/>
                </p:nvSpPr>
                <p:spPr>
                  <a:xfrm>
                    <a:off x="264096" y="1995473"/>
                    <a:ext cx="1963918" cy="458481"/>
                  </a:xfrm>
                  <a:prstGeom prst="rect">
                    <a:avLst/>
                  </a:prstGeom>
                  <a:noFill/>
                  <a:ln w="12700" cap="flat" cmpd="sng" algn="ctr">
                    <a:noFill/>
                    <a:prstDash val="solid"/>
                    <a:miter lim="800000"/>
                  </a:ln>
                  <a:effectLst/>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chemeClr val="bg2"/>
                        </a:solidFill>
                        <a:effectLst/>
                        <a:uLnTx/>
                        <a:uFillTx/>
                        <a:latin typeface="Arial" panose="020B0604020202020204"/>
                        <a:ea typeface="ＭＳ Ｐゴシック" charset="0"/>
                        <a:cs typeface="Arial" panose="020B0604020202020204" pitchFamily="34" charset="0"/>
                      </a:rPr>
                      <a:t>Data Format</a:t>
                    </a:r>
                  </a:p>
                </p:txBody>
              </p:sp>
            </p:grpSp>
          </p:grpSp>
          <p:sp>
            <p:nvSpPr>
              <p:cNvPr id="54" name="Rectangle 53">
                <a:extLst>
                  <a:ext uri="{FF2B5EF4-FFF2-40B4-BE49-F238E27FC236}">
                    <a16:creationId xmlns:a16="http://schemas.microsoft.com/office/drawing/2014/main" id="{3B0F7E65-4558-F0B4-EEFE-132EDA506ABD}"/>
                  </a:ext>
                </a:extLst>
              </p:cNvPr>
              <p:cNvSpPr/>
              <p:nvPr/>
            </p:nvSpPr>
            <p:spPr>
              <a:xfrm>
                <a:off x="904514" y="5566900"/>
                <a:ext cx="843600" cy="42680"/>
              </a:xfrm>
              <a:prstGeom prst="rect">
                <a:avLst/>
              </a:prstGeom>
              <a:solidFill>
                <a:schemeClr val="bg2"/>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prstClr val="white"/>
                  </a:solidFill>
                  <a:effectLst/>
                  <a:uLnTx/>
                  <a:uFillTx/>
                  <a:latin typeface="Calibri" panose="020F0502020204030204"/>
                  <a:ea typeface="ＭＳ Ｐゴシック" charset="0"/>
                  <a:cs typeface="+mn-cs"/>
                </a:endParaRPr>
              </a:p>
            </p:txBody>
          </p:sp>
        </p:grpSp>
      </p:grpSp>
      <p:sp>
        <p:nvSpPr>
          <p:cNvPr id="61" name="TextBox 60">
            <a:extLst>
              <a:ext uri="{FF2B5EF4-FFF2-40B4-BE49-F238E27FC236}">
                <a16:creationId xmlns:a16="http://schemas.microsoft.com/office/drawing/2014/main" id="{9C3803F6-1B06-FE1E-43B9-8444FF5DED2D}"/>
              </a:ext>
            </a:extLst>
          </p:cNvPr>
          <p:cNvSpPr txBox="1"/>
          <p:nvPr/>
        </p:nvSpPr>
        <p:spPr>
          <a:xfrm>
            <a:off x="2123768" y="668594"/>
            <a:ext cx="4737194" cy="369332"/>
          </a:xfrm>
          <a:prstGeom prst="rect">
            <a:avLst/>
          </a:prstGeom>
          <a:noFill/>
        </p:spPr>
        <p:txBody>
          <a:bodyPr wrap="none" rtlCol="0">
            <a:spAutoFit/>
          </a:bodyPr>
          <a:lstStyle/>
          <a:p>
            <a:pPr algn="l"/>
            <a:r>
              <a:rPr lang="en-US">
                <a:latin typeface="Arial" panose="020B0604020202020204" pitchFamily="34" charset="0"/>
                <a:cs typeface="Arial" panose="020B0604020202020204" pitchFamily="34" charset="0"/>
              </a:rPr>
              <a:t>Key Dimensions of Systemic Data Collection</a:t>
            </a:r>
          </a:p>
        </p:txBody>
      </p:sp>
    </p:spTree>
    <p:extLst>
      <p:ext uri="{BB962C8B-B14F-4D97-AF65-F5344CB8AC3E}">
        <p14:creationId xmlns:p14="http://schemas.microsoft.com/office/powerpoint/2010/main" val="4790033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B3F7AB-ACD3-7E7B-40A1-98AD06B5A9BB}"/>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45E6EBBF-7ACF-3C84-5759-8E284A78CBED}"/>
              </a:ext>
            </a:extLst>
          </p:cNvPr>
          <p:cNvSpPr>
            <a:spLocks noGrp="1"/>
          </p:cNvSpPr>
          <p:nvPr>
            <p:ph type="title"/>
          </p:nvPr>
        </p:nvSpPr>
        <p:spPr>
          <a:xfrm>
            <a:off x="504294" y="84445"/>
            <a:ext cx="8525406" cy="513211"/>
          </a:xfrm>
        </p:spPr>
        <p:txBody>
          <a:bodyPr/>
          <a:lstStyle/>
          <a:p>
            <a:r>
              <a:rPr lang="en-US" sz="2100"/>
              <a:t>Prioritize Data Quality</a:t>
            </a:r>
          </a:p>
        </p:txBody>
      </p:sp>
      <p:sp>
        <p:nvSpPr>
          <p:cNvPr id="42" name="Rectangle: Rounded Corners 41">
            <a:extLst>
              <a:ext uri="{FF2B5EF4-FFF2-40B4-BE49-F238E27FC236}">
                <a16:creationId xmlns:a16="http://schemas.microsoft.com/office/drawing/2014/main" id="{525F5846-247E-D7DB-9D39-13950104066E}"/>
              </a:ext>
            </a:extLst>
          </p:cNvPr>
          <p:cNvSpPr/>
          <p:nvPr/>
        </p:nvSpPr>
        <p:spPr>
          <a:xfrm>
            <a:off x="3784003" y="2455644"/>
            <a:ext cx="1565237" cy="941333"/>
          </a:xfrm>
          <a:prstGeom prst="roundRect">
            <a:avLst/>
          </a:prstGeom>
          <a:solidFill>
            <a:schemeClr val="bg2"/>
          </a:solidFill>
          <a:ln>
            <a:solidFill>
              <a:srgbClr val="0034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latin typeface="Arial" panose="020B0604020202020204" pitchFamily="34" charset="0"/>
                <a:cs typeface="Arial" panose="020B0604020202020204" pitchFamily="34" charset="0"/>
              </a:rPr>
              <a:t>Data &amp; Insights</a:t>
            </a:r>
          </a:p>
        </p:txBody>
      </p:sp>
      <p:sp>
        <p:nvSpPr>
          <p:cNvPr id="43" name="Rectangle: Rounded Corners 42">
            <a:extLst>
              <a:ext uri="{FF2B5EF4-FFF2-40B4-BE49-F238E27FC236}">
                <a16:creationId xmlns:a16="http://schemas.microsoft.com/office/drawing/2014/main" id="{140572C9-5067-5CF8-9FB5-651D34771D98}"/>
              </a:ext>
            </a:extLst>
          </p:cNvPr>
          <p:cNvSpPr/>
          <p:nvPr/>
        </p:nvSpPr>
        <p:spPr>
          <a:xfrm>
            <a:off x="3994113" y="964366"/>
            <a:ext cx="1153757" cy="693869"/>
          </a:xfrm>
          <a:prstGeom prst="roundRect">
            <a:avLst/>
          </a:prstGeom>
          <a:solidFill>
            <a:schemeClr val="bg2"/>
          </a:solidFill>
          <a:ln>
            <a:solidFill>
              <a:srgbClr val="0034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latin typeface="Arial" panose="020B0604020202020204" pitchFamily="34" charset="0"/>
                <a:cs typeface="Arial" panose="020B0604020202020204" pitchFamily="34" charset="0"/>
              </a:rPr>
              <a:t>Is the Data Valid?</a:t>
            </a:r>
          </a:p>
        </p:txBody>
      </p:sp>
      <p:sp>
        <p:nvSpPr>
          <p:cNvPr id="44" name="Rectangle: Rounded Corners 43">
            <a:extLst>
              <a:ext uri="{FF2B5EF4-FFF2-40B4-BE49-F238E27FC236}">
                <a16:creationId xmlns:a16="http://schemas.microsoft.com/office/drawing/2014/main" id="{8F370BF4-9D63-0E38-31FA-AF0C84A1E241}"/>
              </a:ext>
            </a:extLst>
          </p:cNvPr>
          <p:cNvSpPr/>
          <p:nvPr/>
        </p:nvSpPr>
        <p:spPr>
          <a:xfrm>
            <a:off x="5756462" y="1717569"/>
            <a:ext cx="1153757" cy="693869"/>
          </a:xfrm>
          <a:prstGeom prst="roundRect">
            <a:avLst/>
          </a:prstGeom>
          <a:solidFill>
            <a:schemeClr val="bg2"/>
          </a:solidFill>
          <a:ln>
            <a:solidFill>
              <a:srgbClr val="0034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latin typeface="Arial" panose="020B0604020202020204" pitchFamily="34" charset="0"/>
                <a:cs typeface="Arial" panose="020B0604020202020204" pitchFamily="34" charset="0"/>
              </a:rPr>
              <a:t>Is the Data Reliable?</a:t>
            </a:r>
          </a:p>
        </p:txBody>
      </p:sp>
      <p:sp>
        <p:nvSpPr>
          <p:cNvPr id="45" name="Rectangle: Rounded Corners 44">
            <a:extLst>
              <a:ext uri="{FF2B5EF4-FFF2-40B4-BE49-F238E27FC236}">
                <a16:creationId xmlns:a16="http://schemas.microsoft.com/office/drawing/2014/main" id="{5CFC1C9B-C1E5-AE57-D270-0355C965F4DC}"/>
              </a:ext>
            </a:extLst>
          </p:cNvPr>
          <p:cNvSpPr/>
          <p:nvPr/>
        </p:nvSpPr>
        <p:spPr>
          <a:xfrm>
            <a:off x="5762626" y="3413971"/>
            <a:ext cx="1153757" cy="693869"/>
          </a:xfrm>
          <a:prstGeom prst="roundRect">
            <a:avLst/>
          </a:prstGeom>
          <a:solidFill>
            <a:schemeClr val="bg2"/>
          </a:solidFill>
          <a:ln>
            <a:solidFill>
              <a:srgbClr val="0034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latin typeface="Arial" panose="020B0604020202020204" pitchFamily="34" charset="0"/>
                <a:cs typeface="Arial" panose="020B0604020202020204" pitchFamily="34" charset="0"/>
              </a:rPr>
              <a:t>Is the Data Relevant?</a:t>
            </a:r>
          </a:p>
        </p:txBody>
      </p:sp>
      <p:sp>
        <p:nvSpPr>
          <p:cNvPr id="46" name="Rectangle: Rounded Corners 45">
            <a:extLst>
              <a:ext uri="{FF2B5EF4-FFF2-40B4-BE49-F238E27FC236}">
                <a16:creationId xmlns:a16="http://schemas.microsoft.com/office/drawing/2014/main" id="{ABEEBD9F-CF5E-88B2-0CD8-5ECB2226F74B}"/>
              </a:ext>
            </a:extLst>
          </p:cNvPr>
          <p:cNvSpPr/>
          <p:nvPr/>
        </p:nvSpPr>
        <p:spPr>
          <a:xfrm>
            <a:off x="2179993" y="1735891"/>
            <a:ext cx="1153757" cy="693869"/>
          </a:xfrm>
          <a:prstGeom prst="roundRect">
            <a:avLst/>
          </a:prstGeom>
          <a:solidFill>
            <a:schemeClr val="bg2"/>
          </a:solidFill>
          <a:ln>
            <a:solidFill>
              <a:srgbClr val="0034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latin typeface="Arial" panose="020B0604020202020204" pitchFamily="34" charset="0"/>
                <a:cs typeface="Arial" panose="020B0604020202020204" pitchFamily="34" charset="0"/>
              </a:rPr>
              <a:t>Is the Data Timely?</a:t>
            </a:r>
          </a:p>
        </p:txBody>
      </p:sp>
      <p:sp>
        <p:nvSpPr>
          <p:cNvPr id="47" name="Rectangle: Rounded Corners 46">
            <a:extLst>
              <a:ext uri="{FF2B5EF4-FFF2-40B4-BE49-F238E27FC236}">
                <a16:creationId xmlns:a16="http://schemas.microsoft.com/office/drawing/2014/main" id="{0479B77F-2BB9-A4FE-9C5B-105DCE037C9D}"/>
              </a:ext>
            </a:extLst>
          </p:cNvPr>
          <p:cNvSpPr/>
          <p:nvPr/>
        </p:nvSpPr>
        <p:spPr>
          <a:xfrm>
            <a:off x="2176967" y="3430108"/>
            <a:ext cx="1153757" cy="693869"/>
          </a:xfrm>
          <a:prstGeom prst="roundRect">
            <a:avLst/>
          </a:prstGeom>
          <a:solidFill>
            <a:schemeClr val="bg2"/>
          </a:solidFill>
          <a:ln>
            <a:solidFill>
              <a:srgbClr val="0034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latin typeface="Arial" panose="020B0604020202020204" pitchFamily="34" charset="0"/>
                <a:cs typeface="Arial" panose="020B0604020202020204" pitchFamily="34" charset="0"/>
              </a:rPr>
              <a:t>Is the Data Ethical?</a:t>
            </a:r>
          </a:p>
        </p:txBody>
      </p:sp>
      <p:sp>
        <p:nvSpPr>
          <p:cNvPr id="48" name="Rectangle: Rounded Corners 47">
            <a:extLst>
              <a:ext uri="{FF2B5EF4-FFF2-40B4-BE49-F238E27FC236}">
                <a16:creationId xmlns:a16="http://schemas.microsoft.com/office/drawing/2014/main" id="{2B3B2328-03B3-C4D4-BDB1-CCC64C18BA91}"/>
              </a:ext>
            </a:extLst>
          </p:cNvPr>
          <p:cNvSpPr/>
          <p:nvPr/>
        </p:nvSpPr>
        <p:spPr>
          <a:xfrm>
            <a:off x="4002181" y="4193341"/>
            <a:ext cx="1153757" cy="693869"/>
          </a:xfrm>
          <a:prstGeom prst="roundRect">
            <a:avLst/>
          </a:prstGeom>
          <a:solidFill>
            <a:schemeClr val="bg2"/>
          </a:solidFill>
          <a:ln>
            <a:solidFill>
              <a:srgbClr val="0034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a:latin typeface="Arial" panose="020B0604020202020204" pitchFamily="34" charset="0"/>
                <a:cs typeface="Arial" panose="020B0604020202020204" pitchFamily="34" charset="0"/>
              </a:rPr>
              <a:t>Is the Data Impactful?</a:t>
            </a:r>
          </a:p>
        </p:txBody>
      </p:sp>
      <p:cxnSp>
        <p:nvCxnSpPr>
          <p:cNvPr id="49" name="Straight Arrow Connector 48">
            <a:extLst>
              <a:ext uri="{FF2B5EF4-FFF2-40B4-BE49-F238E27FC236}">
                <a16:creationId xmlns:a16="http://schemas.microsoft.com/office/drawing/2014/main" id="{201E67D9-55AB-F8D3-80BD-6C2771BDACED}"/>
              </a:ext>
            </a:extLst>
          </p:cNvPr>
          <p:cNvCxnSpPr>
            <a:stCxn id="42" idx="0"/>
            <a:endCxn id="43" idx="2"/>
          </p:cNvCxnSpPr>
          <p:nvPr/>
        </p:nvCxnSpPr>
        <p:spPr>
          <a:xfrm flipV="1">
            <a:off x="4566622" y="1658235"/>
            <a:ext cx="0" cy="797410"/>
          </a:xfrm>
          <a:prstGeom prst="straightConnector1">
            <a:avLst/>
          </a:prstGeom>
          <a:ln w="38100">
            <a:solidFill>
              <a:srgbClr val="0070C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22E9050E-BE05-94E5-3B5B-52F6EDC0C1EC}"/>
              </a:ext>
            </a:extLst>
          </p:cNvPr>
          <p:cNvCxnSpPr>
            <a:cxnSpLocks/>
            <a:stCxn id="42" idx="2"/>
            <a:endCxn id="48" idx="0"/>
          </p:cNvCxnSpPr>
          <p:nvPr/>
        </p:nvCxnSpPr>
        <p:spPr>
          <a:xfrm>
            <a:off x="4566622" y="3396977"/>
            <a:ext cx="0" cy="796364"/>
          </a:xfrm>
          <a:prstGeom prst="straightConnector1">
            <a:avLst/>
          </a:prstGeom>
          <a:ln w="38100">
            <a:solidFill>
              <a:srgbClr val="0070C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B2A7FAE2-95BD-9C57-B67B-3A7B1C72796C}"/>
              </a:ext>
            </a:extLst>
          </p:cNvPr>
          <p:cNvCxnSpPr>
            <a:cxnSpLocks/>
            <a:endCxn id="44" idx="1"/>
          </p:cNvCxnSpPr>
          <p:nvPr/>
        </p:nvCxnSpPr>
        <p:spPr>
          <a:xfrm flipV="1">
            <a:off x="5300831" y="2064503"/>
            <a:ext cx="455631" cy="431483"/>
          </a:xfrm>
          <a:prstGeom prst="straightConnector1">
            <a:avLst/>
          </a:prstGeom>
          <a:ln w="38100">
            <a:solidFill>
              <a:srgbClr val="0070C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2068F9A9-F16C-D781-60F0-C8D478F4688D}"/>
              </a:ext>
            </a:extLst>
          </p:cNvPr>
          <p:cNvCxnSpPr>
            <a:cxnSpLocks/>
            <a:endCxn id="45" idx="1"/>
          </p:cNvCxnSpPr>
          <p:nvPr/>
        </p:nvCxnSpPr>
        <p:spPr>
          <a:xfrm>
            <a:off x="5317236" y="3353909"/>
            <a:ext cx="445389" cy="406997"/>
          </a:xfrm>
          <a:prstGeom prst="straightConnector1">
            <a:avLst/>
          </a:prstGeom>
          <a:ln w="38100">
            <a:solidFill>
              <a:srgbClr val="0070C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79337AFF-5BCF-C328-8C88-F333BF2C36B8}"/>
              </a:ext>
            </a:extLst>
          </p:cNvPr>
          <p:cNvCxnSpPr>
            <a:cxnSpLocks/>
            <a:stCxn id="47" idx="3"/>
          </p:cNvCxnSpPr>
          <p:nvPr/>
        </p:nvCxnSpPr>
        <p:spPr>
          <a:xfrm flipV="1">
            <a:off x="3330724" y="3311550"/>
            <a:ext cx="479276" cy="465493"/>
          </a:xfrm>
          <a:prstGeom prst="straightConnector1">
            <a:avLst/>
          </a:prstGeom>
          <a:ln w="38100">
            <a:solidFill>
              <a:srgbClr val="0070C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A4DF3167-8A3B-1269-A54F-EDF2894757A1}"/>
              </a:ext>
            </a:extLst>
          </p:cNvPr>
          <p:cNvCxnSpPr>
            <a:cxnSpLocks/>
            <a:stCxn id="46" idx="3"/>
          </p:cNvCxnSpPr>
          <p:nvPr/>
        </p:nvCxnSpPr>
        <p:spPr>
          <a:xfrm>
            <a:off x="3333750" y="2082825"/>
            <a:ext cx="476250" cy="453502"/>
          </a:xfrm>
          <a:prstGeom prst="straightConnector1">
            <a:avLst/>
          </a:prstGeom>
          <a:ln w="38100">
            <a:solidFill>
              <a:srgbClr val="0070C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1801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5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45" grpId="0" animBg="1"/>
      <p:bldP spid="46" grpId="0" animBg="1"/>
      <p:bldP spid="47" grpId="0" animBg="1"/>
      <p:bldP spid="4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object 8" hidden="1"/>
          <p:cNvGrpSpPr/>
          <p:nvPr/>
        </p:nvGrpSpPr>
        <p:grpSpPr>
          <a:xfrm>
            <a:off x="2041307" y="1045596"/>
            <a:ext cx="5002025" cy="4825560"/>
            <a:chOff x="283685" y="2856674"/>
            <a:chExt cx="7120530" cy="6869327"/>
          </a:xfrm>
        </p:grpSpPr>
        <p:pic>
          <p:nvPicPr>
            <p:cNvPr id="9" name="object 9"/>
            <p:cNvPicPr/>
            <p:nvPr/>
          </p:nvPicPr>
          <p:blipFill>
            <a:blip r:embed="rId3" cstate="print"/>
            <a:stretch>
              <a:fillRect/>
            </a:stretch>
          </p:blipFill>
          <p:spPr>
            <a:xfrm>
              <a:off x="6905856" y="9204710"/>
              <a:ext cx="498359" cy="498359"/>
            </a:xfrm>
            <a:prstGeom prst="rect">
              <a:avLst/>
            </a:prstGeom>
          </p:spPr>
        </p:pic>
        <p:pic>
          <p:nvPicPr>
            <p:cNvPr id="10" name="object 10"/>
            <p:cNvPicPr/>
            <p:nvPr/>
          </p:nvPicPr>
          <p:blipFill>
            <a:blip r:embed="rId4" cstate="print"/>
            <a:stretch>
              <a:fillRect/>
            </a:stretch>
          </p:blipFill>
          <p:spPr>
            <a:xfrm>
              <a:off x="283685" y="9461275"/>
              <a:ext cx="1748804" cy="264726"/>
            </a:xfrm>
            <a:prstGeom prst="rect">
              <a:avLst/>
            </a:prstGeom>
          </p:spPr>
        </p:pic>
        <p:sp>
          <p:nvSpPr>
            <p:cNvPr id="11" name="object 11"/>
            <p:cNvSpPr/>
            <p:nvPr/>
          </p:nvSpPr>
          <p:spPr>
            <a:xfrm>
              <a:off x="777240" y="2856674"/>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2" name="object 12"/>
            <p:cNvSpPr/>
            <p:nvPr/>
          </p:nvSpPr>
          <p:spPr>
            <a:xfrm>
              <a:off x="783590" y="2863024"/>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3" name="object 13"/>
            <p:cNvSpPr/>
            <p:nvPr/>
          </p:nvSpPr>
          <p:spPr>
            <a:xfrm>
              <a:off x="777240" y="3506330"/>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4" name="object 14"/>
            <p:cNvSpPr/>
            <p:nvPr/>
          </p:nvSpPr>
          <p:spPr>
            <a:xfrm>
              <a:off x="783590" y="3512680"/>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5" name="object 15"/>
            <p:cNvSpPr/>
            <p:nvPr/>
          </p:nvSpPr>
          <p:spPr>
            <a:xfrm>
              <a:off x="777240" y="4147070"/>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6" name="object 16"/>
            <p:cNvSpPr/>
            <p:nvPr/>
          </p:nvSpPr>
          <p:spPr>
            <a:xfrm>
              <a:off x="783590" y="4153420"/>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7" name="object 17"/>
            <p:cNvSpPr/>
            <p:nvPr/>
          </p:nvSpPr>
          <p:spPr>
            <a:xfrm>
              <a:off x="777240" y="5028336"/>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8" name="object 18"/>
            <p:cNvSpPr/>
            <p:nvPr/>
          </p:nvSpPr>
          <p:spPr>
            <a:xfrm>
              <a:off x="783590" y="5034686"/>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9" name="object 19"/>
            <p:cNvSpPr/>
            <p:nvPr/>
          </p:nvSpPr>
          <p:spPr>
            <a:xfrm>
              <a:off x="777240" y="5669279"/>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0" name="object 20"/>
            <p:cNvSpPr/>
            <p:nvPr/>
          </p:nvSpPr>
          <p:spPr>
            <a:xfrm>
              <a:off x="783590" y="5675629"/>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1" name="object 21"/>
            <p:cNvSpPr/>
            <p:nvPr/>
          </p:nvSpPr>
          <p:spPr>
            <a:xfrm>
              <a:off x="777240" y="6082144"/>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2" name="object 22"/>
            <p:cNvSpPr/>
            <p:nvPr/>
          </p:nvSpPr>
          <p:spPr>
            <a:xfrm>
              <a:off x="783590" y="6088494"/>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3" name="object 23"/>
            <p:cNvSpPr/>
            <p:nvPr/>
          </p:nvSpPr>
          <p:spPr>
            <a:xfrm>
              <a:off x="777240" y="6959434"/>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4" name="object 24"/>
            <p:cNvSpPr/>
            <p:nvPr/>
          </p:nvSpPr>
          <p:spPr>
            <a:xfrm>
              <a:off x="783590" y="6965784"/>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5" name="object 25"/>
            <p:cNvSpPr/>
            <p:nvPr/>
          </p:nvSpPr>
          <p:spPr>
            <a:xfrm>
              <a:off x="777240" y="7598664"/>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6" name="object 26"/>
            <p:cNvSpPr/>
            <p:nvPr/>
          </p:nvSpPr>
          <p:spPr>
            <a:xfrm>
              <a:off x="783590" y="7605014"/>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7" name="object 27"/>
            <p:cNvSpPr/>
            <p:nvPr/>
          </p:nvSpPr>
          <p:spPr>
            <a:xfrm>
              <a:off x="777240" y="8227212"/>
              <a:ext cx="228600" cy="228600"/>
            </a:xfrm>
            <a:custGeom>
              <a:avLst/>
              <a:gdLst/>
              <a:ahLst/>
              <a:cxnLst/>
              <a:rect l="l" t="t" r="r" b="b"/>
              <a:pathLst>
                <a:path w="228600" h="228600">
                  <a:moveTo>
                    <a:pt x="228600" y="0"/>
                  </a:moveTo>
                  <a:lnTo>
                    <a:pt x="0" y="0"/>
                  </a:lnTo>
                  <a:lnTo>
                    <a:pt x="0" y="228599"/>
                  </a:lnTo>
                  <a:lnTo>
                    <a:pt x="228600" y="228599"/>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8" name="object 28"/>
            <p:cNvSpPr/>
            <p:nvPr/>
          </p:nvSpPr>
          <p:spPr>
            <a:xfrm>
              <a:off x="783590" y="8233562"/>
              <a:ext cx="215900" cy="215900"/>
            </a:xfrm>
            <a:custGeom>
              <a:avLst/>
              <a:gdLst/>
              <a:ahLst/>
              <a:cxnLst/>
              <a:rect l="l" t="t" r="r" b="b"/>
              <a:pathLst>
                <a:path w="215900" h="215900">
                  <a:moveTo>
                    <a:pt x="0" y="215899"/>
                  </a:moveTo>
                  <a:lnTo>
                    <a:pt x="215900" y="215899"/>
                  </a:lnTo>
                  <a:lnTo>
                    <a:pt x="215900" y="0"/>
                  </a:lnTo>
                  <a:lnTo>
                    <a:pt x="0" y="0"/>
                  </a:lnTo>
                  <a:lnTo>
                    <a:pt x="0" y="215899"/>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9" name="object 29"/>
            <p:cNvSpPr/>
            <p:nvPr/>
          </p:nvSpPr>
          <p:spPr>
            <a:xfrm>
              <a:off x="777240" y="8874476"/>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30" name="object 30"/>
            <p:cNvSpPr/>
            <p:nvPr/>
          </p:nvSpPr>
          <p:spPr>
            <a:xfrm>
              <a:off x="783590" y="8880826"/>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grpSp>
      <p:sp>
        <p:nvSpPr>
          <p:cNvPr id="6" name="object 6"/>
          <p:cNvSpPr txBox="1">
            <a:spLocks noGrp="1"/>
          </p:cNvSpPr>
          <p:nvPr>
            <p:ph type="title"/>
          </p:nvPr>
        </p:nvSpPr>
        <p:spPr>
          <a:xfrm>
            <a:off x="495300" y="19664"/>
            <a:ext cx="8106305" cy="407685"/>
          </a:xfrm>
          <a:prstGeom prst="rect">
            <a:avLst/>
          </a:prstGeom>
        </p:spPr>
        <p:txBody>
          <a:bodyPr vert="horz" wrap="square" lIns="0" tIns="115706" rIns="0" bIns="0" rtlCol="0">
            <a:spAutoFit/>
          </a:bodyPr>
          <a:lstStyle/>
          <a:p>
            <a:pPr marL="8921">
              <a:spcBef>
                <a:spcPts val="464"/>
              </a:spcBef>
            </a:pPr>
            <a:r>
              <a:rPr lang="en-US" sz="2100"/>
              <a:t>Filter Out Noise</a:t>
            </a:r>
            <a:endParaRPr sz="2100" spc="-7"/>
          </a:p>
        </p:txBody>
      </p:sp>
      <p:sp>
        <p:nvSpPr>
          <p:cNvPr id="33" name="Rectangle: Rounded Corners 14">
            <a:extLst>
              <a:ext uri="{FF2B5EF4-FFF2-40B4-BE49-F238E27FC236}">
                <a16:creationId xmlns:a16="http://schemas.microsoft.com/office/drawing/2014/main" id="{3D033E98-D052-C105-B871-3CD692DFD718}"/>
              </a:ext>
            </a:extLst>
          </p:cNvPr>
          <p:cNvSpPr/>
          <p:nvPr/>
        </p:nvSpPr>
        <p:spPr>
          <a:xfrm>
            <a:off x="1848971" y="2823883"/>
            <a:ext cx="2017059" cy="1324104"/>
          </a:xfrm>
          <a:prstGeom prst="roundRect">
            <a:avLst/>
          </a:prstGeom>
          <a:solidFill>
            <a:schemeClr val="accent3"/>
          </a:solidFill>
          <a:ln w="6350" cap="flat" cmpd="sng" algn="ctr">
            <a:solidFill>
              <a:srgbClr val="545659"/>
            </a:solidFill>
            <a:prstDash val="solid"/>
            <a:miter lim="800000"/>
          </a:ln>
          <a:effectLst/>
        </p:spPr>
        <p:txBody>
          <a:bodyPr rtlCol="0" anchor="ctr"/>
          <a:lstStyle/>
          <a:p>
            <a:pPr algn="ctr" defTabSz="302575">
              <a:defRPr/>
            </a:pPr>
            <a:r>
              <a:rPr lang="en-US" sz="1191" b="1">
                <a:solidFill>
                  <a:srgbClr val="FFFFFF"/>
                </a:solidFill>
                <a:latin typeface="Arial" panose="020B0604020202020204"/>
                <a:ea typeface="+mn-ea"/>
                <a:cs typeface="+mn-cs"/>
              </a:rPr>
              <a:t>Noise</a:t>
            </a:r>
          </a:p>
        </p:txBody>
      </p:sp>
      <p:sp>
        <p:nvSpPr>
          <p:cNvPr id="34" name="Rectangle: Rounded Corners 6">
            <a:extLst>
              <a:ext uri="{FF2B5EF4-FFF2-40B4-BE49-F238E27FC236}">
                <a16:creationId xmlns:a16="http://schemas.microsoft.com/office/drawing/2014/main" id="{3B26E3B0-1173-ECE0-39D6-154EDD119F8C}"/>
              </a:ext>
            </a:extLst>
          </p:cNvPr>
          <p:cNvSpPr/>
          <p:nvPr/>
        </p:nvSpPr>
        <p:spPr>
          <a:xfrm>
            <a:off x="1848971" y="907677"/>
            <a:ext cx="2017059" cy="1324104"/>
          </a:xfrm>
          <a:prstGeom prst="roundRect">
            <a:avLst/>
          </a:prstGeom>
          <a:solidFill>
            <a:srgbClr val="1C345E"/>
          </a:solidFill>
          <a:ln w="6350" cap="flat" cmpd="sng" algn="ctr">
            <a:solidFill>
              <a:srgbClr val="545659"/>
            </a:solidFill>
            <a:prstDash val="solid"/>
            <a:miter lim="800000"/>
          </a:ln>
          <a:effectLst/>
        </p:spPr>
        <p:txBody>
          <a:bodyPr rtlCol="0" anchor="ctr"/>
          <a:lstStyle/>
          <a:p>
            <a:pPr algn="ctr" defTabSz="302575">
              <a:defRPr/>
            </a:pPr>
            <a:r>
              <a:rPr lang="en-US" sz="1191" b="1">
                <a:solidFill>
                  <a:srgbClr val="FFFFFF"/>
                </a:solidFill>
                <a:latin typeface="Arial" panose="020B0604020202020204"/>
                <a:ea typeface="+mn-ea"/>
                <a:cs typeface="+mn-cs"/>
              </a:rPr>
              <a:t>Signal</a:t>
            </a:r>
          </a:p>
        </p:txBody>
      </p:sp>
      <p:sp>
        <p:nvSpPr>
          <p:cNvPr id="35" name="TextBox 34">
            <a:extLst>
              <a:ext uri="{FF2B5EF4-FFF2-40B4-BE49-F238E27FC236}">
                <a16:creationId xmlns:a16="http://schemas.microsoft.com/office/drawing/2014/main" id="{D175C2CB-EF28-393B-2D52-2AE0D86D8CD4}"/>
              </a:ext>
            </a:extLst>
          </p:cNvPr>
          <p:cNvSpPr txBox="1"/>
          <p:nvPr/>
        </p:nvSpPr>
        <p:spPr>
          <a:xfrm>
            <a:off x="4168588" y="1159809"/>
            <a:ext cx="4765061" cy="523220"/>
          </a:xfrm>
          <a:prstGeom prst="rect">
            <a:avLst/>
          </a:prstGeom>
          <a:noFill/>
        </p:spPr>
        <p:txBody>
          <a:bodyPr wrap="square" rtlCol="0">
            <a:spAutoFit/>
          </a:bodyPr>
          <a:lstStyle/>
          <a:p>
            <a:pPr defTabSz="605150" fontAlgn="auto">
              <a:spcBef>
                <a:spcPts val="0"/>
              </a:spcBef>
              <a:spcAft>
                <a:spcPts val="0"/>
              </a:spcAft>
            </a:pPr>
            <a:r>
              <a:rPr lang="en-US" sz="1400" kern="0">
                <a:latin typeface="+mj-lt"/>
              </a:rPr>
              <a:t>Represents the information you want to leverage, among a sea of data and information</a:t>
            </a:r>
          </a:p>
        </p:txBody>
      </p:sp>
      <p:sp>
        <p:nvSpPr>
          <p:cNvPr id="36" name="TextBox 35">
            <a:extLst>
              <a:ext uri="{FF2B5EF4-FFF2-40B4-BE49-F238E27FC236}">
                <a16:creationId xmlns:a16="http://schemas.microsoft.com/office/drawing/2014/main" id="{D4CD981F-DBA1-DCF9-AD1A-297F2E51273B}"/>
              </a:ext>
            </a:extLst>
          </p:cNvPr>
          <p:cNvSpPr txBox="1"/>
          <p:nvPr/>
        </p:nvSpPr>
        <p:spPr>
          <a:xfrm>
            <a:off x="4219015" y="3126442"/>
            <a:ext cx="4387103" cy="523220"/>
          </a:xfrm>
          <a:prstGeom prst="rect">
            <a:avLst/>
          </a:prstGeom>
          <a:noFill/>
        </p:spPr>
        <p:txBody>
          <a:bodyPr wrap="square" rtlCol="0">
            <a:spAutoFit/>
          </a:bodyPr>
          <a:lstStyle/>
          <a:p>
            <a:pPr defTabSz="605150" fontAlgn="auto">
              <a:spcBef>
                <a:spcPts val="0"/>
              </a:spcBef>
              <a:spcAft>
                <a:spcPts val="0"/>
              </a:spcAft>
            </a:pPr>
            <a:r>
              <a:rPr lang="en-US" sz="1400" kern="0">
                <a:latin typeface="+mj-lt"/>
              </a:rPr>
              <a:t>Represents all the other information, which distracts from the relevant information</a:t>
            </a:r>
          </a:p>
        </p:txBody>
      </p:sp>
    </p:spTree>
    <p:extLst>
      <p:ext uri="{BB962C8B-B14F-4D97-AF65-F5344CB8AC3E}">
        <p14:creationId xmlns:p14="http://schemas.microsoft.com/office/powerpoint/2010/main" val="22867803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nodeType="withEffect">
                                  <p:stCondLst>
                                    <p:cond delay="0"/>
                                  </p:stCondLst>
                                  <p:childTnLst>
                                    <p:set>
                                      <p:cBhvr>
                                        <p:cTn id="9" dur="1" fill="hold">
                                          <p:stCondLst>
                                            <p:cond delay="0"/>
                                          </p:stCondLst>
                                        </p:cTn>
                                        <p:tgtEl>
                                          <p:spTgt spid="34">
                                            <p:txEl>
                                              <p:pRg st="0" end="0"/>
                                            </p:txEl>
                                          </p:spTgt>
                                        </p:tgtEl>
                                        <p:attrNameLst>
                                          <p:attrName>style.visibility</p:attrName>
                                        </p:attrNameLst>
                                      </p:cBhvr>
                                      <p:to>
                                        <p:strVal val="visible"/>
                                      </p:to>
                                    </p:set>
                                    <p:animEffect transition="in" filter="fade">
                                      <p:cBhvr>
                                        <p:cTn id="10" dur="500"/>
                                        <p:tgtEl>
                                          <p:spTgt spid="3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10" presetClass="entr" presetSubtype="0" fill="hold" nodeType="withEffect">
                                  <p:stCondLst>
                                    <p:cond delay="0"/>
                                  </p:stCondLst>
                                  <p:childTnLst>
                                    <p:set>
                                      <p:cBhvr>
                                        <p:cTn id="15" dur="1" fill="hold">
                                          <p:stCondLst>
                                            <p:cond delay="0"/>
                                          </p:stCondLst>
                                        </p:cTn>
                                        <p:tgtEl>
                                          <p:spTgt spid="33">
                                            <p:txEl>
                                              <p:pRg st="0" end="0"/>
                                            </p:txEl>
                                          </p:spTgt>
                                        </p:tgtEl>
                                        <p:attrNameLst>
                                          <p:attrName>style.visibility</p:attrName>
                                        </p:attrNameLst>
                                      </p:cBhvr>
                                      <p:to>
                                        <p:strVal val="visible"/>
                                      </p:to>
                                    </p:set>
                                    <p:animEffect transition="in" filter="fade">
                                      <p:cBhvr>
                                        <p:cTn id="16" dur="500"/>
                                        <p:tgtEl>
                                          <p:spTgt spid="33">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iterate type="lt">
                                    <p:tmPct val="0"/>
                                  </p:iterate>
                                  <p:childTnLst>
                                    <p:set>
                                      <p:cBhvr>
                                        <p:cTn id="20" dur="1" fill="hold">
                                          <p:stCondLst>
                                            <p:cond delay="0"/>
                                          </p:stCondLst>
                                        </p:cTn>
                                        <p:tgtEl>
                                          <p:spTgt spid="35"/>
                                        </p:tgtEl>
                                        <p:attrNameLst>
                                          <p:attrName>style.visibility</p:attrName>
                                        </p:attrNameLst>
                                      </p:cBhvr>
                                      <p:to>
                                        <p:strVal val="visible"/>
                                      </p:to>
                                    </p:set>
                                    <p:animEffect transition="in" filter="fade">
                                      <p:cBhvr>
                                        <p:cTn id="21" dur="500"/>
                                        <p:tgtEl>
                                          <p:spTgt spid="3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iterate type="lt">
                                    <p:tmPct val="0"/>
                                  </p:iterate>
                                  <p:childTnLst>
                                    <p:set>
                                      <p:cBhvr>
                                        <p:cTn id="25" dur="1" fill="hold">
                                          <p:stCondLst>
                                            <p:cond delay="0"/>
                                          </p:stCondLst>
                                        </p:cTn>
                                        <p:tgtEl>
                                          <p:spTgt spid="36"/>
                                        </p:tgtEl>
                                        <p:attrNameLst>
                                          <p:attrName>style.visibility</p:attrName>
                                        </p:attrNameLst>
                                      </p:cBhvr>
                                      <p:to>
                                        <p:strVal val="visible"/>
                                      </p:to>
                                    </p:set>
                                    <p:animEffect transition="in" filter="fade">
                                      <p:cBhvr>
                                        <p:cTn id="26"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p:bldP spid="3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object 8" hidden="1"/>
          <p:cNvGrpSpPr/>
          <p:nvPr/>
        </p:nvGrpSpPr>
        <p:grpSpPr>
          <a:xfrm>
            <a:off x="2041307" y="1045596"/>
            <a:ext cx="5002025" cy="4825560"/>
            <a:chOff x="283685" y="2856674"/>
            <a:chExt cx="7120530" cy="6869327"/>
          </a:xfrm>
        </p:grpSpPr>
        <p:pic>
          <p:nvPicPr>
            <p:cNvPr id="9" name="object 9"/>
            <p:cNvPicPr/>
            <p:nvPr/>
          </p:nvPicPr>
          <p:blipFill>
            <a:blip r:embed="rId3" cstate="print"/>
            <a:stretch>
              <a:fillRect/>
            </a:stretch>
          </p:blipFill>
          <p:spPr>
            <a:xfrm>
              <a:off x="6905856" y="9204710"/>
              <a:ext cx="498359" cy="498359"/>
            </a:xfrm>
            <a:prstGeom prst="rect">
              <a:avLst/>
            </a:prstGeom>
          </p:spPr>
        </p:pic>
        <p:pic>
          <p:nvPicPr>
            <p:cNvPr id="10" name="object 10"/>
            <p:cNvPicPr/>
            <p:nvPr/>
          </p:nvPicPr>
          <p:blipFill>
            <a:blip r:embed="rId4" cstate="print"/>
            <a:stretch>
              <a:fillRect/>
            </a:stretch>
          </p:blipFill>
          <p:spPr>
            <a:xfrm>
              <a:off x="283685" y="9461275"/>
              <a:ext cx="1748804" cy="264726"/>
            </a:xfrm>
            <a:prstGeom prst="rect">
              <a:avLst/>
            </a:prstGeom>
          </p:spPr>
        </p:pic>
        <p:sp>
          <p:nvSpPr>
            <p:cNvPr id="11" name="object 11"/>
            <p:cNvSpPr/>
            <p:nvPr/>
          </p:nvSpPr>
          <p:spPr>
            <a:xfrm>
              <a:off x="777240" y="2856674"/>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2" name="object 12"/>
            <p:cNvSpPr/>
            <p:nvPr/>
          </p:nvSpPr>
          <p:spPr>
            <a:xfrm>
              <a:off x="783590" y="2863024"/>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3" name="object 13"/>
            <p:cNvSpPr/>
            <p:nvPr/>
          </p:nvSpPr>
          <p:spPr>
            <a:xfrm>
              <a:off x="777240" y="3506330"/>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4" name="object 14"/>
            <p:cNvSpPr/>
            <p:nvPr/>
          </p:nvSpPr>
          <p:spPr>
            <a:xfrm>
              <a:off x="783590" y="3512680"/>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5" name="object 15"/>
            <p:cNvSpPr/>
            <p:nvPr/>
          </p:nvSpPr>
          <p:spPr>
            <a:xfrm>
              <a:off x="777240" y="4147070"/>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6" name="object 16"/>
            <p:cNvSpPr/>
            <p:nvPr/>
          </p:nvSpPr>
          <p:spPr>
            <a:xfrm>
              <a:off x="783590" y="4153420"/>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7" name="object 17"/>
            <p:cNvSpPr/>
            <p:nvPr/>
          </p:nvSpPr>
          <p:spPr>
            <a:xfrm>
              <a:off x="777240" y="5028336"/>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8" name="object 18"/>
            <p:cNvSpPr/>
            <p:nvPr/>
          </p:nvSpPr>
          <p:spPr>
            <a:xfrm>
              <a:off x="783590" y="5034686"/>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9" name="object 19"/>
            <p:cNvSpPr/>
            <p:nvPr/>
          </p:nvSpPr>
          <p:spPr>
            <a:xfrm>
              <a:off x="777240" y="5669279"/>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0" name="object 20"/>
            <p:cNvSpPr/>
            <p:nvPr/>
          </p:nvSpPr>
          <p:spPr>
            <a:xfrm>
              <a:off x="783590" y="5675629"/>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1" name="object 21"/>
            <p:cNvSpPr/>
            <p:nvPr/>
          </p:nvSpPr>
          <p:spPr>
            <a:xfrm>
              <a:off x="777240" y="6082144"/>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2" name="object 22"/>
            <p:cNvSpPr/>
            <p:nvPr/>
          </p:nvSpPr>
          <p:spPr>
            <a:xfrm>
              <a:off x="783590" y="6088494"/>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3" name="object 23"/>
            <p:cNvSpPr/>
            <p:nvPr/>
          </p:nvSpPr>
          <p:spPr>
            <a:xfrm>
              <a:off x="777240" y="6959434"/>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4" name="object 24"/>
            <p:cNvSpPr/>
            <p:nvPr/>
          </p:nvSpPr>
          <p:spPr>
            <a:xfrm>
              <a:off x="783590" y="6965784"/>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5" name="object 25"/>
            <p:cNvSpPr/>
            <p:nvPr/>
          </p:nvSpPr>
          <p:spPr>
            <a:xfrm>
              <a:off x="777240" y="7598664"/>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6" name="object 26"/>
            <p:cNvSpPr/>
            <p:nvPr/>
          </p:nvSpPr>
          <p:spPr>
            <a:xfrm>
              <a:off x="783590" y="7605014"/>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7" name="object 27"/>
            <p:cNvSpPr/>
            <p:nvPr/>
          </p:nvSpPr>
          <p:spPr>
            <a:xfrm>
              <a:off x="777240" y="8227212"/>
              <a:ext cx="228600" cy="228600"/>
            </a:xfrm>
            <a:custGeom>
              <a:avLst/>
              <a:gdLst/>
              <a:ahLst/>
              <a:cxnLst/>
              <a:rect l="l" t="t" r="r" b="b"/>
              <a:pathLst>
                <a:path w="228600" h="228600">
                  <a:moveTo>
                    <a:pt x="228600" y="0"/>
                  </a:moveTo>
                  <a:lnTo>
                    <a:pt x="0" y="0"/>
                  </a:lnTo>
                  <a:lnTo>
                    <a:pt x="0" y="228599"/>
                  </a:lnTo>
                  <a:lnTo>
                    <a:pt x="228600" y="228599"/>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8" name="object 28"/>
            <p:cNvSpPr/>
            <p:nvPr/>
          </p:nvSpPr>
          <p:spPr>
            <a:xfrm>
              <a:off x="783590" y="8233562"/>
              <a:ext cx="215900" cy="215900"/>
            </a:xfrm>
            <a:custGeom>
              <a:avLst/>
              <a:gdLst/>
              <a:ahLst/>
              <a:cxnLst/>
              <a:rect l="l" t="t" r="r" b="b"/>
              <a:pathLst>
                <a:path w="215900" h="215900">
                  <a:moveTo>
                    <a:pt x="0" y="215899"/>
                  </a:moveTo>
                  <a:lnTo>
                    <a:pt x="215900" y="215899"/>
                  </a:lnTo>
                  <a:lnTo>
                    <a:pt x="215900" y="0"/>
                  </a:lnTo>
                  <a:lnTo>
                    <a:pt x="0" y="0"/>
                  </a:lnTo>
                  <a:lnTo>
                    <a:pt x="0" y="215899"/>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9" name="object 29"/>
            <p:cNvSpPr/>
            <p:nvPr/>
          </p:nvSpPr>
          <p:spPr>
            <a:xfrm>
              <a:off x="777240" y="8874476"/>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30" name="object 30"/>
            <p:cNvSpPr/>
            <p:nvPr/>
          </p:nvSpPr>
          <p:spPr>
            <a:xfrm>
              <a:off x="783590" y="8880826"/>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grpSp>
      <p:sp>
        <p:nvSpPr>
          <p:cNvPr id="6" name="object 6"/>
          <p:cNvSpPr txBox="1">
            <a:spLocks noGrp="1"/>
          </p:cNvSpPr>
          <p:nvPr>
            <p:ph type="title"/>
          </p:nvPr>
        </p:nvSpPr>
        <p:spPr>
          <a:xfrm>
            <a:off x="495300" y="0"/>
            <a:ext cx="8106305" cy="407685"/>
          </a:xfrm>
          <a:prstGeom prst="rect">
            <a:avLst/>
          </a:prstGeom>
        </p:spPr>
        <p:txBody>
          <a:bodyPr vert="horz" wrap="square" lIns="0" tIns="115706" rIns="0" bIns="0" rtlCol="0">
            <a:spAutoFit/>
          </a:bodyPr>
          <a:lstStyle/>
          <a:p>
            <a:pPr marL="8921">
              <a:spcBef>
                <a:spcPts val="464"/>
              </a:spcBef>
            </a:pPr>
            <a:r>
              <a:rPr lang="en-US" sz="2100"/>
              <a:t>Filter Out Noise - Example</a:t>
            </a:r>
            <a:endParaRPr sz="2100" spc="-7"/>
          </a:p>
        </p:txBody>
      </p:sp>
      <p:sp>
        <p:nvSpPr>
          <p:cNvPr id="4" name="TextBox 3">
            <a:extLst>
              <a:ext uri="{FF2B5EF4-FFF2-40B4-BE49-F238E27FC236}">
                <a16:creationId xmlns:a16="http://schemas.microsoft.com/office/drawing/2014/main" id="{7A25CB37-715C-FEF6-57F0-945B947FEE49}"/>
              </a:ext>
            </a:extLst>
          </p:cNvPr>
          <p:cNvSpPr txBox="1"/>
          <p:nvPr/>
        </p:nvSpPr>
        <p:spPr>
          <a:xfrm>
            <a:off x="287977" y="702376"/>
            <a:ext cx="4637008" cy="3964034"/>
          </a:xfrm>
          <a:prstGeom prst="rect">
            <a:avLst/>
          </a:prstGeom>
          <a:noFill/>
        </p:spPr>
        <p:txBody>
          <a:bodyPr wrap="square">
            <a:spAutoFit/>
          </a:bodyPr>
          <a:lstStyle/>
          <a:p>
            <a:pPr defTabSz="605150" fontAlgn="auto">
              <a:spcBef>
                <a:spcPts val="0"/>
              </a:spcBef>
              <a:spcAft>
                <a:spcPts val="0"/>
              </a:spcAft>
            </a:pPr>
            <a:r>
              <a:rPr lang="en-US" sz="1324" b="1" kern="0" dirty="0">
                <a:latin typeface="Arial" panose="020B0604020202020204" pitchFamily="34" charset="0"/>
                <a:cs typeface="Arial" panose="020B0604020202020204" pitchFamily="34" charset="0"/>
              </a:rPr>
              <a:t>Context</a:t>
            </a:r>
            <a:endParaRPr lang="en-US" sz="1324" kern="0" dirty="0">
              <a:latin typeface="Arial" panose="020B0604020202020204" pitchFamily="34" charset="0"/>
              <a:cs typeface="Arial" panose="020B0604020202020204" pitchFamily="34" charset="0"/>
            </a:endParaRPr>
          </a:p>
          <a:p>
            <a:pPr marL="225425" indent="-106363" defTabSz="605150" fontAlgn="auto">
              <a:spcBef>
                <a:spcPts val="0"/>
              </a:spcBef>
              <a:spcAft>
                <a:spcPts val="0"/>
              </a:spcAft>
              <a:buFont typeface="Arial" panose="020B0604020202020204" pitchFamily="34" charset="0"/>
              <a:buChar char="•"/>
            </a:pPr>
            <a:r>
              <a:rPr lang="en-US" sz="1324" kern="0" dirty="0">
                <a:latin typeface="Arial" panose="020B0604020202020204" pitchFamily="34" charset="0"/>
                <a:cs typeface="Arial" panose="020B0604020202020204" pitchFamily="34" charset="0"/>
              </a:rPr>
              <a:t>Company managing a remote and hybrid workforce</a:t>
            </a:r>
          </a:p>
          <a:p>
            <a:pPr marL="225425" indent="-106363" defTabSz="605150" fontAlgn="auto">
              <a:spcBef>
                <a:spcPts val="0"/>
              </a:spcBef>
              <a:spcAft>
                <a:spcPts val="0"/>
              </a:spcAft>
              <a:buFont typeface="Arial" panose="020B0604020202020204" pitchFamily="34" charset="0"/>
              <a:buChar char="•"/>
            </a:pPr>
            <a:r>
              <a:rPr lang="en-US" sz="1324" kern="0" dirty="0">
                <a:latin typeface="Arial" panose="020B0604020202020204" pitchFamily="34" charset="0"/>
                <a:cs typeface="Arial" panose="020B0604020202020204" pitchFamily="34" charset="0"/>
              </a:rPr>
              <a:t>Focus on evaluating employee productivity across departments</a:t>
            </a:r>
          </a:p>
          <a:p>
            <a:pPr defTabSz="605150" fontAlgn="auto">
              <a:spcBef>
                <a:spcPts val="0"/>
              </a:spcBef>
              <a:spcAft>
                <a:spcPts val="0"/>
              </a:spcAft>
            </a:pPr>
            <a:endParaRPr lang="en-US" sz="1324" b="1" kern="0" dirty="0">
              <a:latin typeface="Arial" panose="020B0604020202020204" pitchFamily="34" charset="0"/>
              <a:cs typeface="Arial" panose="020B0604020202020204" pitchFamily="34" charset="0"/>
            </a:endParaRPr>
          </a:p>
          <a:p>
            <a:pPr defTabSz="605150" fontAlgn="auto">
              <a:spcBef>
                <a:spcPts val="0"/>
              </a:spcBef>
              <a:spcAft>
                <a:spcPts val="0"/>
              </a:spcAft>
            </a:pPr>
            <a:r>
              <a:rPr lang="en-US" sz="1324" b="1" kern="0" dirty="0">
                <a:latin typeface="Arial" panose="020B0604020202020204" pitchFamily="34" charset="0"/>
                <a:cs typeface="Arial" panose="020B0604020202020204" pitchFamily="34" charset="0"/>
              </a:rPr>
              <a:t>Goal</a:t>
            </a:r>
            <a:endParaRPr lang="en-US" sz="1324" kern="0" dirty="0">
              <a:latin typeface="Arial" panose="020B0604020202020204" pitchFamily="34" charset="0"/>
              <a:cs typeface="Arial" panose="020B0604020202020204" pitchFamily="34" charset="0"/>
            </a:endParaRPr>
          </a:p>
          <a:p>
            <a:pPr marL="225425" indent="-106363" defTabSz="605150" fontAlgn="auto">
              <a:spcBef>
                <a:spcPts val="0"/>
              </a:spcBef>
              <a:spcAft>
                <a:spcPts val="0"/>
              </a:spcAft>
              <a:buFont typeface="Arial" panose="020B0604020202020204" pitchFamily="34" charset="0"/>
              <a:buChar char="•"/>
            </a:pPr>
            <a:r>
              <a:rPr lang="en-US" sz="1324" kern="0" dirty="0">
                <a:latin typeface="Arial" panose="020B0604020202020204" pitchFamily="34" charset="0"/>
                <a:cs typeface="Arial" panose="020B0604020202020204" pitchFamily="34" charset="0"/>
              </a:rPr>
              <a:t>Understand true productivity levels and trends</a:t>
            </a:r>
          </a:p>
          <a:p>
            <a:pPr marL="225425" indent="-106363" defTabSz="605150" fontAlgn="auto">
              <a:spcBef>
                <a:spcPts val="0"/>
              </a:spcBef>
              <a:spcAft>
                <a:spcPts val="0"/>
              </a:spcAft>
              <a:buFont typeface="Arial" panose="020B0604020202020204" pitchFamily="34" charset="0"/>
              <a:buChar char="•"/>
            </a:pPr>
            <a:r>
              <a:rPr lang="en-US" sz="1324" kern="0" dirty="0">
                <a:latin typeface="Arial" panose="020B0604020202020204" pitchFamily="34" charset="0"/>
                <a:cs typeface="Arial" panose="020B0604020202020204" pitchFamily="34" charset="0"/>
              </a:rPr>
              <a:t>Adjust for noise factors to focus on meaningful signals</a:t>
            </a:r>
          </a:p>
          <a:p>
            <a:pPr defTabSz="605150" fontAlgn="auto">
              <a:spcBef>
                <a:spcPts val="0"/>
              </a:spcBef>
              <a:spcAft>
                <a:spcPts val="0"/>
              </a:spcAft>
            </a:pPr>
            <a:endParaRPr lang="en-US" sz="1324" b="1" kern="0" dirty="0">
              <a:latin typeface="Arial" panose="020B0604020202020204" pitchFamily="34" charset="0"/>
              <a:cs typeface="Arial" panose="020B0604020202020204" pitchFamily="34" charset="0"/>
            </a:endParaRPr>
          </a:p>
          <a:p>
            <a:pPr defTabSz="605150" fontAlgn="auto">
              <a:spcBef>
                <a:spcPts val="0"/>
              </a:spcBef>
              <a:spcAft>
                <a:spcPts val="0"/>
              </a:spcAft>
            </a:pPr>
            <a:endParaRPr lang="en-US" sz="1324" b="1" kern="0" dirty="0">
              <a:latin typeface="Arial" panose="020B0604020202020204" pitchFamily="34" charset="0"/>
              <a:cs typeface="Arial" panose="020B0604020202020204" pitchFamily="34" charset="0"/>
            </a:endParaRPr>
          </a:p>
          <a:p>
            <a:pPr defTabSz="605150" fontAlgn="auto">
              <a:spcBef>
                <a:spcPts val="0"/>
              </a:spcBef>
              <a:spcAft>
                <a:spcPts val="0"/>
              </a:spcAft>
            </a:pPr>
            <a:r>
              <a:rPr lang="en-US" sz="1324" b="1" kern="0" dirty="0">
                <a:latin typeface="Arial" panose="020B0604020202020204" pitchFamily="34" charset="0"/>
                <a:cs typeface="Arial" panose="020B0604020202020204" pitchFamily="34" charset="0"/>
              </a:rPr>
              <a:t>Signal vs. Noise</a:t>
            </a:r>
            <a:endParaRPr lang="en-US" sz="1324" kern="0" dirty="0">
              <a:latin typeface="Arial" panose="020B0604020202020204" pitchFamily="34" charset="0"/>
              <a:cs typeface="Arial" panose="020B0604020202020204" pitchFamily="34" charset="0"/>
            </a:endParaRPr>
          </a:p>
          <a:p>
            <a:pPr marL="119062" defTabSz="605150" fontAlgn="auto">
              <a:spcBef>
                <a:spcPts val="0"/>
              </a:spcBef>
              <a:spcAft>
                <a:spcPts val="0"/>
              </a:spcAft>
            </a:pPr>
            <a:r>
              <a:rPr lang="en-US" sz="1324" b="1" kern="0" dirty="0">
                <a:latin typeface="Arial" panose="020B0604020202020204" pitchFamily="34" charset="0"/>
                <a:cs typeface="Arial" panose="020B0604020202020204" pitchFamily="34" charset="0"/>
              </a:rPr>
              <a:t>Signal</a:t>
            </a:r>
            <a:r>
              <a:rPr lang="en-US" sz="1324" kern="0" dirty="0">
                <a:latin typeface="Arial" panose="020B0604020202020204" pitchFamily="34" charset="0"/>
                <a:cs typeface="Arial" panose="020B0604020202020204" pitchFamily="34" charset="0"/>
              </a:rPr>
              <a:t> Tasks completed per employee per month</a:t>
            </a:r>
          </a:p>
          <a:p>
            <a:pPr marL="119062" defTabSz="605150" fontAlgn="auto">
              <a:spcBef>
                <a:spcPts val="0"/>
              </a:spcBef>
              <a:spcAft>
                <a:spcPts val="0"/>
              </a:spcAft>
            </a:pPr>
            <a:endParaRPr lang="en-US" sz="1324" kern="0" dirty="0">
              <a:latin typeface="Arial" panose="020B0604020202020204" pitchFamily="34" charset="0"/>
              <a:cs typeface="Arial" panose="020B0604020202020204" pitchFamily="34" charset="0"/>
            </a:endParaRPr>
          </a:p>
          <a:p>
            <a:pPr marL="119062" defTabSz="605150" fontAlgn="auto">
              <a:spcBef>
                <a:spcPts val="0"/>
              </a:spcBef>
              <a:spcAft>
                <a:spcPts val="0"/>
              </a:spcAft>
            </a:pPr>
            <a:r>
              <a:rPr lang="en-US" sz="1324" b="1" kern="0" dirty="0">
                <a:latin typeface="Arial" panose="020B0604020202020204" pitchFamily="34" charset="0"/>
                <a:cs typeface="Arial" panose="020B0604020202020204" pitchFamily="34" charset="0"/>
              </a:rPr>
              <a:t>Noise Factors</a:t>
            </a:r>
          </a:p>
          <a:p>
            <a:pPr marL="379270" lvl="1" indent="-153389" defTabSz="605150" fontAlgn="auto">
              <a:spcBef>
                <a:spcPts val="0"/>
              </a:spcBef>
              <a:spcAft>
                <a:spcPts val="0"/>
              </a:spcAft>
              <a:buFont typeface="Arial" panose="020B0604020202020204" pitchFamily="34" charset="0"/>
              <a:buChar char="•"/>
            </a:pPr>
            <a:r>
              <a:rPr lang="en-US" sz="1324" kern="0" dirty="0">
                <a:latin typeface="Arial" panose="020B0604020202020204" pitchFamily="34" charset="0"/>
                <a:cs typeface="Arial" panose="020B0604020202020204" pitchFamily="34" charset="0"/>
              </a:rPr>
              <a:t>Variations due to external factors (e.g., holidays, unplanned absences)</a:t>
            </a:r>
          </a:p>
          <a:p>
            <a:pPr marL="379270" lvl="1" indent="-153389" defTabSz="605150" fontAlgn="auto">
              <a:spcBef>
                <a:spcPts val="0"/>
              </a:spcBef>
              <a:spcAft>
                <a:spcPts val="0"/>
              </a:spcAft>
              <a:buFont typeface="Arial" panose="020B0604020202020204" pitchFamily="34" charset="0"/>
              <a:buChar char="•"/>
            </a:pPr>
            <a:r>
              <a:rPr lang="en-US" sz="1324" kern="0" dirty="0">
                <a:latin typeface="Arial" panose="020B0604020202020204" pitchFamily="34" charset="0"/>
                <a:cs typeface="Arial" panose="020B0604020202020204" pitchFamily="34" charset="0"/>
              </a:rPr>
              <a:t>Differences in team workload distribution</a:t>
            </a:r>
          </a:p>
          <a:p>
            <a:pPr marL="379270" lvl="1" indent="-153389" defTabSz="605150" fontAlgn="auto">
              <a:spcBef>
                <a:spcPts val="0"/>
              </a:spcBef>
              <a:spcAft>
                <a:spcPts val="0"/>
              </a:spcAft>
              <a:buFont typeface="Arial" panose="020B0604020202020204" pitchFamily="34" charset="0"/>
              <a:buChar char="•"/>
            </a:pPr>
            <a:r>
              <a:rPr lang="en-US" sz="1324" kern="0" dirty="0">
                <a:latin typeface="Arial" panose="020B0604020202020204" pitchFamily="34" charset="0"/>
                <a:cs typeface="Arial" panose="020B0604020202020204" pitchFamily="34" charset="0"/>
              </a:rPr>
              <a:t>Impact of temporary training or onboarding activities</a:t>
            </a:r>
          </a:p>
          <a:p>
            <a:pPr defTabSz="605150" fontAlgn="auto">
              <a:spcBef>
                <a:spcPts val="0"/>
              </a:spcBef>
              <a:spcAft>
                <a:spcPts val="0"/>
              </a:spcAft>
            </a:pPr>
            <a:endParaRPr lang="en-US" sz="1324" b="1" kern="0" dirty="0">
              <a:latin typeface="Arial" panose="020B0604020202020204" pitchFamily="34" charset="0"/>
              <a:cs typeface="Arial" panose="020B0604020202020204" pitchFamily="34" charset="0"/>
            </a:endParaRPr>
          </a:p>
        </p:txBody>
      </p:sp>
      <p:pic>
        <p:nvPicPr>
          <p:cNvPr id="31" name="Picture 30">
            <a:extLst>
              <a:ext uri="{FF2B5EF4-FFF2-40B4-BE49-F238E27FC236}">
                <a16:creationId xmlns:a16="http://schemas.microsoft.com/office/drawing/2014/main" id="{3CE1BB96-55AC-508C-C70A-0A416CB28BF8}"/>
              </a:ext>
            </a:extLst>
          </p:cNvPr>
          <p:cNvPicPr>
            <a:picLocks noChangeAspect="1"/>
          </p:cNvPicPr>
          <p:nvPr/>
        </p:nvPicPr>
        <p:blipFill>
          <a:blip r:embed="rId5"/>
          <a:srcRect/>
          <a:stretch/>
        </p:blipFill>
        <p:spPr>
          <a:xfrm>
            <a:off x="5091262" y="1171908"/>
            <a:ext cx="3904140" cy="2342484"/>
          </a:xfrm>
          <a:prstGeom prst="rect">
            <a:avLst/>
          </a:prstGeom>
        </p:spPr>
      </p:pic>
    </p:spTree>
    <p:extLst>
      <p:ext uri="{BB962C8B-B14F-4D97-AF65-F5344CB8AC3E}">
        <p14:creationId xmlns:p14="http://schemas.microsoft.com/office/powerpoint/2010/main" val="2819743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13" end="13"/>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14" end="14"/>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7559BF-01FD-432C-820F-48726A652062}"/>
              </a:ext>
            </a:extLst>
          </p:cNvPr>
          <p:cNvSpPr>
            <a:spLocks noGrp="1"/>
          </p:cNvSpPr>
          <p:nvPr>
            <p:ph type="title"/>
          </p:nvPr>
        </p:nvSpPr>
        <p:spPr>
          <a:xfrm>
            <a:off x="495300" y="187937"/>
            <a:ext cx="8106305" cy="513211"/>
          </a:xfrm>
        </p:spPr>
        <p:txBody>
          <a:bodyPr/>
          <a:lstStyle/>
          <a:p>
            <a:r>
              <a:rPr lang="en-US" sz="2400" dirty="0"/>
              <a:t>Introduction</a:t>
            </a:r>
            <a:r>
              <a:rPr lang="en-US" dirty="0"/>
              <a:t> </a:t>
            </a:r>
          </a:p>
        </p:txBody>
      </p:sp>
      <p:sp>
        <p:nvSpPr>
          <p:cNvPr id="5" name="Rectangle 4">
            <a:extLst>
              <a:ext uri="{FF2B5EF4-FFF2-40B4-BE49-F238E27FC236}">
                <a16:creationId xmlns:a16="http://schemas.microsoft.com/office/drawing/2014/main" id="{3BE4642A-7D21-8491-80B9-21519318A9EC}"/>
              </a:ext>
            </a:extLst>
          </p:cNvPr>
          <p:cNvSpPr/>
          <p:nvPr/>
        </p:nvSpPr>
        <p:spPr>
          <a:xfrm>
            <a:off x="175260" y="4634949"/>
            <a:ext cx="1859280" cy="4308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3" name="Group 12">
            <a:extLst>
              <a:ext uri="{FF2B5EF4-FFF2-40B4-BE49-F238E27FC236}">
                <a16:creationId xmlns:a16="http://schemas.microsoft.com/office/drawing/2014/main" id="{A1FD1A1B-B28E-2FE9-98A3-DDA2EFBFF9C7}"/>
              </a:ext>
            </a:extLst>
          </p:cNvPr>
          <p:cNvGrpSpPr/>
          <p:nvPr/>
        </p:nvGrpSpPr>
        <p:grpSpPr>
          <a:xfrm>
            <a:off x="6322730" y="701148"/>
            <a:ext cx="2017395" cy="2017395"/>
            <a:chOff x="2960370" y="240030"/>
            <a:chExt cx="2017395" cy="2017395"/>
          </a:xfrm>
        </p:grpSpPr>
        <p:sp>
          <p:nvSpPr>
            <p:cNvPr id="7" name="Oval 6">
              <a:extLst>
                <a:ext uri="{FF2B5EF4-FFF2-40B4-BE49-F238E27FC236}">
                  <a16:creationId xmlns:a16="http://schemas.microsoft.com/office/drawing/2014/main" id="{CCBD1A27-83D6-615A-A7E7-33B8BE711161}"/>
                </a:ext>
              </a:extLst>
            </p:cNvPr>
            <p:cNvSpPr/>
            <p:nvPr/>
          </p:nvSpPr>
          <p:spPr>
            <a:xfrm>
              <a:off x="2960370" y="240030"/>
              <a:ext cx="2011680" cy="2011680"/>
            </a:xfrm>
            <a:prstGeom prst="ellipse">
              <a:avLst/>
            </a:prstGeom>
            <a:no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2" name="Picture 11">
              <a:extLst>
                <a:ext uri="{FF2B5EF4-FFF2-40B4-BE49-F238E27FC236}">
                  <a16:creationId xmlns:a16="http://schemas.microsoft.com/office/drawing/2014/main" id="{1CDD9FDA-64C7-C4E7-346B-FB4529649AE7}"/>
                </a:ext>
              </a:extLst>
            </p:cNvPr>
            <p:cNvPicPr>
              <a:picLocks noChangeAspect="1"/>
            </p:cNvPicPr>
            <p:nvPr/>
          </p:nvPicPr>
          <p:blipFill>
            <a:blip r:embed="rId4"/>
            <a:stretch>
              <a:fillRect/>
            </a:stretch>
          </p:blipFill>
          <p:spPr>
            <a:xfrm>
              <a:off x="2966085" y="245745"/>
              <a:ext cx="2011680" cy="2011680"/>
            </a:xfrm>
            <a:prstGeom prst="rect">
              <a:avLst/>
            </a:prstGeom>
          </p:spPr>
        </p:pic>
      </p:grpSp>
      <p:sp>
        <p:nvSpPr>
          <p:cNvPr id="14" name="TextBox 13">
            <a:extLst>
              <a:ext uri="{FF2B5EF4-FFF2-40B4-BE49-F238E27FC236}">
                <a16:creationId xmlns:a16="http://schemas.microsoft.com/office/drawing/2014/main" id="{78A7B6CC-ACCE-2BB3-F4E4-1118CD6238BE}"/>
              </a:ext>
            </a:extLst>
          </p:cNvPr>
          <p:cNvSpPr txBox="1"/>
          <p:nvPr/>
        </p:nvSpPr>
        <p:spPr>
          <a:xfrm>
            <a:off x="411480" y="1150352"/>
            <a:ext cx="6524287" cy="3539430"/>
          </a:xfrm>
          <a:prstGeom prst="rect">
            <a:avLst/>
          </a:prstGeom>
          <a:noFill/>
        </p:spPr>
        <p:txBody>
          <a:bodyPr wrap="none" rtlCol="0">
            <a:spAutoFit/>
          </a:bodyPr>
          <a:lstStyle/>
          <a:p>
            <a:pPr algn="l"/>
            <a:r>
              <a:rPr lang="en-US" b="1" dirty="0">
                <a:latin typeface="Arial" panose="020B0604020202020204" pitchFamily="34" charset="0"/>
                <a:cs typeface="Arial" panose="020B0604020202020204" pitchFamily="34" charset="0"/>
              </a:rPr>
              <a:t>Kevin Hanegan</a:t>
            </a:r>
          </a:p>
          <a:p>
            <a:pPr algn="l"/>
            <a:r>
              <a:rPr lang="en-US" sz="1600" dirty="0">
                <a:latin typeface="Arial" panose="020B0604020202020204" pitchFamily="34" charset="0"/>
                <a:cs typeface="Arial" panose="020B0604020202020204" pitchFamily="34" charset="0"/>
              </a:rPr>
              <a:t>	Pioneer and Thought Leader in Data Literacy </a:t>
            </a:r>
          </a:p>
          <a:p>
            <a:pPr algn="l"/>
            <a:endParaRPr lang="en-US" sz="1600" dirty="0">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400" dirty="0">
                <a:latin typeface="Arial" panose="020B0604020202020204" pitchFamily="34" charset="0"/>
                <a:cs typeface="Arial" panose="020B0604020202020204" pitchFamily="34" charset="0"/>
              </a:rPr>
              <a:t>Author of </a:t>
            </a:r>
            <a:r>
              <a:rPr lang="en-US" sz="1400" i="1" dirty="0">
                <a:latin typeface="Arial" panose="020B0604020202020204" pitchFamily="34" charset="0"/>
                <a:cs typeface="Arial" panose="020B0604020202020204" pitchFamily="34" charset="0"/>
              </a:rPr>
              <a:t>Turning Data into Wisdom</a:t>
            </a:r>
            <a:r>
              <a:rPr lang="en-US" sz="1400" dirty="0">
                <a:latin typeface="Arial" panose="020B0604020202020204" pitchFamily="34" charset="0"/>
                <a:cs typeface="Arial" panose="020B0604020202020204" pitchFamily="34" charset="0"/>
              </a:rPr>
              <a:t> and </a:t>
            </a:r>
            <a:r>
              <a:rPr lang="en-US" sz="1400" i="1" dirty="0">
                <a:latin typeface="Arial" panose="020B0604020202020204" pitchFamily="34" charset="0"/>
                <a:cs typeface="Arial" panose="020B0604020202020204" pitchFamily="34" charset="0"/>
              </a:rPr>
              <a:t>Data Literacy in Practice</a:t>
            </a:r>
            <a:endParaRPr lang="en-US" sz="1400" dirty="0">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400" dirty="0">
                <a:latin typeface="Arial" panose="020B0604020202020204" pitchFamily="34" charset="0"/>
                <a:cs typeface="Arial" panose="020B0604020202020204" pitchFamily="34" charset="0"/>
              </a:rPr>
              <a:t>Chair of The Data Literacy Project</a:t>
            </a:r>
          </a:p>
          <a:p>
            <a:pPr marL="285750" indent="-285750" algn="l">
              <a:buFont typeface="Arial" panose="020B0604020202020204" pitchFamily="34" charset="0"/>
              <a:buChar char="•"/>
            </a:pPr>
            <a:r>
              <a:rPr lang="en-US" sz="1400" dirty="0">
                <a:latin typeface="Arial" panose="020B0604020202020204" pitchFamily="34" charset="0"/>
                <a:cs typeface="Arial" panose="020B0604020202020204" pitchFamily="34" charset="0"/>
              </a:rPr>
              <a:t>Founder of Turning Data into Wisdom</a:t>
            </a:r>
          </a:p>
          <a:p>
            <a:pPr marL="285750" indent="-285750" algn="l">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algn="l"/>
            <a:r>
              <a:rPr lang="en-US" sz="1400" dirty="0">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30+ Years of experience in Data &amp; Analytics, Enterprise Learning</a:t>
            </a:r>
          </a:p>
          <a:p>
            <a:pPr algn="l"/>
            <a:r>
              <a:rPr lang="en-US" sz="1600" dirty="0">
                <a:latin typeface="Arial" panose="020B0604020202020204" pitchFamily="34" charset="0"/>
                <a:cs typeface="Arial" panose="020B0604020202020204" pitchFamily="34" charset="0"/>
              </a:rPr>
              <a:t>	and Organizational Change Management.</a:t>
            </a:r>
          </a:p>
          <a:p>
            <a:pPr marL="285750" indent="-285750" algn="l">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Former Chief Learning Officer at Qlik</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Professor at Boise State University </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Professor at Oregon State University</a:t>
            </a:r>
          </a:p>
          <a:p>
            <a:endParaRPr lang="en-US"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381829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object 8" hidden="1"/>
          <p:cNvGrpSpPr/>
          <p:nvPr/>
        </p:nvGrpSpPr>
        <p:grpSpPr>
          <a:xfrm>
            <a:off x="2041307" y="1045596"/>
            <a:ext cx="5002025" cy="4825560"/>
            <a:chOff x="283685" y="2856674"/>
            <a:chExt cx="7120530" cy="6869327"/>
          </a:xfrm>
        </p:grpSpPr>
        <p:pic>
          <p:nvPicPr>
            <p:cNvPr id="9" name="object 9"/>
            <p:cNvPicPr/>
            <p:nvPr/>
          </p:nvPicPr>
          <p:blipFill>
            <a:blip r:embed="rId3" cstate="print"/>
            <a:stretch>
              <a:fillRect/>
            </a:stretch>
          </p:blipFill>
          <p:spPr>
            <a:xfrm>
              <a:off x="6905856" y="9204710"/>
              <a:ext cx="498359" cy="498359"/>
            </a:xfrm>
            <a:prstGeom prst="rect">
              <a:avLst/>
            </a:prstGeom>
          </p:spPr>
        </p:pic>
        <p:pic>
          <p:nvPicPr>
            <p:cNvPr id="10" name="object 10"/>
            <p:cNvPicPr/>
            <p:nvPr/>
          </p:nvPicPr>
          <p:blipFill>
            <a:blip r:embed="rId4" cstate="print"/>
            <a:stretch>
              <a:fillRect/>
            </a:stretch>
          </p:blipFill>
          <p:spPr>
            <a:xfrm>
              <a:off x="283685" y="9461275"/>
              <a:ext cx="1748804" cy="264726"/>
            </a:xfrm>
            <a:prstGeom prst="rect">
              <a:avLst/>
            </a:prstGeom>
          </p:spPr>
        </p:pic>
        <p:sp>
          <p:nvSpPr>
            <p:cNvPr id="11" name="object 11"/>
            <p:cNvSpPr/>
            <p:nvPr/>
          </p:nvSpPr>
          <p:spPr>
            <a:xfrm>
              <a:off x="777240" y="2856674"/>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2" name="object 12"/>
            <p:cNvSpPr/>
            <p:nvPr/>
          </p:nvSpPr>
          <p:spPr>
            <a:xfrm>
              <a:off x="783590" y="2863024"/>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3" name="object 13"/>
            <p:cNvSpPr/>
            <p:nvPr/>
          </p:nvSpPr>
          <p:spPr>
            <a:xfrm>
              <a:off x="777240" y="3506330"/>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4" name="object 14"/>
            <p:cNvSpPr/>
            <p:nvPr/>
          </p:nvSpPr>
          <p:spPr>
            <a:xfrm>
              <a:off x="783590" y="3512680"/>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5" name="object 15"/>
            <p:cNvSpPr/>
            <p:nvPr/>
          </p:nvSpPr>
          <p:spPr>
            <a:xfrm>
              <a:off x="777240" y="4147070"/>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6" name="object 16"/>
            <p:cNvSpPr/>
            <p:nvPr/>
          </p:nvSpPr>
          <p:spPr>
            <a:xfrm>
              <a:off x="783590" y="4153420"/>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7" name="object 17"/>
            <p:cNvSpPr/>
            <p:nvPr/>
          </p:nvSpPr>
          <p:spPr>
            <a:xfrm>
              <a:off x="777240" y="5028336"/>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8" name="object 18"/>
            <p:cNvSpPr/>
            <p:nvPr/>
          </p:nvSpPr>
          <p:spPr>
            <a:xfrm>
              <a:off x="783590" y="5034686"/>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19" name="object 19"/>
            <p:cNvSpPr/>
            <p:nvPr/>
          </p:nvSpPr>
          <p:spPr>
            <a:xfrm>
              <a:off x="777240" y="5669279"/>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0" name="object 20"/>
            <p:cNvSpPr/>
            <p:nvPr/>
          </p:nvSpPr>
          <p:spPr>
            <a:xfrm>
              <a:off x="783590" y="5675629"/>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1" name="object 21"/>
            <p:cNvSpPr/>
            <p:nvPr/>
          </p:nvSpPr>
          <p:spPr>
            <a:xfrm>
              <a:off x="777240" y="6082144"/>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2" name="object 22"/>
            <p:cNvSpPr/>
            <p:nvPr/>
          </p:nvSpPr>
          <p:spPr>
            <a:xfrm>
              <a:off x="783590" y="6088494"/>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3" name="object 23"/>
            <p:cNvSpPr/>
            <p:nvPr/>
          </p:nvSpPr>
          <p:spPr>
            <a:xfrm>
              <a:off x="777240" y="6959434"/>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4" name="object 24"/>
            <p:cNvSpPr/>
            <p:nvPr/>
          </p:nvSpPr>
          <p:spPr>
            <a:xfrm>
              <a:off x="783590" y="6965784"/>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5" name="object 25"/>
            <p:cNvSpPr/>
            <p:nvPr/>
          </p:nvSpPr>
          <p:spPr>
            <a:xfrm>
              <a:off x="777240" y="7598664"/>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6" name="object 26"/>
            <p:cNvSpPr/>
            <p:nvPr/>
          </p:nvSpPr>
          <p:spPr>
            <a:xfrm>
              <a:off x="783590" y="7605014"/>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7" name="object 27"/>
            <p:cNvSpPr/>
            <p:nvPr/>
          </p:nvSpPr>
          <p:spPr>
            <a:xfrm>
              <a:off x="777240" y="8227212"/>
              <a:ext cx="228600" cy="228600"/>
            </a:xfrm>
            <a:custGeom>
              <a:avLst/>
              <a:gdLst/>
              <a:ahLst/>
              <a:cxnLst/>
              <a:rect l="l" t="t" r="r" b="b"/>
              <a:pathLst>
                <a:path w="228600" h="228600">
                  <a:moveTo>
                    <a:pt x="228600" y="0"/>
                  </a:moveTo>
                  <a:lnTo>
                    <a:pt x="0" y="0"/>
                  </a:lnTo>
                  <a:lnTo>
                    <a:pt x="0" y="228599"/>
                  </a:lnTo>
                  <a:lnTo>
                    <a:pt x="228600" y="228599"/>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8" name="object 28"/>
            <p:cNvSpPr/>
            <p:nvPr/>
          </p:nvSpPr>
          <p:spPr>
            <a:xfrm>
              <a:off x="783590" y="8233562"/>
              <a:ext cx="215900" cy="215900"/>
            </a:xfrm>
            <a:custGeom>
              <a:avLst/>
              <a:gdLst/>
              <a:ahLst/>
              <a:cxnLst/>
              <a:rect l="l" t="t" r="r" b="b"/>
              <a:pathLst>
                <a:path w="215900" h="215900">
                  <a:moveTo>
                    <a:pt x="0" y="215899"/>
                  </a:moveTo>
                  <a:lnTo>
                    <a:pt x="215900" y="215899"/>
                  </a:lnTo>
                  <a:lnTo>
                    <a:pt x="215900" y="0"/>
                  </a:lnTo>
                  <a:lnTo>
                    <a:pt x="0" y="0"/>
                  </a:lnTo>
                  <a:lnTo>
                    <a:pt x="0" y="215899"/>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29" name="object 29"/>
            <p:cNvSpPr/>
            <p:nvPr/>
          </p:nvSpPr>
          <p:spPr>
            <a:xfrm>
              <a:off x="777240" y="8874476"/>
              <a:ext cx="228600" cy="228600"/>
            </a:xfrm>
            <a:custGeom>
              <a:avLst/>
              <a:gdLst/>
              <a:ahLst/>
              <a:cxnLst/>
              <a:rect l="l" t="t" r="r" b="b"/>
              <a:pathLst>
                <a:path w="228600" h="228600">
                  <a:moveTo>
                    <a:pt x="228600" y="0"/>
                  </a:moveTo>
                  <a:lnTo>
                    <a:pt x="0" y="0"/>
                  </a:lnTo>
                  <a:lnTo>
                    <a:pt x="0" y="228600"/>
                  </a:lnTo>
                  <a:lnTo>
                    <a:pt x="228600" y="228600"/>
                  </a:lnTo>
                  <a:lnTo>
                    <a:pt x="228600" y="0"/>
                  </a:lnTo>
                  <a:close/>
                </a:path>
              </a:pathLst>
            </a:custGeom>
            <a:solidFill>
              <a:srgbClr val="FFFFFF"/>
            </a:solidFill>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sp>
          <p:nvSpPr>
            <p:cNvPr id="30" name="object 30"/>
            <p:cNvSpPr/>
            <p:nvPr/>
          </p:nvSpPr>
          <p:spPr>
            <a:xfrm>
              <a:off x="783590" y="8880826"/>
              <a:ext cx="215900" cy="215900"/>
            </a:xfrm>
            <a:custGeom>
              <a:avLst/>
              <a:gdLst/>
              <a:ahLst/>
              <a:cxnLst/>
              <a:rect l="l" t="t" r="r" b="b"/>
              <a:pathLst>
                <a:path w="215900" h="215900">
                  <a:moveTo>
                    <a:pt x="0" y="215900"/>
                  </a:moveTo>
                  <a:lnTo>
                    <a:pt x="215900" y="215900"/>
                  </a:lnTo>
                  <a:lnTo>
                    <a:pt x="215900" y="0"/>
                  </a:lnTo>
                  <a:lnTo>
                    <a:pt x="0" y="0"/>
                  </a:lnTo>
                  <a:lnTo>
                    <a:pt x="0" y="215900"/>
                  </a:lnTo>
                  <a:close/>
                </a:path>
              </a:pathLst>
            </a:custGeom>
            <a:ln w="12700">
              <a:solidFill>
                <a:srgbClr val="767676"/>
              </a:solidFill>
            </a:ln>
          </p:spPr>
          <p:txBody>
            <a:bodyPr wrap="square" lIns="0" tIns="0" rIns="0" bIns="0" rtlCol="0"/>
            <a:lstStyle/>
            <a:p>
              <a:pPr defTabSz="605150" fontAlgn="auto">
                <a:spcBef>
                  <a:spcPts val="0"/>
                </a:spcBef>
                <a:spcAft>
                  <a:spcPts val="0"/>
                </a:spcAft>
              </a:pPr>
              <a:endParaRPr sz="1191" kern="0">
                <a:solidFill>
                  <a:sysClr val="windowText" lastClr="000000"/>
                </a:solidFill>
              </a:endParaRPr>
            </a:p>
          </p:txBody>
        </p:sp>
      </p:grpSp>
      <p:sp>
        <p:nvSpPr>
          <p:cNvPr id="6" name="object 6"/>
          <p:cNvSpPr txBox="1">
            <a:spLocks noGrp="1"/>
          </p:cNvSpPr>
          <p:nvPr>
            <p:ph type="title"/>
          </p:nvPr>
        </p:nvSpPr>
        <p:spPr>
          <a:xfrm>
            <a:off x="495300" y="0"/>
            <a:ext cx="8106305" cy="407685"/>
          </a:xfrm>
          <a:prstGeom prst="rect">
            <a:avLst/>
          </a:prstGeom>
        </p:spPr>
        <p:txBody>
          <a:bodyPr vert="horz" wrap="square" lIns="0" tIns="115706" rIns="0" bIns="0" rtlCol="0">
            <a:spAutoFit/>
          </a:bodyPr>
          <a:lstStyle/>
          <a:p>
            <a:pPr marL="8921">
              <a:spcBef>
                <a:spcPts val="464"/>
              </a:spcBef>
            </a:pPr>
            <a:r>
              <a:rPr lang="en-US" sz="2100"/>
              <a:t>Filter Out Noise - Example</a:t>
            </a:r>
            <a:endParaRPr sz="2100" spc="-7"/>
          </a:p>
        </p:txBody>
      </p:sp>
      <p:sp>
        <p:nvSpPr>
          <p:cNvPr id="4" name="TextBox 3">
            <a:extLst>
              <a:ext uri="{FF2B5EF4-FFF2-40B4-BE49-F238E27FC236}">
                <a16:creationId xmlns:a16="http://schemas.microsoft.com/office/drawing/2014/main" id="{7A25CB37-715C-FEF6-57F0-945B947FEE49}"/>
              </a:ext>
            </a:extLst>
          </p:cNvPr>
          <p:cNvSpPr txBox="1"/>
          <p:nvPr/>
        </p:nvSpPr>
        <p:spPr>
          <a:xfrm>
            <a:off x="287977" y="702376"/>
            <a:ext cx="4637008" cy="3556486"/>
          </a:xfrm>
          <a:prstGeom prst="rect">
            <a:avLst/>
          </a:prstGeom>
          <a:noFill/>
        </p:spPr>
        <p:txBody>
          <a:bodyPr wrap="square">
            <a:spAutoFit/>
          </a:bodyPr>
          <a:lstStyle/>
          <a:p>
            <a:pPr defTabSz="605150" fontAlgn="auto">
              <a:spcBef>
                <a:spcPts val="0"/>
              </a:spcBef>
              <a:spcAft>
                <a:spcPts val="0"/>
              </a:spcAft>
            </a:pPr>
            <a:r>
              <a:rPr lang="en-US" sz="1324" b="1" kern="0" dirty="0">
                <a:latin typeface="Arial" panose="020B0604020202020204" pitchFamily="34" charset="0"/>
                <a:cs typeface="Arial" panose="020B0604020202020204" pitchFamily="34" charset="0"/>
              </a:rPr>
              <a:t>Context</a:t>
            </a:r>
          </a:p>
          <a:p>
            <a:pPr marL="228600" indent="-114300" defTabSz="605150" fontAlgn="auto">
              <a:spcBef>
                <a:spcPts val="0"/>
              </a:spcBef>
              <a:spcAft>
                <a:spcPts val="0"/>
              </a:spcAft>
              <a:buFont typeface="Arial" panose="020B0604020202020204" pitchFamily="34" charset="0"/>
              <a:buChar char="•"/>
            </a:pPr>
            <a:r>
              <a:rPr lang="en-US" sz="1324" kern="0" dirty="0">
                <a:latin typeface="Arial" panose="020B0604020202020204" pitchFamily="34" charset="0"/>
                <a:cs typeface="Arial" panose="020B0604020202020204" pitchFamily="34" charset="0"/>
              </a:rPr>
              <a:t>Company managing a remote and hybrid workforce</a:t>
            </a:r>
          </a:p>
          <a:p>
            <a:pPr marL="228600" indent="-114300" defTabSz="605150" fontAlgn="auto">
              <a:spcBef>
                <a:spcPts val="0"/>
              </a:spcBef>
              <a:spcAft>
                <a:spcPts val="0"/>
              </a:spcAft>
              <a:buFont typeface="Arial" panose="020B0604020202020204" pitchFamily="34" charset="0"/>
              <a:buChar char="•"/>
            </a:pPr>
            <a:r>
              <a:rPr lang="en-US" sz="1324" kern="0" dirty="0">
                <a:latin typeface="Arial" panose="020B0604020202020204" pitchFamily="34" charset="0"/>
                <a:cs typeface="Arial" panose="020B0604020202020204" pitchFamily="34" charset="0"/>
              </a:rPr>
              <a:t>Focus on evaluating employee productivity across departments</a:t>
            </a:r>
          </a:p>
          <a:p>
            <a:pPr defTabSz="605150" fontAlgn="auto">
              <a:spcBef>
                <a:spcPts val="0"/>
              </a:spcBef>
              <a:spcAft>
                <a:spcPts val="0"/>
              </a:spcAft>
            </a:pPr>
            <a:endParaRPr lang="en-US" sz="1324" b="1" kern="0" dirty="0">
              <a:latin typeface="Arial" panose="020B0604020202020204" pitchFamily="34" charset="0"/>
              <a:cs typeface="Arial" panose="020B0604020202020204" pitchFamily="34" charset="0"/>
            </a:endParaRPr>
          </a:p>
          <a:p>
            <a:pPr defTabSz="605150" fontAlgn="auto">
              <a:spcBef>
                <a:spcPts val="0"/>
              </a:spcBef>
              <a:spcAft>
                <a:spcPts val="0"/>
              </a:spcAft>
            </a:pPr>
            <a:r>
              <a:rPr lang="en-US" sz="1324" b="1" kern="0" dirty="0">
                <a:latin typeface="Arial" panose="020B0604020202020204" pitchFamily="34" charset="0"/>
                <a:cs typeface="Arial" panose="020B0604020202020204" pitchFamily="34" charset="0"/>
              </a:rPr>
              <a:t>Goal</a:t>
            </a:r>
          </a:p>
          <a:p>
            <a:pPr marL="228600" indent="-114300" defTabSz="605150" fontAlgn="auto">
              <a:spcBef>
                <a:spcPts val="0"/>
              </a:spcBef>
              <a:spcAft>
                <a:spcPts val="0"/>
              </a:spcAft>
              <a:buFont typeface="Arial" panose="020B0604020202020204" pitchFamily="34" charset="0"/>
              <a:buChar char="•"/>
            </a:pPr>
            <a:r>
              <a:rPr lang="en-US" sz="1324" kern="0" dirty="0">
                <a:latin typeface="Arial" panose="020B0604020202020204" pitchFamily="34" charset="0"/>
                <a:cs typeface="Arial" panose="020B0604020202020204" pitchFamily="34" charset="0"/>
              </a:rPr>
              <a:t>Understand true productivity levels and trends</a:t>
            </a:r>
          </a:p>
          <a:p>
            <a:pPr marL="228600" indent="-114300" defTabSz="605150" fontAlgn="auto">
              <a:spcBef>
                <a:spcPts val="0"/>
              </a:spcBef>
              <a:spcAft>
                <a:spcPts val="0"/>
              </a:spcAft>
              <a:buFont typeface="Arial" panose="020B0604020202020204" pitchFamily="34" charset="0"/>
              <a:buChar char="•"/>
            </a:pPr>
            <a:r>
              <a:rPr lang="en-US" sz="1324" kern="0" dirty="0">
                <a:latin typeface="Arial" panose="020B0604020202020204" pitchFamily="34" charset="0"/>
                <a:cs typeface="Arial" panose="020B0604020202020204" pitchFamily="34" charset="0"/>
              </a:rPr>
              <a:t>Adjust for noise factors to focus on meaningful signals</a:t>
            </a:r>
          </a:p>
          <a:p>
            <a:pPr defTabSz="605150" fontAlgn="auto">
              <a:spcBef>
                <a:spcPts val="0"/>
              </a:spcBef>
              <a:spcAft>
                <a:spcPts val="0"/>
              </a:spcAft>
            </a:pPr>
            <a:endParaRPr lang="en-US" sz="1324" b="1" kern="0" dirty="0">
              <a:latin typeface="Arial" panose="020B0604020202020204" pitchFamily="34" charset="0"/>
              <a:cs typeface="Arial" panose="020B0604020202020204" pitchFamily="34" charset="0"/>
            </a:endParaRPr>
          </a:p>
          <a:p>
            <a:pPr defTabSz="605150" fontAlgn="auto">
              <a:spcBef>
                <a:spcPts val="0"/>
              </a:spcBef>
              <a:spcAft>
                <a:spcPts val="0"/>
              </a:spcAft>
            </a:pPr>
            <a:endParaRPr lang="en-US" sz="1324" b="1" kern="0" dirty="0">
              <a:latin typeface="Arial" panose="020B0604020202020204" pitchFamily="34" charset="0"/>
              <a:cs typeface="Arial" panose="020B0604020202020204" pitchFamily="34" charset="0"/>
            </a:endParaRPr>
          </a:p>
          <a:p>
            <a:pPr defTabSz="605150" fontAlgn="auto">
              <a:spcBef>
                <a:spcPts val="0"/>
              </a:spcBef>
              <a:spcAft>
                <a:spcPts val="0"/>
              </a:spcAft>
            </a:pPr>
            <a:r>
              <a:rPr lang="en-US" sz="1324" b="1" kern="0" dirty="0">
                <a:latin typeface="Arial" panose="020B0604020202020204" pitchFamily="34" charset="0"/>
                <a:cs typeface="Arial" panose="020B0604020202020204" pitchFamily="34" charset="0"/>
              </a:rPr>
              <a:t>Signal vs. Noise</a:t>
            </a:r>
            <a:endParaRPr lang="en-US" sz="1324" kern="0" dirty="0">
              <a:latin typeface="Arial" panose="020B0604020202020204" pitchFamily="34" charset="0"/>
              <a:cs typeface="Arial" panose="020B0604020202020204" pitchFamily="34" charset="0"/>
            </a:endParaRPr>
          </a:p>
          <a:p>
            <a:pPr marL="119062" defTabSz="605150" fontAlgn="auto">
              <a:spcBef>
                <a:spcPts val="0"/>
              </a:spcBef>
              <a:spcAft>
                <a:spcPts val="0"/>
              </a:spcAft>
            </a:pPr>
            <a:r>
              <a:rPr lang="en-US" sz="1324" b="1" kern="0" dirty="0">
                <a:latin typeface="Arial" panose="020B0604020202020204" pitchFamily="34" charset="0"/>
                <a:cs typeface="Arial" panose="020B0604020202020204" pitchFamily="34" charset="0"/>
              </a:rPr>
              <a:t>Signal </a:t>
            </a:r>
            <a:r>
              <a:rPr lang="en-US" sz="1324" kern="0" dirty="0">
                <a:latin typeface="Arial" panose="020B0604020202020204" pitchFamily="34" charset="0"/>
                <a:cs typeface="Arial" panose="020B0604020202020204" pitchFamily="34" charset="0"/>
              </a:rPr>
              <a:t>Tasks completed per employee per month</a:t>
            </a:r>
          </a:p>
          <a:p>
            <a:pPr marL="119062" defTabSz="605150" fontAlgn="auto">
              <a:spcBef>
                <a:spcPts val="0"/>
              </a:spcBef>
              <a:spcAft>
                <a:spcPts val="0"/>
              </a:spcAft>
            </a:pPr>
            <a:r>
              <a:rPr lang="en-US" sz="1324" b="1" kern="0" dirty="0">
                <a:latin typeface="Arial" panose="020B0604020202020204" pitchFamily="34" charset="0"/>
                <a:cs typeface="Arial" panose="020B0604020202020204" pitchFamily="34" charset="0"/>
              </a:rPr>
              <a:t>Noise Factors</a:t>
            </a:r>
          </a:p>
          <a:p>
            <a:pPr marL="379270" lvl="1" indent="-153389" defTabSz="605150" fontAlgn="auto">
              <a:spcBef>
                <a:spcPts val="0"/>
              </a:spcBef>
              <a:spcAft>
                <a:spcPts val="0"/>
              </a:spcAft>
              <a:buFont typeface="Arial" panose="020B0604020202020204" pitchFamily="34" charset="0"/>
              <a:buChar char="•"/>
            </a:pPr>
            <a:r>
              <a:rPr lang="en-US" sz="1324" kern="0" dirty="0">
                <a:latin typeface="Arial" panose="020B0604020202020204" pitchFamily="34" charset="0"/>
                <a:cs typeface="Arial" panose="020B0604020202020204" pitchFamily="34" charset="0"/>
              </a:rPr>
              <a:t>Onboarding or absences</a:t>
            </a:r>
          </a:p>
          <a:p>
            <a:pPr marL="379270" lvl="1" indent="-153389" defTabSz="605150" fontAlgn="auto">
              <a:spcBef>
                <a:spcPts val="0"/>
              </a:spcBef>
              <a:spcAft>
                <a:spcPts val="0"/>
              </a:spcAft>
              <a:buFont typeface="Arial" panose="020B0604020202020204" pitchFamily="34" charset="0"/>
              <a:buChar char="•"/>
            </a:pPr>
            <a:r>
              <a:rPr lang="en-US" sz="1324" kern="0" dirty="0">
                <a:latin typeface="Arial" panose="020B0604020202020204" pitchFamily="34" charset="0"/>
                <a:cs typeface="Arial" panose="020B0604020202020204" pitchFamily="34" charset="0"/>
              </a:rPr>
              <a:t>Smoothing out seasonal spikes/dips (e.g., June spike adjusted for additional hours worked)</a:t>
            </a:r>
          </a:p>
          <a:p>
            <a:pPr defTabSz="605150" fontAlgn="auto">
              <a:spcBef>
                <a:spcPts val="0"/>
              </a:spcBef>
              <a:spcAft>
                <a:spcPts val="0"/>
              </a:spcAft>
            </a:pPr>
            <a:endParaRPr lang="en-US" sz="1324" b="1" kern="0" dirty="0">
              <a:latin typeface="Arial" panose="020B0604020202020204" pitchFamily="34" charset="0"/>
              <a:cs typeface="Arial" panose="020B0604020202020204" pitchFamily="34" charset="0"/>
            </a:endParaRPr>
          </a:p>
        </p:txBody>
      </p:sp>
      <p:pic>
        <p:nvPicPr>
          <p:cNvPr id="3" name="Picture 30">
            <a:extLst>
              <a:ext uri="{FF2B5EF4-FFF2-40B4-BE49-F238E27FC236}">
                <a16:creationId xmlns:a16="http://schemas.microsoft.com/office/drawing/2014/main" id="{31F9BFFA-48C9-F644-0715-84E52100F770}"/>
              </a:ext>
            </a:extLst>
          </p:cNvPr>
          <p:cNvPicPr>
            <a:picLocks noChangeAspect="1"/>
          </p:cNvPicPr>
          <p:nvPr/>
        </p:nvPicPr>
        <p:blipFill>
          <a:blip r:embed="rId5"/>
          <a:srcRect/>
          <a:stretch/>
        </p:blipFill>
        <p:spPr>
          <a:xfrm>
            <a:off x="5067300" y="1195436"/>
            <a:ext cx="3825715" cy="2295428"/>
          </a:xfrm>
          <a:prstGeom prst="rect">
            <a:avLst/>
          </a:prstGeom>
        </p:spPr>
      </p:pic>
    </p:spTree>
    <p:extLst>
      <p:ext uri="{BB962C8B-B14F-4D97-AF65-F5344CB8AC3E}">
        <p14:creationId xmlns:p14="http://schemas.microsoft.com/office/powerpoint/2010/main" val="12520813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1C6C3-6887-1B6B-1EFF-04625297CD5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48C1831-C294-ED34-9AD2-60486B179904}"/>
              </a:ext>
            </a:extLst>
          </p:cNvPr>
          <p:cNvSpPr>
            <a:spLocks noGrp="1"/>
          </p:cNvSpPr>
          <p:nvPr>
            <p:ph type="title"/>
          </p:nvPr>
        </p:nvSpPr>
        <p:spPr>
          <a:xfrm>
            <a:off x="495300" y="143444"/>
            <a:ext cx="8106305" cy="513211"/>
          </a:xfrm>
        </p:spPr>
        <p:txBody>
          <a:bodyPr/>
          <a:lstStyle/>
          <a:p>
            <a:r>
              <a:rPr lang="en-US" sz="2100" dirty="0"/>
              <a:t>Breakout Activity – Data Quality &amp; Systemic Data Collection </a:t>
            </a:r>
          </a:p>
        </p:txBody>
      </p:sp>
      <p:sp>
        <p:nvSpPr>
          <p:cNvPr id="5" name="TextBox 4">
            <a:extLst>
              <a:ext uri="{FF2B5EF4-FFF2-40B4-BE49-F238E27FC236}">
                <a16:creationId xmlns:a16="http://schemas.microsoft.com/office/drawing/2014/main" id="{2C8C5AC9-7D58-BD05-514D-1E68BCFFA750}"/>
              </a:ext>
            </a:extLst>
          </p:cNvPr>
          <p:cNvSpPr txBox="1"/>
          <p:nvPr/>
        </p:nvSpPr>
        <p:spPr>
          <a:xfrm>
            <a:off x="495300" y="1102880"/>
            <a:ext cx="8573098" cy="1477328"/>
          </a:xfrm>
          <a:prstGeom prst="rect">
            <a:avLst/>
          </a:prstGeom>
          <a:noFill/>
        </p:spPr>
        <p:txBody>
          <a:bodyPr wrap="square">
            <a:spAutoFit/>
          </a:bodyPr>
          <a:lstStyle/>
          <a:p>
            <a:r>
              <a:rPr lang="en-US" dirty="0">
                <a:latin typeface="Aptos" panose="020B0004020202020204" pitchFamily="34" charset="0"/>
              </a:rPr>
              <a:t>Y</a:t>
            </a:r>
            <a:r>
              <a:rPr lang="en-US" b="0" i="0" dirty="0">
                <a:effectLst/>
                <a:latin typeface="Aptos" panose="020B0004020202020204" pitchFamily="34" charset="0"/>
              </a:rPr>
              <a:t>our group will evaluate a dataset related to employee productivity and</a:t>
            </a:r>
          </a:p>
          <a:p>
            <a:endParaRPr lang="en-US" b="0" i="0" dirty="0">
              <a:effectLst/>
              <a:latin typeface="Aptos" panose="020B0004020202020204" pitchFamily="34" charset="0"/>
            </a:endParaRPr>
          </a:p>
          <a:p>
            <a:pPr marL="285750" indent="-285750">
              <a:buFont typeface="Arial" panose="020B0604020202020204" pitchFamily="34" charset="0"/>
              <a:buChar char="•"/>
            </a:pPr>
            <a:r>
              <a:rPr lang="en-US" b="0" i="0" dirty="0">
                <a:effectLst/>
                <a:latin typeface="Aptos" panose="020B0004020202020204" pitchFamily="34" charset="0"/>
              </a:rPr>
              <a:t>Identify relevant and irrelevant data points for decision-making</a:t>
            </a:r>
          </a:p>
          <a:p>
            <a:pPr marL="285750" indent="-285750">
              <a:buFont typeface="Arial" panose="020B0604020202020204" pitchFamily="34" charset="0"/>
              <a:buChar char="•"/>
            </a:pPr>
            <a:r>
              <a:rPr lang="en-US" b="0" i="0" dirty="0">
                <a:effectLst/>
                <a:latin typeface="Aptos" panose="020B0004020202020204" pitchFamily="34" charset="0"/>
              </a:rPr>
              <a:t>Use Data Quality criteria to assess the dataset</a:t>
            </a:r>
          </a:p>
          <a:p>
            <a:pPr marL="285750" indent="-285750">
              <a:buFont typeface="Arial" panose="020B0604020202020204" pitchFamily="34" charset="0"/>
              <a:buChar char="•"/>
            </a:pPr>
            <a:r>
              <a:rPr lang="en-US" b="0" i="0" dirty="0">
                <a:effectLst/>
                <a:latin typeface="Aptos" panose="020B0004020202020204" pitchFamily="34" charset="0"/>
              </a:rPr>
              <a:t>Propose additional data points using the Systemic Data Collection dimensions</a:t>
            </a:r>
            <a:endParaRPr lang="en-US" dirty="0">
              <a:latin typeface="Aptos" panose="020B0004020202020204" pitchFamily="34" charset="0"/>
            </a:endParaRPr>
          </a:p>
        </p:txBody>
      </p:sp>
    </p:spTree>
    <p:custDataLst>
      <p:tags r:id="rId1"/>
    </p:custDataLst>
    <p:extLst>
      <p:ext uri="{BB962C8B-B14F-4D97-AF65-F5344CB8AC3E}">
        <p14:creationId xmlns:p14="http://schemas.microsoft.com/office/powerpoint/2010/main" val="783571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143444"/>
            <a:ext cx="8106305" cy="513211"/>
          </a:xfrm>
        </p:spPr>
        <p:txBody>
          <a:bodyPr/>
          <a:lstStyle/>
          <a:p>
            <a:r>
              <a:rPr lang="en-US" sz="2100"/>
              <a:t>Analyze &amp; Transform for Data Consumers</a:t>
            </a:r>
            <a:endParaRPr lang="en-IN" sz="2100"/>
          </a:p>
        </p:txBody>
      </p:sp>
      <p:sp>
        <p:nvSpPr>
          <p:cNvPr id="6" name="TextBox 5">
            <a:extLst>
              <a:ext uri="{FF2B5EF4-FFF2-40B4-BE49-F238E27FC236}">
                <a16:creationId xmlns:a16="http://schemas.microsoft.com/office/drawing/2014/main" id="{8492A6CC-8714-4F19-FF48-ABC623194C21}"/>
              </a:ext>
            </a:extLst>
          </p:cNvPr>
          <p:cNvSpPr txBox="1"/>
          <p:nvPr/>
        </p:nvSpPr>
        <p:spPr>
          <a:xfrm>
            <a:off x="6134100" y="1575542"/>
            <a:ext cx="2839078" cy="584775"/>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rPr>
              <a:t>Review and</a:t>
            </a:r>
            <a:r>
              <a:rPr kumimoji="0" lang="en-US" sz="1600" b="1" i="0" u="none" strike="noStrike" kern="1200" cap="none" spc="0" normalizeH="0" noProof="0">
                <a:ln>
                  <a:noFill/>
                </a:ln>
                <a:solidFill>
                  <a:schemeClr val="bg2"/>
                </a:solidFill>
                <a:effectLst/>
                <a:uLnTx/>
                <a:uFillTx/>
                <a:latin typeface="Arial" panose="020B0604020202020204" pitchFamily="34" charset="0"/>
                <a:ea typeface="ＭＳ Ｐゴシック" charset="0"/>
                <a:cs typeface="Arial" panose="020B0604020202020204" pitchFamily="34" charset="0"/>
              </a:rPr>
              <a:t> Contextualize the </a:t>
            </a: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rPr>
              <a:t>Data</a:t>
            </a:r>
          </a:p>
        </p:txBody>
      </p:sp>
      <p:pic>
        <p:nvPicPr>
          <p:cNvPr id="5" name="Picture 4">
            <a:extLst>
              <a:ext uri="{FF2B5EF4-FFF2-40B4-BE49-F238E27FC236}">
                <a16:creationId xmlns:a16="http://schemas.microsoft.com/office/drawing/2014/main" id="{5B772D6B-5E0A-B48F-55ED-8E4B05A815A1}"/>
              </a:ext>
            </a:extLst>
          </p:cNvPr>
          <p:cNvPicPr>
            <a:picLocks noChangeAspect="1"/>
          </p:cNvPicPr>
          <p:nvPr/>
        </p:nvPicPr>
        <p:blipFill>
          <a:blip r:embed="rId3"/>
          <a:stretch>
            <a:fillRect/>
          </a:stretch>
        </p:blipFill>
        <p:spPr>
          <a:xfrm>
            <a:off x="524333" y="1130714"/>
            <a:ext cx="4170099" cy="2733163"/>
          </a:xfrm>
          <a:prstGeom prst="rect">
            <a:avLst/>
          </a:prstGeom>
        </p:spPr>
      </p:pic>
      <p:sp>
        <p:nvSpPr>
          <p:cNvPr id="3" name="Oval 2">
            <a:extLst>
              <a:ext uri="{FF2B5EF4-FFF2-40B4-BE49-F238E27FC236}">
                <a16:creationId xmlns:a16="http://schemas.microsoft.com/office/drawing/2014/main" id="{D0D81008-FD0E-FAB3-0090-9B00DFAD8E46}"/>
              </a:ext>
            </a:extLst>
          </p:cNvPr>
          <p:cNvSpPr/>
          <p:nvPr/>
        </p:nvSpPr>
        <p:spPr>
          <a:xfrm>
            <a:off x="1595887" y="2294497"/>
            <a:ext cx="776377" cy="4388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TextBox 17">
            <a:extLst>
              <a:ext uri="{FF2B5EF4-FFF2-40B4-BE49-F238E27FC236}">
                <a16:creationId xmlns:a16="http://schemas.microsoft.com/office/drawing/2014/main" id="{89AF2EB9-D577-E693-04C0-785A0DF70332}"/>
              </a:ext>
            </a:extLst>
          </p:cNvPr>
          <p:cNvSpPr txBox="1"/>
          <p:nvPr/>
        </p:nvSpPr>
        <p:spPr>
          <a:xfrm>
            <a:off x="6059337" y="3526357"/>
            <a:ext cx="1698584" cy="584775"/>
          </a:xfrm>
          <a:prstGeom prst="rect">
            <a:avLst/>
          </a:prstGeom>
          <a:noFill/>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rPr>
              <a:t>Form Insights</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endParaRPr>
          </a:p>
        </p:txBody>
      </p:sp>
      <p:pic>
        <p:nvPicPr>
          <p:cNvPr id="23" name="Graphic 22" descr="Lightbulb with solid fill">
            <a:extLst>
              <a:ext uri="{FF2B5EF4-FFF2-40B4-BE49-F238E27FC236}">
                <a16:creationId xmlns:a16="http://schemas.microsoft.com/office/drawing/2014/main" id="{3D28DAEA-0E0E-E7F5-20AA-E2E70D6854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01198" y="3394852"/>
            <a:ext cx="640080" cy="640080"/>
          </a:xfrm>
          <a:prstGeom prst="rect">
            <a:avLst/>
          </a:prstGeom>
        </p:spPr>
      </p:pic>
      <p:pic>
        <p:nvPicPr>
          <p:cNvPr id="26" name="Graphic 25" descr="Puzzle with solid fill">
            <a:extLst>
              <a:ext uri="{FF2B5EF4-FFF2-40B4-BE49-F238E27FC236}">
                <a16:creationId xmlns:a16="http://schemas.microsoft.com/office/drawing/2014/main" id="{4488EC99-67B0-5087-8298-F3ED7B01026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95643" y="1545188"/>
            <a:ext cx="640080" cy="640080"/>
          </a:xfrm>
          <a:prstGeom prst="rect">
            <a:avLst/>
          </a:prstGeom>
        </p:spPr>
      </p:pic>
      <p:sp>
        <p:nvSpPr>
          <p:cNvPr id="8" name="TextBox 7">
            <a:extLst>
              <a:ext uri="{FF2B5EF4-FFF2-40B4-BE49-F238E27FC236}">
                <a16:creationId xmlns:a16="http://schemas.microsoft.com/office/drawing/2014/main" id="{930757B1-0783-BB94-2E10-5A37385B4597}"/>
              </a:ext>
            </a:extLst>
          </p:cNvPr>
          <p:cNvSpPr txBox="1"/>
          <p:nvPr/>
        </p:nvSpPr>
        <p:spPr>
          <a:xfrm>
            <a:off x="6134100" y="768431"/>
            <a:ext cx="1826141" cy="338554"/>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rPr>
              <a:t>Data Preparation</a:t>
            </a:r>
          </a:p>
        </p:txBody>
      </p:sp>
      <p:sp>
        <p:nvSpPr>
          <p:cNvPr id="10" name="Freeform 54">
            <a:extLst>
              <a:ext uri="{FF2B5EF4-FFF2-40B4-BE49-F238E27FC236}">
                <a16:creationId xmlns:a16="http://schemas.microsoft.com/office/drawing/2014/main" id="{4EB1B384-01E2-1F84-0BF8-2AD62E12FB24}"/>
              </a:ext>
            </a:extLst>
          </p:cNvPr>
          <p:cNvSpPr>
            <a:spLocks/>
          </p:cNvSpPr>
          <p:nvPr/>
        </p:nvSpPr>
        <p:spPr bwMode="auto">
          <a:xfrm>
            <a:off x="5174035" y="2913681"/>
            <a:ext cx="92382" cy="184732"/>
          </a:xfrm>
          <a:custGeom>
            <a:avLst/>
            <a:gdLst>
              <a:gd name="T0" fmla="*/ 0 w 42"/>
              <a:gd name="T1" fmla="*/ 76 h 76"/>
              <a:gd name="T2" fmla="*/ 42 w 42"/>
              <a:gd name="T3" fmla="*/ 76 h 76"/>
              <a:gd name="T4" fmla="*/ 42 w 42"/>
              <a:gd name="T5" fmla="*/ 0 h 76"/>
              <a:gd name="T6" fmla="*/ 0 w 42"/>
              <a:gd name="T7" fmla="*/ 36 h 76"/>
              <a:gd name="T8" fmla="*/ 0 w 42"/>
              <a:gd name="T9" fmla="*/ 76 h 76"/>
            </a:gdLst>
            <a:ahLst/>
            <a:cxnLst>
              <a:cxn ang="0">
                <a:pos x="T0" y="T1"/>
              </a:cxn>
              <a:cxn ang="0">
                <a:pos x="T2" y="T3"/>
              </a:cxn>
              <a:cxn ang="0">
                <a:pos x="T4" y="T5"/>
              </a:cxn>
              <a:cxn ang="0">
                <a:pos x="T6" y="T7"/>
              </a:cxn>
              <a:cxn ang="0">
                <a:pos x="T8" y="T9"/>
              </a:cxn>
            </a:cxnLst>
            <a:rect l="0" t="0" r="r" b="b"/>
            <a:pathLst>
              <a:path w="42" h="76">
                <a:moveTo>
                  <a:pt x="0" y="76"/>
                </a:moveTo>
                <a:lnTo>
                  <a:pt x="42" y="76"/>
                </a:lnTo>
                <a:lnTo>
                  <a:pt x="42" y="0"/>
                </a:lnTo>
                <a:lnTo>
                  <a:pt x="0" y="36"/>
                </a:lnTo>
                <a:lnTo>
                  <a:pt x="0" y="76"/>
                </a:lnTo>
                <a:close/>
              </a:path>
            </a:pathLst>
          </a:custGeom>
          <a:solidFill>
            <a:schemeClr val="bg2"/>
          </a:solidFill>
          <a:ln w="0">
            <a:noFill/>
            <a:prstDash val="solid"/>
            <a:round/>
            <a:headEnd/>
            <a:tailEnd/>
          </a:ln>
        </p:spPr>
        <p:txBody>
          <a:bodyPr vert="horz" wrap="square" lIns="73479" tIns="36739" rIns="73479" bIns="36739"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91" b="0" i="0" u="none" strike="noStrike" kern="0" cap="none" spc="0" normalizeH="0" baseline="0" noProof="0">
              <a:ln>
                <a:noFill/>
              </a:ln>
              <a:solidFill>
                <a:prstClr val="black"/>
              </a:solidFill>
              <a:effectLst/>
              <a:uLnTx/>
              <a:uFillTx/>
              <a:latin typeface="Calibri" charset="0"/>
              <a:ea typeface="ＭＳ Ｐゴシック" charset="0"/>
            </a:endParaRPr>
          </a:p>
        </p:txBody>
      </p:sp>
      <p:sp>
        <p:nvSpPr>
          <p:cNvPr id="11" name="Freeform 55">
            <a:extLst>
              <a:ext uri="{FF2B5EF4-FFF2-40B4-BE49-F238E27FC236}">
                <a16:creationId xmlns:a16="http://schemas.microsoft.com/office/drawing/2014/main" id="{0E32BC0B-8607-1029-42C4-4D4E30334046}"/>
              </a:ext>
            </a:extLst>
          </p:cNvPr>
          <p:cNvSpPr>
            <a:spLocks/>
          </p:cNvSpPr>
          <p:nvPr/>
        </p:nvSpPr>
        <p:spPr bwMode="auto">
          <a:xfrm>
            <a:off x="5328005" y="2804301"/>
            <a:ext cx="87983" cy="294113"/>
          </a:xfrm>
          <a:custGeom>
            <a:avLst/>
            <a:gdLst>
              <a:gd name="T0" fmla="*/ 0 w 40"/>
              <a:gd name="T1" fmla="*/ 19 h 121"/>
              <a:gd name="T2" fmla="*/ 0 w 40"/>
              <a:gd name="T3" fmla="*/ 121 h 121"/>
              <a:gd name="T4" fmla="*/ 40 w 40"/>
              <a:gd name="T5" fmla="*/ 121 h 121"/>
              <a:gd name="T6" fmla="*/ 40 w 40"/>
              <a:gd name="T7" fmla="*/ 20 h 121"/>
              <a:gd name="T8" fmla="*/ 20 w 40"/>
              <a:gd name="T9" fmla="*/ 0 h 121"/>
              <a:gd name="T10" fmla="*/ 0 w 40"/>
              <a:gd name="T11" fmla="*/ 19 h 121"/>
            </a:gdLst>
            <a:ahLst/>
            <a:cxnLst>
              <a:cxn ang="0">
                <a:pos x="T0" y="T1"/>
              </a:cxn>
              <a:cxn ang="0">
                <a:pos x="T2" y="T3"/>
              </a:cxn>
              <a:cxn ang="0">
                <a:pos x="T4" y="T5"/>
              </a:cxn>
              <a:cxn ang="0">
                <a:pos x="T6" y="T7"/>
              </a:cxn>
              <a:cxn ang="0">
                <a:pos x="T8" y="T9"/>
              </a:cxn>
              <a:cxn ang="0">
                <a:pos x="T10" y="T11"/>
              </a:cxn>
            </a:cxnLst>
            <a:rect l="0" t="0" r="r" b="b"/>
            <a:pathLst>
              <a:path w="40" h="121">
                <a:moveTo>
                  <a:pt x="0" y="19"/>
                </a:moveTo>
                <a:lnTo>
                  <a:pt x="0" y="121"/>
                </a:lnTo>
                <a:lnTo>
                  <a:pt x="40" y="121"/>
                </a:lnTo>
                <a:lnTo>
                  <a:pt x="40" y="20"/>
                </a:lnTo>
                <a:lnTo>
                  <a:pt x="20" y="0"/>
                </a:lnTo>
                <a:lnTo>
                  <a:pt x="0" y="19"/>
                </a:lnTo>
                <a:close/>
              </a:path>
            </a:pathLst>
          </a:custGeom>
          <a:solidFill>
            <a:schemeClr val="bg2"/>
          </a:solidFill>
          <a:ln w="0">
            <a:noFill/>
            <a:prstDash val="solid"/>
            <a:round/>
            <a:headEnd/>
            <a:tailEnd/>
          </a:ln>
        </p:spPr>
        <p:txBody>
          <a:bodyPr vert="horz" wrap="square" lIns="73479" tIns="36739" rIns="73479" bIns="36739"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91" b="0" i="0" u="none" strike="noStrike" kern="0" cap="none" spc="0" normalizeH="0" baseline="0" noProof="0">
              <a:ln>
                <a:noFill/>
              </a:ln>
              <a:solidFill>
                <a:prstClr val="black"/>
              </a:solidFill>
              <a:effectLst/>
              <a:uLnTx/>
              <a:uFillTx/>
              <a:latin typeface="Calibri" charset="0"/>
              <a:ea typeface="ＭＳ Ｐゴシック" charset="0"/>
            </a:endParaRPr>
          </a:p>
        </p:txBody>
      </p:sp>
      <p:sp>
        <p:nvSpPr>
          <p:cNvPr id="12" name="Freeform 56">
            <a:extLst>
              <a:ext uri="{FF2B5EF4-FFF2-40B4-BE49-F238E27FC236}">
                <a16:creationId xmlns:a16="http://schemas.microsoft.com/office/drawing/2014/main" id="{8A169C2D-74B3-1E30-5437-E6FA641EBC5F}"/>
              </a:ext>
            </a:extLst>
          </p:cNvPr>
          <p:cNvSpPr>
            <a:spLocks/>
          </p:cNvSpPr>
          <p:nvPr/>
        </p:nvSpPr>
        <p:spPr bwMode="auto">
          <a:xfrm>
            <a:off x="5631549" y="2699780"/>
            <a:ext cx="90183" cy="398632"/>
          </a:xfrm>
          <a:custGeom>
            <a:avLst/>
            <a:gdLst>
              <a:gd name="T0" fmla="*/ 0 w 41"/>
              <a:gd name="T1" fmla="*/ 164 h 164"/>
              <a:gd name="T2" fmla="*/ 41 w 41"/>
              <a:gd name="T3" fmla="*/ 164 h 164"/>
              <a:gd name="T4" fmla="*/ 41 w 41"/>
              <a:gd name="T5" fmla="*/ 0 h 164"/>
              <a:gd name="T6" fmla="*/ 0 w 41"/>
              <a:gd name="T7" fmla="*/ 39 h 164"/>
              <a:gd name="T8" fmla="*/ 0 w 41"/>
              <a:gd name="T9" fmla="*/ 164 h 164"/>
            </a:gdLst>
            <a:ahLst/>
            <a:cxnLst>
              <a:cxn ang="0">
                <a:pos x="T0" y="T1"/>
              </a:cxn>
              <a:cxn ang="0">
                <a:pos x="T2" y="T3"/>
              </a:cxn>
              <a:cxn ang="0">
                <a:pos x="T4" y="T5"/>
              </a:cxn>
              <a:cxn ang="0">
                <a:pos x="T6" y="T7"/>
              </a:cxn>
              <a:cxn ang="0">
                <a:pos x="T8" y="T9"/>
              </a:cxn>
            </a:cxnLst>
            <a:rect l="0" t="0" r="r" b="b"/>
            <a:pathLst>
              <a:path w="41" h="164">
                <a:moveTo>
                  <a:pt x="0" y="164"/>
                </a:moveTo>
                <a:lnTo>
                  <a:pt x="41" y="164"/>
                </a:lnTo>
                <a:lnTo>
                  <a:pt x="41" y="0"/>
                </a:lnTo>
                <a:lnTo>
                  <a:pt x="0" y="39"/>
                </a:lnTo>
                <a:lnTo>
                  <a:pt x="0" y="164"/>
                </a:lnTo>
                <a:close/>
              </a:path>
            </a:pathLst>
          </a:custGeom>
          <a:solidFill>
            <a:schemeClr val="bg2"/>
          </a:solidFill>
          <a:ln w="0">
            <a:noFill/>
            <a:prstDash val="solid"/>
            <a:round/>
            <a:headEnd/>
            <a:tailEnd/>
          </a:ln>
        </p:spPr>
        <p:txBody>
          <a:bodyPr vert="horz" wrap="square" lIns="73479" tIns="36739" rIns="73479" bIns="36739"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91" b="0" i="0" u="none" strike="noStrike" kern="0" cap="none" spc="0" normalizeH="0" baseline="0" noProof="0">
              <a:ln>
                <a:noFill/>
              </a:ln>
              <a:solidFill>
                <a:prstClr val="black"/>
              </a:solidFill>
              <a:effectLst/>
              <a:uLnTx/>
              <a:uFillTx/>
              <a:latin typeface="Calibri" charset="0"/>
              <a:ea typeface="ＭＳ Ｐゴシック" charset="0"/>
            </a:endParaRPr>
          </a:p>
        </p:txBody>
      </p:sp>
      <p:sp>
        <p:nvSpPr>
          <p:cNvPr id="13" name="Freeform 57">
            <a:extLst>
              <a:ext uri="{FF2B5EF4-FFF2-40B4-BE49-F238E27FC236}">
                <a16:creationId xmlns:a16="http://schemas.microsoft.com/office/drawing/2014/main" id="{6CA93871-7316-1271-1E56-7E90FDF705F8}"/>
              </a:ext>
            </a:extLst>
          </p:cNvPr>
          <p:cNvSpPr>
            <a:spLocks/>
          </p:cNvSpPr>
          <p:nvPr/>
        </p:nvSpPr>
        <p:spPr bwMode="auto">
          <a:xfrm>
            <a:off x="5479777" y="2857776"/>
            <a:ext cx="87983" cy="240638"/>
          </a:xfrm>
          <a:custGeom>
            <a:avLst/>
            <a:gdLst>
              <a:gd name="T0" fmla="*/ 0 w 40"/>
              <a:gd name="T1" fmla="*/ 99 h 99"/>
              <a:gd name="T2" fmla="*/ 40 w 40"/>
              <a:gd name="T3" fmla="*/ 99 h 99"/>
              <a:gd name="T4" fmla="*/ 40 w 40"/>
              <a:gd name="T5" fmla="*/ 0 h 99"/>
              <a:gd name="T6" fmla="*/ 0 w 40"/>
              <a:gd name="T7" fmla="*/ 35 h 99"/>
              <a:gd name="T8" fmla="*/ 0 w 40"/>
              <a:gd name="T9" fmla="*/ 99 h 99"/>
            </a:gdLst>
            <a:ahLst/>
            <a:cxnLst>
              <a:cxn ang="0">
                <a:pos x="T0" y="T1"/>
              </a:cxn>
              <a:cxn ang="0">
                <a:pos x="T2" y="T3"/>
              </a:cxn>
              <a:cxn ang="0">
                <a:pos x="T4" y="T5"/>
              </a:cxn>
              <a:cxn ang="0">
                <a:pos x="T6" y="T7"/>
              </a:cxn>
              <a:cxn ang="0">
                <a:pos x="T8" y="T9"/>
              </a:cxn>
            </a:cxnLst>
            <a:rect l="0" t="0" r="r" b="b"/>
            <a:pathLst>
              <a:path w="40" h="99">
                <a:moveTo>
                  <a:pt x="0" y="99"/>
                </a:moveTo>
                <a:lnTo>
                  <a:pt x="40" y="99"/>
                </a:lnTo>
                <a:lnTo>
                  <a:pt x="40" y="0"/>
                </a:lnTo>
                <a:lnTo>
                  <a:pt x="0" y="35"/>
                </a:lnTo>
                <a:lnTo>
                  <a:pt x="0" y="99"/>
                </a:lnTo>
                <a:close/>
              </a:path>
            </a:pathLst>
          </a:custGeom>
          <a:solidFill>
            <a:schemeClr val="bg2"/>
          </a:solidFill>
          <a:ln w="0">
            <a:noFill/>
            <a:prstDash val="solid"/>
            <a:round/>
            <a:headEnd/>
            <a:tailEnd/>
          </a:ln>
        </p:spPr>
        <p:txBody>
          <a:bodyPr vert="horz" wrap="square" lIns="73479" tIns="36739" rIns="73479" bIns="36739"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91" b="0" i="0" u="none" strike="noStrike" kern="0" cap="none" spc="0" normalizeH="0" baseline="0" noProof="0">
              <a:ln>
                <a:noFill/>
              </a:ln>
              <a:solidFill>
                <a:prstClr val="black"/>
              </a:solidFill>
              <a:effectLst/>
              <a:uLnTx/>
              <a:uFillTx/>
              <a:latin typeface="Calibri" charset="0"/>
              <a:ea typeface="ＭＳ Ｐゴシック" charset="0"/>
            </a:endParaRPr>
          </a:p>
        </p:txBody>
      </p:sp>
      <p:sp>
        <p:nvSpPr>
          <p:cNvPr id="14" name="Freeform 58">
            <a:extLst>
              <a:ext uri="{FF2B5EF4-FFF2-40B4-BE49-F238E27FC236}">
                <a16:creationId xmlns:a16="http://schemas.microsoft.com/office/drawing/2014/main" id="{18690629-51FD-F1E6-2513-BFAE53C9C528}"/>
              </a:ext>
            </a:extLst>
          </p:cNvPr>
          <p:cNvSpPr>
            <a:spLocks/>
          </p:cNvSpPr>
          <p:nvPr/>
        </p:nvSpPr>
        <p:spPr bwMode="auto">
          <a:xfrm>
            <a:off x="5174035" y="2458334"/>
            <a:ext cx="640080" cy="493429"/>
          </a:xfrm>
          <a:custGeom>
            <a:avLst/>
            <a:gdLst>
              <a:gd name="T0" fmla="*/ 197 w 291"/>
              <a:gd name="T1" fmla="*/ 25 h 203"/>
              <a:gd name="T2" fmla="*/ 231 w 291"/>
              <a:gd name="T3" fmla="*/ 60 h 203"/>
              <a:gd name="T4" fmla="*/ 147 w 291"/>
              <a:gd name="T5" fmla="*/ 139 h 203"/>
              <a:gd name="T6" fmla="*/ 90 w 291"/>
              <a:gd name="T7" fmla="*/ 86 h 203"/>
              <a:gd name="T8" fmla="*/ 0 w 291"/>
              <a:gd name="T9" fmla="*/ 168 h 203"/>
              <a:gd name="T10" fmla="*/ 0 w 291"/>
              <a:gd name="T11" fmla="*/ 203 h 203"/>
              <a:gd name="T12" fmla="*/ 90 w 291"/>
              <a:gd name="T13" fmla="*/ 122 h 203"/>
              <a:gd name="T14" fmla="*/ 147 w 291"/>
              <a:gd name="T15" fmla="*/ 174 h 203"/>
              <a:gd name="T16" fmla="*/ 248 w 291"/>
              <a:gd name="T17" fmla="*/ 79 h 203"/>
              <a:gd name="T18" fmla="*/ 276 w 291"/>
              <a:gd name="T19" fmla="*/ 109 h 203"/>
              <a:gd name="T20" fmla="*/ 291 w 291"/>
              <a:gd name="T21" fmla="*/ 0 h 203"/>
              <a:gd name="T22" fmla="*/ 197 w 291"/>
              <a:gd name="T23" fmla="*/ 2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1" h="203">
                <a:moveTo>
                  <a:pt x="197" y="25"/>
                </a:moveTo>
                <a:lnTo>
                  <a:pt x="231" y="60"/>
                </a:lnTo>
                <a:lnTo>
                  <a:pt x="147" y="139"/>
                </a:lnTo>
                <a:lnTo>
                  <a:pt x="90" y="86"/>
                </a:lnTo>
                <a:lnTo>
                  <a:pt x="0" y="168"/>
                </a:lnTo>
                <a:lnTo>
                  <a:pt x="0" y="203"/>
                </a:lnTo>
                <a:lnTo>
                  <a:pt x="90" y="122"/>
                </a:lnTo>
                <a:lnTo>
                  <a:pt x="147" y="174"/>
                </a:lnTo>
                <a:lnTo>
                  <a:pt x="248" y="79"/>
                </a:lnTo>
                <a:lnTo>
                  <a:pt x="276" y="109"/>
                </a:lnTo>
                <a:lnTo>
                  <a:pt x="291" y="0"/>
                </a:lnTo>
                <a:lnTo>
                  <a:pt x="197" y="25"/>
                </a:lnTo>
                <a:close/>
              </a:path>
            </a:pathLst>
          </a:custGeom>
          <a:solidFill>
            <a:schemeClr val="bg2"/>
          </a:solidFill>
          <a:ln w="0">
            <a:noFill/>
            <a:prstDash val="solid"/>
            <a:round/>
            <a:headEnd/>
            <a:tailEnd/>
          </a:ln>
        </p:spPr>
        <p:txBody>
          <a:bodyPr vert="horz" wrap="square" lIns="73479" tIns="36739" rIns="73479" bIns="36739"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91" b="0" i="0" u="none" strike="noStrike" kern="0" cap="none" spc="0" normalizeH="0" baseline="0" noProof="0">
              <a:ln>
                <a:noFill/>
              </a:ln>
              <a:solidFill>
                <a:prstClr val="black"/>
              </a:solidFill>
              <a:effectLst/>
              <a:uLnTx/>
              <a:uFillTx/>
              <a:latin typeface="Calibri" charset="0"/>
              <a:ea typeface="ＭＳ Ｐゴシック" charset="0"/>
            </a:endParaRPr>
          </a:p>
        </p:txBody>
      </p:sp>
      <p:sp>
        <p:nvSpPr>
          <p:cNvPr id="15" name="TextBox 14">
            <a:extLst>
              <a:ext uri="{FF2B5EF4-FFF2-40B4-BE49-F238E27FC236}">
                <a16:creationId xmlns:a16="http://schemas.microsoft.com/office/drawing/2014/main" id="{6B98C04A-338F-9E8D-0F3A-F773DD510B96}"/>
              </a:ext>
            </a:extLst>
          </p:cNvPr>
          <p:cNvSpPr txBox="1"/>
          <p:nvPr/>
        </p:nvSpPr>
        <p:spPr>
          <a:xfrm>
            <a:off x="6059337" y="2653825"/>
            <a:ext cx="2144373" cy="584775"/>
          </a:xfrm>
          <a:prstGeom prst="rect">
            <a:avLst/>
          </a:prstGeom>
          <a:noFill/>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rPr>
              <a:t>Data Analysis</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endParaRPr>
          </a:p>
        </p:txBody>
      </p:sp>
      <p:pic>
        <p:nvPicPr>
          <p:cNvPr id="16" name="Graphic 15" descr="Filter with solid fill">
            <a:extLst>
              <a:ext uri="{FF2B5EF4-FFF2-40B4-BE49-F238E27FC236}">
                <a16:creationId xmlns:a16="http://schemas.microsoft.com/office/drawing/2014/main" id="{F562A5B9-7509-30E3-10CB-9C2817582B1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38862" y="705715"/>
            <a:ext cx="731520" cy="731520"/>
          </a:xfrm>
          <a:prstGeom prst="rect">
            <a:avLst/>
          </a:prstGeom>
        </p:spPr>
      </p:pic>
    </p:spTree>
    <p:extLst>
      <p:ext uri="{BB962C8B-B14F-4D97-AF65-F5344CB8AC3E}">
        <p14:creationId xmlns:p14="http://schemas.microsoft.com/office/powerpoint/2010/main" val="32679621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subTnLst>
                                    <p:animClr clrSpc="rgb" dir="cw">
                                      <p:cBhvr override="childStyle">
                                        <p:cTn dur="1" fill="hold" display="0" masterRel="nextClick" afterEffect="1"/>
                                        <p:tgtEl>
                                          <p:spTgt spid="16"/>
                                        </p:tgtEl>
                                        <p:attrNameLst>
                                          <p:attrName>ppt_c</p:attrName>
                                        </p:attrNameLst>
                                      </p:cBhvr>
                                      <p:to>
                                        <a:srgbClr val="B2B2B2"/>
                                      </p:to>
                                    </p:animClr>
                                  </p:sub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subTnLst>
                                    <p:animClr clrSpc="rgb" dir="cw">
                                      <p:cBhvr override="childStyle">
                                        <p:cTn dur="1" fill="hold" display="0" masterRel="nextClick" afterEffect="1"/>
                                        <p:tgtEl>
                                          <p:spTgt spid="8"/>
                                        </p:tgtEl>
                                        <p:attrNameLst>
                                          <p:attrName>ppt_c</p:attrName>
                                        </p:attrNameLst>
                                      </p:cBhvr>
                                      <p:to>
                                        <a:srgbClr val="787A7E"/>
                                      </p:to>
                                    </p:animClr>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subTnLst>
                                    <p:animClr clrSpc="rgb" dir="cw">
                                      <p:cBhvr override="childStyle">
                                        <p:cTn dur="1" fill="hold" display="0" masterRel="nextClick" afterEffect="1"/>
                                        <p:tgtEl>
                                          <p:spTgt spid="26"/>
                                        </p:tgtEl>
                                        <p:attrNameLst>
                                          <p:attrName>ppt_c</p:attrName>
                                        </p:attrNameLst>
                                      </p:cBhvr>
                                      <p:to>
                                        <a:srgbClr val="B2B2B2"/>
                                      </p:to>
                                    </p:animClr>
                                  </p:sub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subTnLst>
                                    <p:animClr clrSpc="rgb" dir="cw">
                                      <p:cBhvr override="childStyle">
                                        <p:cTn dur="1" fill="hold" display="0" masterRel="nextClick" afterEffect="1"/>
                                        <p:tgtEl>
                                          <p:spTgt spid="6"/>
                                        </p:tgtEl>
                                        <p:attrNameLst>
                                          <p:attrName>ppt_c</p:attrName>
                                        </p:attrNameLst>
                                      </p:cBhvr>
                                      <p:to>
                                        <a:srgbClr val="787A7E"/>
                                      </p:to>
                                    </p:animClr>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subTnLst>
                                    <p:animClr clrSpc="rgb" dir="cw">
                                      <p:cBhvr override="childStyle">
                                        <p:cTn dur="1" fill="hold" display="0" masterRel="nextClick" afterEffect="1"/>
                                        <p:tgtEl>
                                          <p:spTgt spid="10"/>
                                        </p:tgtEl>
                                        <p:attrNameLst>
                                          <p:attrName>ppt_c</p:attrName>
                                        </p:attrNameLst>
                                      </p:cBhvr>
                                      <p:to>
                                        <a:srgbClr val="B2B2B2"/>
                                      </p:to>
                                    </p:animClr>
                                  </p:sub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subTnLst>
                                    <p:animClr clrSpc="rgb" dir="cw">
                                      <p:cBhvr override="childStyle">
                                        <p:cTn dur="1" fill="hold" display="0" masterRel="nextClick" afterEffect="1"/>
                                        <p:tgtEl>
                                          <p:spTgt spid="11"/>
                                        </p:tgtEl>
                                        <p:attrNameLst>
                                          <p:attrName>ppt_c</p:attrName>
                                        </p:attrNameLst>
                                      </p:cBhvr>
                                      <p:to>
                                        <a:srgbClr val="B2B2B2"/>
                                      </p:to>
                                    </p:animClr>
                                  </p:sub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subTnLst>
                                    <p:animClr clrSpc="rgb" dir="cw">
                                      <p:cBhvr override="childStyle">
                                        <p:cTn dur="1" fill="hold" display="0" masterRel="nextClick" afterEffect="1"/>
                                        <p:tgtEl>
                                          <p:spTgt spid="12"/>
                                        </p:tgtEl>
                                        <p:attrNameLst>
                                          <p:attrName>ppt_c</p:attrName>
                                        </p:attrNameLst>
                                      </p:cBhvr>
                                      <p:to>
                                        <a:srgbClr val="B2B2B2"/>
                                      </p:to>
                                    </p:animClr>
                                  </p:sub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subTnLst>
                                    <p:animClr clrSpc="rgb" dir="cw">
                                      <p:cBhvr override="childStyle">
                                        <p:cTn dur="1" fill="hold" display="0" masterRel="nextClick" afterEffect="1"/>
                                        <p:tgtEl>
                                          <p:spTgt spid="13"/>
                                        </p:tgtEl>
                                        <p:attrNameLst>
                                          <p:attrName>ppt_c</p:attrName>
                                        </p:attrNameLst>
                                      </p:cBhvr>
                                      <p:to>
                                        <a:srgbClr val="B2B2B2"/>
                                      </p:to>
                                    </p:animClr>
                                  </p:sub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subTnLst>
                                    <p:animClr clrSpc="rgb" dir="cw">
                                      <p:cBhvr override="childStyle">
                                        <p:cTn dur="1" fill="hold" display="0" masterRel="nextClick" afterEffect="1"/>
                                        <p:tgtEl>
                                          <p:spTgt spid="14"/>
                                        </p:tgtEl>
                                        <p:attrNameLst>
                                          <p:attrName>ppt_c</p:attrName>
                                        </p:attrNameLst>
                                      </p:cBhvr>
                                      <p:to>
                                        <a:srgbClr val="B2B2B2"/>
                                      </p:to>
                                    </p:animClr>
                                  </p:subTnLst>
                                </p:cTn>
                              </p:par>
                              <p:par>
                                <p:cTn id="27" presetID="1" presetClass="entr" presetSubtype="0"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childTnLst>
                                  <p:subTnLst>
                                    <p:animClr clrSpc="rgb" dir="cw">
                                      <p:cBhvr override="childStyle">
                                        <p:cTn dur="1" fill="hold" display="0" masterRel="nextClick" afterEffect="1"/>
                                        <p:tgtEl>
                                          <p:spTgt spid="15"/>
                                        </p:tgtEl>
                                        <p:attrNameLst>
                                          <p:attrName>ppt_c</p:attrName>
                                        </p:attrNameLst>
                                      </p:cBhvr>
                                      <p:to>
                                        <a:srgbClr val="787A7E"/>
                                      </p:to>
                                    </p:animClr>
                                  </p:sub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3"/>
                                        </p:tgtEl>
                                        <p:attrNameLst>
                                          <p:attrName>style.visibility</p:attrName>
                                        </p:attrNameLst>
                                      </p:cBhvr>
                                      <p:to>
                                        <p:strVal val="visible"/>
                                      </p:to>
                                    </p:set>
                                  </p:childTnLst>
                                  <p:subTnLst>
                                    <p:animClr clrSpc="rgb" dir="cw">
                                      <p:cBhvr override="childStyle">
                                        <p:cTn dur="1" fill="hold" display="0" masterRel="nextClick" afterEffect="1"/>
                                        <p:tgtEl>
                                          <p:spTgt spid="23"/>
                                        </p:tgtEl>
                                        <p:attrNameLst>
                                          <p:attrName>ppt_c</p:attrName>
                                        </p:attrNameLst>
                                      </p:cBhvr>
                                      <p:to>
                                        <a:srgbClr val="B2B2B2"/>
                                      </p:to>
                                    </p:animClr>
                                  </p:subTnLst>
                                </p:cTn>
                              </p:par>
                              <p:par>
                                <p:cTn id="33" presetID="1" presetClass="entr" presetSubtype="0" fill="hold" grpId="0" nodeType="withEffect">
                                  <p:stCondLst>
                                    <p:cond delay="0"/>
                                  </p:stCondLst>
                                  <p:childTnLst>
                                    <p:set>
                                      <p:cBhvr>
                                        <p:cTn id="34" dur="1" fill="hold">
                                          <p:stCondLst>
                                            <p:cond delay="0"/>
                                          </p:stCondLst>
                                        </p:cTn>
                                        <p:tgtEl>
                                          <p:spTgt spid="18"/>
                                        </p:tgtEl>
                                        <p:attrNameLst>
                                          <p:attrName>style.visibility</p:attrName>
                                        </p:attrNameLst>
                                      </p:cBhvr>
                                      <p:to>
                                        <p:strVal val="visible"/>
                                      </p:to>
                                    </p:set>
                                  </p:childTnLst>
                                  <p:subTnLst>
                                    <p:animClr clrSpc="rgb" dir="cw">
                                      <p:cBhvr override="childStyle">
                                        <p:cTn dur="1" fill="hold" display="0" masterRel="nextClick" afterEffect="1"/>
                                        <p:tgtEl>
                                          <p:spTgt spid="18"/>
                                        </p:tgtEl>
                                        <p:attrNameLst>
                                          <p:attrName>ppt_c</p:attrName>
                                        </p:attrNameLst>
                                      </p:cBhvr>
                                      <p:to>
                                        <a:srgbClr val="787A7E"/>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8" grpId="0"/>
      <p:bldP spid="8" grpId="0"/>
      <p:bldP spid="10" grpId="0" animBg="1"/>
      <p:bldP spid="11" grpId="0" animBg="1"/>
      <p:bldP spid="12" grpId="0" animBg="1"/>
      <p:bldP spid="13" grpId="0" animBg="1"/>
      <p:bldP spid="14" grpId="0" animBg="1"/>
      <p:bldP spid="1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5E5127-4033-D4F2-85D4-FB2E10842EB3}"/>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A912A92-F5F3-3952-FBB9-484B93AF67AD}"/>
              </a:ext>
            </a:extLst>
          </p:cNvPr>
          <p:cNvSpPr>
            <a:spLocks noGrp="1"/>
          </p:cNvSpPr>
          <p:nvPr>
            <p:ph type="title"/>
          </p:nvPr>
        </p:nvSpPr>
        <p:spPr>
          <a:xfrm>
            <a:off x="417407" y="73215"/>
            <a:ext cx="8106305" cy="513211"/>
          </a:xfrm>
        </p:spPr>
        <p:txBody>
          <a:bodyPr>
            <a:normAutofit/>
          </a:bodyPr>
          <a:lstStyle/>
          <a:p>
            <a:r>
              <a:rPr lang="en-US" sz="2100">
                <a:latin typeface="Arial" panose="020B0604020202020204" pitchFamily="34" charset="0"/>
                <a:cs typeface="Arial" panose="020B0604020202020204" pitchFamily="34" charset="0"/>
              </a:rPr>
              <a:t>Analytical Thinking Characteristics</a:t>
            </a:r>
          </a:p>
        </p:txBody>
      </p:sp>
      <p:grpSp>
        <p:nvGrpSpPr>
          <p:cNvPr id="35" name="Group 34">
            <a:extLst>
              <a:ext uri="{FF2B5EF4-FFF2-40B4-BE49-F238E27FC236}">
                <a16:creationId xmlns:a16="http://schemas.microsoft.com/office/drawing/2014/main" id="{1A0231F3-EFCF-7D00-DA88-AF217DA0971B}"/>
              </a:ext>
            </a:extLst>
          </p:cNvPr>
          <p:cNvGrpSpPr/>
          <p:nvPr/>
        </p:nvGrpSpPr>
        <p:grpSpPr>
          <a:xfrm>
            <a:off x="339930" y="881440"/>
            <a:ext cx="1765322" cy="1984348"/>
            <a:chOff x="151778" y="2400002"/>
            <a:chExt cx="3021728" cy="2588823"/>
          </a:xfrm>
        </p:grpSpPr>
        <p:sp>
          <p:nvSpPr>
            <p:cNvPr id="36" name="Rounded Rectangle 15">
              <a:extLst>
                <a:ext uri="{FF2B5EF4-FFF2-40B4-BE49-F238E27FC236}">
                  <a16:creationId xmlns:a16="http://schemas.microsoft.com/office/drawing/2014/main" id="{407B448E-FCE9-453E-62FD-ADA655D7A89C}"/>
                </a:ext>
              </a:extLst>
            </p:cNvPr>
            <p:cNvSpPr/>
            <p:nvPr/>
          </p:nvSpPr>
          <p:spPr>
            <a:xfrm>
              <a:off x="151778" y="2974102"/>
              <a:ext cx="3021728" cy="1955136"/>
            </a:xfrm>
            <a:prstGeom prst="roundRect">
              <a:avLst>
                <a:gd name="adj" fmla="val 1167"/>
              </a:avLst>
            </a:prstGeom>
            <a:solidFill>
              <a:sysClr val="window" lastClr="FFFFFF"/>
            </a:solidFill>
            <a:ln w="6350" cap="flat" cmpd="sng" algn="ctr">
              <a:solidFill>
                <a:srgbClr val="1C345E"/>
              </a:solidFill>
              <a:prstDash val="solid"/>
              <a:miter lim="800000"/>
            </a:ln>
            <a:effectLst/>
          </p:spPr>
          <p:txBody>
            <a:bodyPr rtlCol="0" anchor="ctr">
              <a:normAutofit/>
            </a:bodyPr>
            <a:lstStyle/>
            <a:p>
              <a:pPr marL="0" marR="0" lvl="0" indent="0" algn="ctr" defTabSz="608991" rtl="0" eaLnBrk="1" fontAlgn="auto" latinLnBrk="0" hangingPunct="1">
                <a:lnSpc>
                  <a:spcPct val="100000"/>
                </a:lnSpc>
                <a:spcBef>
                  <a:spcPts val="0"/>
                </a:spcBef>
                <a:spcAft>
                  <a:spcPts val="0"/>
                </a:spcAft>
                <a:buClrTx/>
                <a:buSzTx/>
                <a:buFontTx/>
                <a:buNone/>
                <a:tabLst/>
                <a:defRPr/>
              </a:pPr>
              <a:endParaRPr kumimoji="0" lang="en-US" sz="1865" b="1" i="0" u="none" strike="noStrike" kern="0" cap="none" spc="0" normalizeH="0" baseline="0" noProof="0">
                <a:ln>
                  <a:noFill/>
                </a:ln>
                <a:solidFill>
                  <a:srgbClr val="FFFFFF"/>
                </a:solidFill>
                <a:effectLst/>
                <a:uLnTx/>
                <a:uFillTx/>
                <a:latin typeface="Arial" panose="020B0604020202020204"/>
                <a:ea typeface="ＭＳ Ｐゴシック" charset="0"/>
                <a:cs typeface="+mn-cs"/>
              </a:endParaRPr>
            </a:p>
          </p:txBody>
        </p:sp>
        <p:grpSp>
          <p:nvGrpSpPr>
            <p:cNvPr id="37" name="Group 36">
              <a:extLst>
                <a:ext uri="{FF2B5EF4-FFF2-40B4-BE49-F238E27FC236}">
                  <a16:creationId xmlns:a16="http://schemas.microsoft.com/office/drawing/2014/main" id="{2337B4A6-F23C-A979-2C95-B136C946DEA9}"/>
                </a:ext>
              </a:extLst>
            </p:cNvPr>
            <p:cNvGrpSpPr/>
            <p:nvPr/>
          </p:nvGrpSpPr>
          <p:grpSpPr>
            <a:xfrm>
              <a:off x="286755" y="2400002"/>
              <a:ext cx="2751775" cy="702001"/>
              <a:chOff x="285317" y="2857202"/>
              <a:chExt cx="3737999" cy="702001"/>
            </a:xfrm>
          </p:grpSpPr>
          <p:sp>
            <p:nvSpPr>
              <p:cNvPr id="39" name="Round Same Side Corner Rectangle 18">
                <a:extLst>
                  <a:ext uri="{FF2B5EF4-FFF2-40B4-BE49-F238E27FC236}">
                    <a16:creationId xmlns:a16="http://schemas.microsoft.com/office/drawing/2014/main" id="{D9AE6BB9-93F4-B78A-BDCC-01F948985546}"/>
                  </a:ext>
                </a:extLst>
              </p:cNvPr>
              <p:cNvSpPr/>
              <p:nvPr/>
            </p:nvSpPr>
            <p:spPr>
              <a:xfrm>
                <a:off x="285317" y="2857202"/>
                <a:ext cx="3737999" cy="582280"/>
              </a:xfrm>
              <a:prstGeom prst="round2SameRect">
                <a:avLst/>
              </a:prstGeom>
              <a:solidFill>
                <a:srgbClr val="1C345E"/>
              </a:solidFill>
              <a:ln w="12700" cap="flat" cmpd="sng" algn="ctr">
                <a:noFill/>
                <a:prstDash val="solid"/>
                <a:miter lim="800000"/>
              </a:ln>
              <a:effectLst/>
            </p:spPr>
            <p:txBody>
              <a:bodyPr rtlCol="0" anchor="ctr"/>
              <a:lstStyle/>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ＭＳ Ｐゴシック" charset="0"/>
                  <a:cs typeface="+mn-cs"/>
                </a:endParaRPr>
              </a:p>
            </p:txBody>
          </p:sp>
          <p:sp>
            <p:nvSpPr>
              <p:cNvPr id="40" name="Trapezoid 39">
                <a:extLst>
                  <a:ext uri="{FF2B5EF4-FFF2-40B4-BE49-F238E27FC236}">
                    <a16:creationId xmlns:a16="http://schemas.microsoft.com/office/drawing/2014/main" id="{31A7D33A-8EE9-CA7C-3197-CC54D4A57361}"/>
                  </a:ext>
                </a:extLst>
              </p:cNvPr>
              <p:cNvSpPr/>
              <p:nvPr/>
            </p:nvSpPr>
            <p:spPr>
              <a:xfrm flipV="1">
                <a:off x="669190" y="3392793"/>
                <a:ext cx="2934704" cy="166410"/>
              </a:xfrm>
              <a:prstGeom prst="trapezoid">
                <a:avLst>
                  <a:gd name="adj" fmla="val 73842"/>
                </a:avLst>
              </a:prstGeom>
              <a:solidFill>
                <a:srgbClr val="1C345E"/>
              </a:solidFill>
              <a:ln w="12700" cap="flat" cmpd="sng" algn="ctr">
                <a:noFill/>
                <a:prstDash val="solid"/>
                <a:miter lim="800000"/>
              </a:ln>
              <a:effectLst>
                <a:outerShdw blurRad="50800" dist="25400" dir="5400000" algn="t" rotWithShape="0">
                  <a:prstClr val="black">
                    <a:alpha val="25000"/>
                  </a:prstClr>
                </a:outerShdw>
              </a:effectLst>
            </p:spPr>
            <p:txBody>
              <a:bodyPr rtlCol="0" anchor="ctr"/>
              <a:lstStyle/>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ＭＳ Ｐゴシック" charset="0"/>
                  <a:cs typeface="+mn-cs"/>
                </a:endParaRPr>
              </a:p>
            </p:txBody>
          </p:sp>
        </p:grpSp>
        <p:sp>
          <p:nvSpPr>
            <p:cNvPr id="38" name="Rounded Rectangle 17">
              <a:extLst>
                <a:ext uri="{FF2B5EF4-FFF2-40B4-BE49-F238E27FC236}">
                  <a16:creationId xmlns:a16="http://schemas.microsoft.com/office/drawing/2014/main" id="{2EE11407-3FD9-6F50-BBE6-A5471A822867}"/>
                </a:ext>
              </a:extLst>
            </p:cNvPr>
            <p:cNvSpPr/>
            <p:nvPr/>
          </p:nvSpPr>
          <p:spPr>
            <a:xfrm>
              <a:off x="151778" y="4918251"/>
              <a:ext cx="3021728" cy="70574"/>
            </a:xfrm>
            <a:prstGeom prst="roundRect">
              <a:avLst>
                <a:gd name="adj" fmla="val 1167"/>
              </a:avLst>
            </a:prstGeom>
            <a:solidFill>
              <a:srgbClr val="1C345E"/>
            </a:solidFill>
            <a:ln w="6350" cap="flat" cmpd="sng" algn="ctr">
              <a:solidFill>
                <a:srgbClr val="156838"/>
              </a:solidFill>
              <a:prstDash val="solid"/>
              <a:miter lim="800000"/>
            </a:ln>
            <a:effectLst/>
          </p:spPr>
          <p:txBody>
            <a:bodyPr rtlCol="0" anchor="ctr">
              <a:normAutofit fontScale="25000" lnSpcReduction="20000"/>
            </a:bodyPr>
            <a:lstStyle/>
            <a:p>
              <a:pPr marL="0" marR="0" lvl="0" indent="0" algn="ctr" defTabSz="608991" rtl="0" eaLnBrk="1" fontAlgn="auto" latinLnBrk="0" hangingPunct="1">
                <a:lnSpc>
                  <a:spcPct val="100000"/>
                </a:lnSpc>
                <a:spcBef>
                  <a:spcPts val="0"/>
                </a:spcBef>
                <a:spcAft>
                  <a:spcPts val="0"/>
                </a:spcAft>
                <a:buClrTx/>
                <a:buSzTx/>
                <a:buFontTx/>
                <a:buNone/>
                <a:tabLst/>
                <a:defRPr/>
              </a:pPr>
              <a:endParaRPr kumimoji="0" lang="en-US" sz="1865" b="1" i="0" u="none" strike="noStrike" kern="0" cap="none" spc="0" normalizeH="0" baseline="0" noProof="0" err="1">
                <a:ln>
                  <a:noFill/>
                </a:ln>
                <a:solidFill>
                  <a:srgbClr val="FFFFFF"/>
                </a:solidFill>
                <a:effectLst/>
                <a:uLnTx/>
                <a:uFillTx/>
                <a:latin typeface="Arial" panose="020B0604020202020204"/>
                <a:ea typeface="ＭＳ Ｐゴシック" charset="0"/>
                <a:cs typeface="+mn-cs"/>
              </a:endParaRPr>
            </a:p>
          </p:txBody>
        </p:sp>
      </p:grpSp>
      <p:sp>
        <p:nvSpPr>
          <p:cNvPr id="41" name="Rectangle 40">
            <a:extLst>
              <a:ext uri="{FF2B5EF4-FFF2-40B4-BE49-F238E27FC236}">
                <a16:creationId xmlns:a16="http://schemas.microsoft.com/office/drawing/2014/main" id="{20FC9DB2-801E-BCEB-5414-8A68E6C522BD}"/>
              </a:ext>
            </a:extLst>
          </p:cNvPr>
          <p:cNvSpPr/>
          <p:nvPr/>
        </p:nvSpPr>
        <p:spPr>
          <a:xfrm>
            <a:off x="436969" y="944123"/>
            <a:ext cx="1589429" cy="276999"/>
          </a:xfrm>
          <a:prstGeom prst="rect">
            <a:avLst/>
          </a:prstGeom>
        </p:spPr>
        <p:txBody>
          <a:bodyPr wrap="square" anchor="ctr">
            <a:spAutoFit/>
          </a:bodyPr>
          <a:lstStyle/>
          <a:p>
            <a:pPr marL="0" marR="0" lvl="0" indent="0" algn="ctr" defTabSz="91433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pitchFamily="34" charset="0"/>
                <a:ea typeface="ＭＳ Ｐゴシック" charset="0"/>
                <a:cs typeface="Arial" panose="020B0604020202020204" pitchFamily="34" charset="0"/>
              </a:rPr>
              <a:t>Data Exploration</a:t>
            </a:r>
          </a:p>
        </p:txBody>
      </p:sp>
      <p:sp>
        <p:nvSpPr>
          <p:cNvPr id="42" name="TextBox 41">
            <a:extLst>
              <a:ext uri="{FF2B5EF4-FFF2-40B4-BE49-F238E27FC236}">
                <a16:creationId xmlns:a16="http://schemas.microsoft.com/office/drawing/2014/main" id="{97E706B8-99F4-ABCB-973B-11309253AA98}"/>
              </a:ext>
            </a:extLst>
          </p:cNvPr>
          <p:cNvSpPr txBox="1"/>
          <p:nvPr/>
        </p:nvSpPr>
        <p:spPr>
          <a:xfrm>
            <a:off x="388933" y="1671503"/>
            <a:ext cx="1739437" cy="900246"/>
          </a:xfrm>
          <a:prstGeom prst="rect">
            <a:avLst/>
          </a:prstGeom>
          <a:noFill/>
        </p:spPr>
        <p:txBody>
          <a:bodyPr wrap="square" rtlCol="0" anchor="ctr">
            <a:spAutoFit/>
          </a:bodyPr>
          <a:lstStyle>
            <a:defPPr>
              <a:defRPr lang="en-US"/>
            </a:defPPr>
            <a:lvl1pPr marL="182880" indent="-182880">
              <a:buFont typeface="Arial" panose="020B0604020202020204" pitchFamily="34" charset="0"/>
              <a:buChar char="›"/>
              <a:defRPr sz="1600">
                <a:solidFill>
                  <a:schemeClr val="tx1">
                    <a:lumMod val="75000"/>
                    <a:lumOff val="25000"/>
                  </a:schemeClr>
                </a:solidFill>
                <a:latin typeface="Arial" panose="020B0604020202020204" pitchFamily="34" charset="0"/>
                <a:cs typeface="Arial" panose="020B0604020202020204" pitchFamily="34" charset="0"/>
              </a:defRPr>
            </a:lvl1pPr>
          </a:lstStyle>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Exploratory Data Analysis</a:t>
            </a:r>
          </a:p>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Identifying Outliers</a:t>
            </a:r>
          </a:p>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Analyzing Distributions</a:t>
            </a:r>
          </a:p>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Spotting Trends</a:t>
            </a:r>
            <a:endParaRPr kumimoji="0" lang="en-IN"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endParaRPr>
          </a:p>
        </p:txBody>
      </p:sp>
      <p:grpSp>
        <p:nvGrpSpPr>
          <p:cNvPr id="43" name="Group 42">
            <a:extLst>
              <a:ext uri="{FF2B5EF4-FFF2-40B4-BE49-F238E27FC236}">
                <a16:creationId xmlns:a16="http://schemas.microsoft.com/office/drawing/2014/main" id="{6A83B2B3-FFC7-A179-7FEA-57672291984B}"/>
              </a:ext>
            </a:extLst>
          </p:cNvPr>
          <p:cNvGrpSpPr/>
          <p:nvPr/>
        </p:nvGrpSpPr>
        <p:grpSpPr>
          <a:xfrm>
            <a:off x="2505505" y="890950"/>
            <a:ext cx="1765322" cy="1958708"/>
            <a:chOff x="151778" y="2400002"/>
            <a:chExt cx="3021728" cy="2555373"/>
          </a:xfrm>
        </p:grpSpPr>
        <p:sp>
          <p:nvSpPr>
            <p:cNvPr id="44" name="Rounded Rectangle 15">
              <a:extLst>
                <a:ext uri="{FF2B5EF4-FFF2-40B4-BE49-F238E27FC236}">
                  <a16:creationId xmlns:a16="http://schemas.microsoft.com/office/drawing/2014/main" id="{0F3FD753-9392-445D-144E-21E91B920455}"/>
                </a:ext>
              </a:extLst>
            </p:cNvPr>
            <p:cNvSpPr/>
            <p:nvPr/>
          </p:nvSpPr>
          <p:spPr>
            <a:xfrm>
              <a:off x="151778" y="2974103"/>
              <a:ext cx="3021728" cy="1942730"/>
            </a:xfrm>
            <a:prstGeom prst="roundRect">
              <a:avLst>
                <a:gd name="adj" fmla="val 1167"/>
              </a:avLst>
            </a:prstGeom>
            <a:solidFill>
              <a:sysClr val="window" lastClr="FFFFFF"/>
            </a:solidFill>
            <a:ln w="6350" cap="flat" cmpd="sng" algn="ctr">
              <a:solidFill>
                <a:srgbClr val="244B59"/>
              </a:solidFill>
              <a:prstDash val="solid"/>
              <a:miter lim="800000"/>
            </a:ln>
            <a:effectLst/>
          </p:spPr>
          <p:txBody>
            <a:bodyPr rtlCol="0" anchor="ctr">
              <a:normAutofit/>
            </a:bodyPr>
            <a:lstStyle/>
            <a:p>
              <a:pPr marL="0" marR="0" lvl="0" indent="0" algn="ctr" defTabSz="608991" rtl="0" eaLnBrk="1" fontAlgn="auto" latinLnBrk="0" hangingPunct="1">
                <a:lnSpc>
                  <a:spcPct val="100000"/>
                </a:lnSpc>
                <a:spcBef>
                  <a:spcPts val="0"/>
                </a:spcBef>
                <a:spcAft>
                  <a:spcPts val="0"/>
                </a:spcAft>
                <a:buClrTx/>
                <a:buSzTx/>
                <a:buFontTx/>
                <a:buNone/>
                <a:tabLst/>
                <a:defRPr/>
              </a:pPr>
              <a:endParaRPr kumimoji="0" lang="en-US" sz="1865" b="1" i="0" u="none" strike="noStrike" kern="0" cap="none" spc="0" normalizeH="0" baseline="0" noProof="0">
                <a:ln>
                  <a:noFill/>
                </a:ln>
                <a:solidFill>
                  <a:srgbClr val="FFFFFF"/>
                </a:solidFill>
                <a:effectLst/>
                <a:uLnTx/>
                <a:uFillTx/>
                <a:latin typeface="Arial" panose="020B0604020202020204"/>
                <a:ea typeface="ＭＳ Ｐゴシック" charset="0"/>
                <a:cs typeface="+mn-cs"/>
              </a:endParaRPr>
            </a:p>
          </p:txBody>
        </p:sp>
        <p:grpSp>
          <p:nvGrpSpPr>
            <p:cNvPr id="45" name="Group 44">
              <a:extLst>
                <a:ext uri="{FF2B5EF4-FFF2-40B4-BE49-F238E27FC236}">
                  <a16:creationId xmlns:a16="http://schemas.microsoft.com/office/drawing/2014/main" id="{2BAA0994-1C82-D960-F938-4D93D75FB827}"/>
                </a:ext>
              </a:extLst>
            </p:cNvPr>
            <p:cNvGrpSpPr/>
            <p:nvPr/>
          </p:nvGrpSpPr>
          <p:grpSpPr>
            <a:xfrm>
              <a:off x="286755" y="2400002"/>
              <a:ext cx="2751775" cy="702001"/>
              <a:chOff x="285317" y="2857202"/>
              <a:chExt cx="3737999" cy="702001"/>
            </a:xfrm>
          </p:grpSpPr>
          <p:sp>
            <p:nvSpPr>
              <p:cNvPr id="47" name="Round Same Side Corner Rectangle 18">
                <a:extLst>
                  <a:ext uri="{FF2B5EF4-FFF2-40B4-BE49-F238E27FC236}">
                    <a16:creationId xmlns:a16="http://schemas.microsoft.com/office/drawing/2014/main" id="{431EBD1D-C5E8-9A60-1E55-098FF0BC550A}"/>
                  </a:ext>
                </a:extLst>
              </p:cNvPr>
              <p:cNvSpPr/>
              <p:nvPr/>
            </p:nvSpPr>
            <p:spPr>
              <a:xfrm>
                <a:off x="285317" y="2857202"/>
                <a:ext cx="3737999" cy="582280"/>
              </a:xfrm>
              <a:prstGeom prst="round2SameRect">
                <a:avLst/>
              </a:prstGeom>
              <a:solidFill>
                <a:srgbClr val="244B59"/>
              </a:solidFill>
              <a:ln w="12700" cap="flat" cmpd="sng" algn="ctr">
                <a:noFill/>
                <a:prstDash val="solid"/>
                <a:miter lim="800000"/>
              </a:ln>
              <a:effectLst/>
            </p:spPr>
            <p:txBody>
              <a:bodyPr rtlCol="0" anchor="ctr"/>
              <a:lstStyle/>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ＭＳ Ｐゴシック" charset="0"/>
                  <a:cs typeface="+mn-cs"/>
                </a:endParaRPr>
              </a:p>
            </p:txBody>
          </p:sp>
          <p:sp>
            <p:nvSpPr>
              <p:cNvPr id="48" name="Trapezoid 47">
                <a:extLst>
                  <a:ext uri="{FF2B5EF4-FFF2-40B4-BE49-F238E27FC236}">
                    <a16:creationId xmlns:a16="http://schemas.microsoft.com/office/drawing/2014/main" id="{AEDF84F8-BF50-0BEB-6251-F03D9CD64708}"/>
                  </a:ext>
                </a:extLst>
              </p:cNvPr>
              <p:cNvSpPr/>
              <p:nvPr/>
            </p:nvSpPr>
            <p:spPr>
              <a:xfrm flipV="1">
                <a:off x="669190" y="3392793"/>
                <a:ext cx="2934704" cy="166410"/>
              </a:xfrm>
              <a:prstGeom prst="trapezoid">
                <a:avLst>
                  <a:gd name="adj" fmla="val 73842"/>
                </a:avLst>
              </a:prstGeom>
              <a:solidFill>
                <a:srgbClr val="244B59"/>
              </a:solidFill>
              <a:ln w="12700" cap="flat" cmpd="sng" algn="ctr">
                <a:noFill/>
                <a:prstDash val="solid"/>
                <a:miter lim="800000"/>
              </a:ln>
              <a:effectLst>
                <a:outerShdw blurRad="50800" dist="25400" dir="5400000" algn="t" rotWithShape="0">
                  <a:prstClr val="black">
                    <a:alpha val="25000"/>
                  </a:prstClr>
                </a:outerShdw>
              </a:effectLst>
            </p:spPr>
            <p:txBody>
              <a:bodyPr rtlCol="0" anchor="ctr"/>
              <a:lstStyle/>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ＭＳ Ｐゴシック" charset="0"/>
                  <a:cs typeface="+mn-cs"/>
                </a:endParaRPr>
              </a:p>
            </p:txBody>
          </p:sp>
        </p:grpSp>
        <p:sp>
          <p:nvSpPr>
            <p:cNvPr id="46" name="Rounded Rectangle 17">
              <a:extLst>
                <a:ext uri="{FF2B5EF4-FFF2-40B4-BE49-F238E27FC236}">
                  <a16:creationId xmlns:a16="http://schemas.microsoft.com/office/drawing/2014/main" id="{5FD35E65-C54F-D127-1C7D-8569DF303D55}"/>
                </a:ext>
              </a:extLst>
            </p:cNvPr>
            <p:cNvSpPr/>
            <p:nvPr/>
          </p:nvSpPr>
          <p:spPr>
            <a:xfrm>
              <a:off x="151778" y="4884801"/>
              <a:ext cx="3021728" cy="70574"/>
            </a:xfrm>
            <a:prstGeom prst="roundRect">
              <a:avLst>
                <a:gd name="adj" fmla="val 1167"/>
              </a:avLst>
            </a:prstGeom>
            <a:solidFill>
              <a:srgbClr val="244B59"/>
            </a:solidFill>
            <a:ln w="6350" cap="flat" cmpd="sng" algn="ctr">
              <a:solidFill>
                <a:srgbClr val="156838"/>
              </a:solidFill>
              <a:prstDash val="solid"/>
              <a:miter lim="800000"/>
            </a:ln>
            <a:effectLst/>
          </p:spPr>
          <p:txBody>
            <a:bodyPr rtlCol="0" anchor="ctr">
              <a:normAutofit fontScale="25000" lnSpcReduction="20000"/>
            </a:bodyPr>
            <a:lstStyle/>
            <a:p>
              <a:pPr marL="0" marR="0" lvl="0" indent="0" algn="ctr" defTabSz="608991" rtl="0" eaLnBrk="1" fontAlgn="auto" latinLnBrk="0" hangingPunct="1">
                <a:lnSpc>
                  <a:spcPct val="100000"/>
                </a:lnSpc>
                <a:spcBef>
                  <a:spcPts val="0"/>
                </a:spcBef>
                <a:spcAft>
                  <a:spcPts val="0"/>
                </a:spcAft>
                <a:buClrTx/>
                <a:buSzTx/>
                <a:buFontTx/>
                <a:buNone/>
                <a:tabLst/>
                <a:defRPr/>
              </a:pPr>
              <a:endParaRPr kumimoji="0" lang="en-US" sz="1865" b="1" i="0" u="none" strike="noStrike" kern="0" cap="none" spc="0" normalizeH="0" baseline="0" noProof="0">
                <a:ln>
                  <a:noFill/>
                </a:ln>
                <a:solidFill>
                  <a:srgbClr val="FFFFFF"/>
                </a:solidFill>
                <a:effectLst/>
                <a:uLnTx/>
                <a:uFillTx/>
                <a:latin typeface="Arial" panose="020B0604020202020204"/>
                <a:ea typeface="ＭＳ Ｐゴシック" charset="0"/>
                <a:cs typeface="+mn-cs"/>
              </a:endParaRPr>
            </a:p>
          </p:txBody>
        </p:sp>
      </p:grpSp>
      <p:sp>
        <p:nvSpPr>
          <p:cNvPr id="49" name="Rectangle 48">
            <a:extLst>
              <a:ext uri="{FF2B5EF4-FFF2-40B4-BE49-F238E27FC236}">
                <a16:creationId xmlns:a16="http://schemas.microsoft.com/office/drawing/2014/main" id="{AEA7C1A1-7045-404F-A8AC-64CAEA18217C}"/>
              </a:ext>
            </a:extLst>
          </p:cNvPr>
          <p:cNvSpPr/>
          <p:nvPr/>
        </p:nvSpPr>
        <p:spPr>
          <a:xfrm>
            <a:off x="2602545" y="861300"/>
            <a:ext cx="1589429" cy="461665"/>
          </a:xfrm>
          <a:prstGeom prst="rect">
            <a:avLst/>
          </a:prstGeom>
        </p:spPr>
        <p:txBody>
          <a:bodyPr wrap="square" anchor="ctr">
            <a:spAutoFit/>
          </a:bodyPr>
          <a:lstStyle/>
          <a:p>
            <a:pPr marL="0" marR="0" lvl="0" indent="0" algn="ctr" defTabSz="91433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pitchFamily="34" charset="0"/>
                <a:ea typeface="ＭＳ Ｐゴシック" charset="0"/>
                <a:cs typeface="Arial" panose="020B0604020202020204" pitchFamily="34" charset="0"/>
              </a:rPr>
              <a:t>Pattern Recognition</a:t>
            </a:r>
          </a:p>
        </p:txBody>
      </p:sp>
      <p:sp>
        <p:nvSpPr>
          <p:cNvPr id="50" name="TextBox 49">
            <a:extLst>
              <a:ext uri="{FF2B5EF4-FFF2-40B4-BE49-F238E27FC236}">
                <a16:creationId xmlns:a16="http://schemas.microsoft.com/office/drawing/2014/main" id="{AB12BF34-FFA2-1EDA-4DEB-A0BDE17297B1}"/>
              </a:ext>
            </a:extLst>
          </p:cNvPr>
          <p:cNvSpPr txBox="1"/>
          <p:nvPr/>
        </p:nvSpPr>
        <p:spPr>
          <a:xfrm>
            <a:off x="2531390" y="1664760"/>
            <a:ext cx="1739437" cy="577081"/>
          </a:xfrm>
          <a:prstGeom prst="rect">
            <a:avLst/>
          </a:prstGeom>
          <a:noFill/>
        </p:spPr>
        <p:txBody>
          <a:bodyPr wrap="square" rtlCol="0" anchor="ctr">
            <a:spAutoFit/>
          </a:bodyPr>
          <a:lstStyle>
            <a:defPPr>
              <a:defRPr lang="en-US"/>
            </a:defPPr>
            <a:lvl1pPr marL="182880" indent="-182880">
              <a:buFont typeface="Arial" panose="020B0604020202020204" pitchFamily="34" charset="0"/>
              <a:buChar char="›"/>
              <a:defRPr sz="1600">
                <a:solidFill>
                  <a:schemeClr val="tx1">
                    <a:lumMod val="75000"/>
                    <a:lumOff val="25000"/>
                  </a:schemeClr>
                </a:solidFill>
                <a:latin typeface="Arial" panose="020B0604020202020204" pitchFamily="34" charset="0"/>
                <a:cs typeface="Arial" panose="020B0604020202020204" pitchFamily="34" charset="0"/>
              </a:defRPr>
            </a:lvl1pPr>
          </a:lstStyle>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Trend Analysis</a:t>
            </a:r>
          </a:p>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Correlation Analysis</a:t>
            </a:r>
          </a:p>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Time Series Analysis</a:t>
            </a:r>
            <a:endParaRPr kumimoji="0" lang="en-IN"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endParaRPr>
          </a:p>
        </p:txBody>
      </p:sp>
      <p:grpSp>
        <p:nvGrpSpPr>
          <p:cNvPr id="51" name="Group 50">
            <a:extLst>
              <a:ext uri="{FF2B5EF4-FFF2-40B4-BE49-F238E27FC236}">
                <a16:creationId xmlns:a16="http://schemas.microsoft.com/office/drawing/2014/main" id="{D26BE937-620E-D42B-CDB8-652CB46DFA97}"/>
              </a:ext>
            </a:extLst>
          </p:cNvPr>
          <p:cNvGrpSpPr/>
          <p:nvPr/>
        </p:nvGrpSpPr>
        <p:grpSpPr>
          <a:xfrm>
            <a:off x="4818495" y="895426"/>
            <a:ext cx="1765322" cy="1971528"/>
            <a:chOff x="151778" y="2400002"/>
            <a:chExt cx="3021728" cy="2572098"/>
          </a:xfrm>
        </p:grpSpPr>
        <p:sp>
          <p:nvSpPr>
            <p:cNvPr id="52" name="Rounded Rectangle 15">
              <a:extLst>
                <a:ext uri="{FF2B5EF4-FFF2-40B4-BE49-F238E27FC236}">
                  <a16:creationId xmlns:a16="http://schemas.microsoft.com/office/drawing/2014/main" id="{49E74393-D703-FCDF-AE85-80B395BA4211}"/>
                </a:ext>
              </a:extLst>
            </p:cNvPr>
            <p:cNvSpPr/>
            <p:nvPr/>
          </p:nvSpPr>
          <p:spPr>
            <a:xfrm>
              <a:off x="151778" y="2974103"/>
              <a:ext cx="3021728" cy="1945250"/>
            </a:xfrm>
            <a:prstGeom prst="roundRect">
              <a:avLst>
                <a:gd name="adj" fmla="val 1167"/>
              </a:avLst>
            </a:prstGeom>
            <a:solidFill>
              <a:sysClr val="window" lastClr="FFFFFF"/>
            </a:solidFill>
            <a:ln w="6350" cap="flat" cmpd="sng" algn="ctr">
              <a:solidFill>
                <a:srgbClr val="006580"/>
              </a:solidFill>
              <a:prstDash val="solid"/>
              <a:miter lim="800000"/>
            </a:ln>
            <a:effectLst/>
          </p:spPr>
          <p:txBody>
            <a:bodyPr rtlCol="0" anchor="ctr">
              <a:normAutofit/>
            </a:bodyPr>
            <a:lstStyle/>
            <a:p>
              <a:pPr marL="0" marR="0" lvl="0" indent="0" algn="ctr" defTabSz="608991" rtl="0" eaLnBrk="1" fontAlgn="auto" latinLnBrk="0" hangingPunct="1">
                <a:lnSpc>
                  <a:spcPct val="100000"/>
                </a:lnSpc>
                <a:spcBef>
                  <a:spcPts val="0"/>
                </a:spcBef>
                <a:spcAft>
                  <a:spcPts val="0"/>
                </a:spcAft>
                <a:buClrTx/>
                <a:buSzTx/>
                <a:buFontTx/>
                <a:buNone/>
                <a:tabLst/>
                <a:defRPr/>
              </a:pPr>
              <a:endParaRPr kumimoji="0" lang="en-US" sz="1865" b="1" i="0" u="none" strike="noStrike" kern="0" cap="none" spc="0" normalizeH="0" baseline="0" noProof="0">
                <a:ln>
                  <a:noFill/>
                </a:ln>
                <a:solidFill>
                  <a:srgbClr val="FFFFFF"/>
                </a:solidFill>
                <a:effectLst/>
                <a:uLnTx/>
                <a:uFillTx/>
                <a:latin typeface="Arial" panose="020B0604020202020204"/>
                <a:ea typeface="ＭＳ Ｐゴシック" charset="0"/>
                <a:cs typeface="+mn-cs"/>
              </a:endParaRPr>
            </a:p>
          </p:txBody>
        </p:sp>
        <p:grpSp>
          <p:nvGrpSpPr>
            <p:cNvPr id="53" name="Group 52">
              <a:extLst>
                <a:ext uri="{FF2B5EF4-FFF2-40B4-BE49-F238E27FC236}">
                  <a16:creationId xmlns:a16="http://schemas.microsoft.com/office/drawing/2014/main" id="{291F4EAE-6966-3CD2-88B9-173AAEC8EBC4}"/>
                </a:ext>
              </a:extLst>
            </p:cNvPr>
            <p:cNvGrpSpPr/>
            <p:nvPr/>
          </p:nvGrpSpPr>
          <p:grpSpPr>
            <a:xfrm>
              <a:off x="286755" y="2400002"/>
              <a:ext cx="2751775" cy="702001"/>
              <a:chOff x="285317" y="2857202"/>
              <a:chExt cx="3737999" cy="702001"/>
            </a:xfrm>
          </p:grpSpPr>
          <p:sp>
            <p:nvSpPr>
              <p:cNvPr id="55" name="Round Same Side Corner Rectangle 18">
                <a:extLst>
                  <a:ext uri="{FF2B5EF4-FFF2-40B4-BE49-F238E27FC236}">
                    <a16:creationId xmlns:a16="http://schemas.microsoft.com/office/drawing/2014/main" id="{30240B04-F5BF-329A-056D-EC67419803A4}"/>
                  </a:ext>
                </a:extLst>
              </p:cNvPr>
              <p:cNvSpPr/>
              <p:nvPr/>
            </p:nvSpPr>
            <p:spPr>
              <a:xfrm>
                <a:off x="285317" y="2857202"/>
                <a:ext cx="3737999" cy="582280"/>
              </a:xfrm>
              <a:prstGeom prst="round2SameRect">
                <a:avLst/>
              </a:prstGeom>
              <a:solidFill>
                <a:srgbClr val="006580"/>
              </a:solidFill>
              <a:ln w="12700" cap="flat" cmpd="sng" algn="ctr">
                <a:noFill/>
                <a:prstDash val="solid"/>
                <a:miter lim="800000"/>
              </a:ln>
              <a:effectLst/>
            </p:spPr>
            <p:txBody>
              <a:bodyPr rtlCol="0" anchor="ctr"/>
              <a:lstStyle/>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ＭＳ Ｐゴシック" charset="0"/>
                  <a:cs typeface="+mn-cs"/>
                </a:endParaRPr>
              </a:p>
            </p:txBody>
          </p:sp>
          <p:sp>
            <p:nvSpPr>
              <p:cNvPr id="56" name="Trapezoid 55">
                <a:extLst>
                  <a:ext uri="{FF2B5EF4-FFF2-40B4-BE49-F238E27FC236}">
                    <a16:creationId xmlns:a16="http://schemas.microsoft.com/office/drawing/2014/main" id="{70955D78-388C-BB51-22E4-2A4D6C6D8A9C}"/>
                  </a:ext>
                </a:extLst>
              </p:cNvPr>
              <p:cNvSpPr/>
              <p:nvPr/>
            </p:nvSpPr>
            <p:spPr>
              <a:xfrm flipV="1">
                <a:off x="669190" y="3392793"/>
                <a:ext cx="2934704" cy="166410"/>
              </a:xfrm>
              <a:prstGeom prst="trapezoid">
                <a:avLst>
                  <a:gd name="adj" fmla="val 73842"/>
                </a:avLst>
              </a:prstGeom>
              <a:solidFill>
                <a:srgbClr val="006580"/>
              </a:solidFill>
              <a:ln w="12700" cap="flat" cmpd="sng" algn="ctr">
                <a:noFill/>
                <a:prstDash val="solid"/>
                <a:miter lim="800000"/>
              </a:ln>
              <a:effectLst>
                <a:outerShdw blurRad="50800" dist="25400" dir="5400000" algn="t" rotWithShape="0">
                  <a:prstClr val="black">
                    <a:alpha val="25000"/>
                  </a:prstClr>
                </a:outerShdw>
              </a:effectLst>
            </p:spPr>
            <p:txBody>
              <a:bodyPr rtlCol="0" anchor="ctr"/>
              <a:lstStyle/>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ＭＳ Ｐゴシック" charset="0"/>
                  <a:cs typeface="+mn-cs"/>
                </a:endParaRPr>
              </a:p>
            </p:txBody>
          </p:sp>
        </p:grpSp>
        <p:sp>
          <p:nvSpPr>
            <p:cNvPr id="54" name="Rounded Rectangle 17">
              <a:extLst>
                <a:ext uri="{FF2B5EF4-FFF2-40B4-BE49-F238E27FC236}">
                  <a16:creationId xmlns:a16="http://schemas.microsoft.com/office/drawing/2014/main" id="{DD2009C9-DEEA-4244-E765-83951AF4858E}"/>
                </a:ext>
              </a:extLst>
            </p:cNvPr>
            <p:cNvSpPr/>
            <p:nvPr/>
          </p:nvSpPr>
          <p:spPr>
            <a:xfrm>
              <a:off x="151778" y="4901526"/>
              <a:ext cx="3021728" cy="70574"/>
            </a:xfrm>
            <a:prstGeom prst="roundRect">
              <a:avLst>
                <a:gd name="adj" fmla="val 1167"/>
              </a:avLst>
            </a:prstGeom>
            <a:solidFill>
              <a:srgbClr val="006580"/>
            </a:solidFill>
            <a:ln w="6350" cap="flat" cmpd="sng" algn="ctr">
              <a:solidFill>
                <a:srgbClr val="156838"/>
              </a:solidFill>
              <a:prstDash val="solid"/>
              <a:miter lim="800000"/>
            </a:ln>
            <a:effectLst/>
          </p:spPr>
          <p:txBody>
            <a:bodyPr rtlCol="0" anchor="ctr">
              <a:normAutofit fontScale="25000" lnSpcReduction="20000"/>
            </a:bodyPr>
            <a:lstStyle/>
            <a:p>
              <a:pPr marL="0" marR="0" lvl="0" indent="0" algn="ctr" defTabSz="608991" rtl="0" eaLnBrk="1" fontAlgn="auto" latinLnBrk="0" hangingPunct="1">
                <a:lnSpc>
                  <a:spcPct val="100000"/>
                </a:lnSpc>
                <a:spcBef>
                  <a:spcPts val="0"/>
                </a:spcBef>
                <a:spcAft>
                  <a:spcPts val="0"/>
                </a:spcAft>
                <a:buClrTx/>
                <a:buSzTx/>
                <a:buFontTx/>
                <a:buNone/>
                <a:tabLst/>
                <a:defRPr/>
              </a:pPr>
              <a:endParaRPr kumimoji="0" lang="en-US" sz="1865" b="1" i="0" u="none" strike="noStrike" kern="0" cap="none" spc="0" normalizeH="0" baseline="0" noProof="0" err="1">
                <a:ln>
                  <a:noFill/>
                </a:ln>
                <a:solidFill>
                  <a:srgbClr val="FFFFFF"/>
                </a:solidFill>
                <a:effectLst/>
                <a:uLnTx/>
                <a:uFillTx/>
                <a:latin typeface="Arial" panose="020B0604020202020204"/>
                <a:ea typeface="ＭＳ Ｐゴシック" charset="0"/>
                <a:cs typeface="+mn-cs"/>
              </a:endParaRPr>
            </a:p>
          </p:txBody>
        </p:sp>
      </p:grpSp>
      <p:sp>
        <p:nvSpPr>
          <p:cNvPr id="57" name="Rectangle 56">
            <a:extLst>
              <a:ext uri="{FF2B5EF4-FFF2-40B4-BE49-F238E27FC236}">
                <a16:creationId xmlns:a16="http://schemas.microsoft.com/office/drawing/2014/main" id="{D0722057-23BD-1664-CE8B-275E29A82F5E}"/>
              </a:ext>
            </a:extLst>
          </p:cNvPr>
          <p:cNvSpPr/>
          <p:nvPr/>
        </p:nvSpPr>
        <p:spPr>
          <a:xfrm>
            <a:off x="4915536" y="865776"/>
            <a:ext cx="1589429" cy="461665"/>
          </a:xfrm>
          <a:prstGeom prst="rect">
            <a:avLst/>
          </a:prstGeom>
        </p:spPr>
        <p:txBody>
          <a:bodyPr wrap="square" anchor="ctr">
            <a:spAutoFit/>
          </a:bodyPr>
          <a:lstStyle/>
          <a:p>
            <a:pPr marL="0" marR="0" lvl="0" indent="0" algn="ctr" defTabSz="91433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pitchFamily="34" charset="0"/>
                <a:ea typeface="ＭＳ Ｐゴシック" charset="0"/>
                <a:cs typeface="Arial" panose="020B0604020202020204" pitchFamily="34" charset="0"/>
              </a:rPr>
              <a:t>Data Segmentation and Classification</a:t>
            </a:r>
          </a:p>
        </p:txBody>
      </p:sp>
      <p:sp>
        <p:nvSpPr>
          <p:cNvPr id="58" name="TextBox 57">
            <a:extLst>
              <a:ext uri="{FF2B5EF4-FFF2-40B4-BE49-F238E27FC236}">
                <a16:creationId xmlns:a16="http://schemas.microsoft.com/office/drawing/2014/main" id="{C6EE7018-F5CC-2C8B-9BAC-6097B3AB669F}"/>
              </a:ext>
            </a:extLst>
          </p:cNvPr>
          <p:cNvSpPr txBox="1"/>
          <p:nvPr/>
        </p:nvSpPr>
        <p:spPr>
          <a:xfrm>
            <a:off x="4844382" y="1614867"/>
            <a:ext cx="1739437" cy="577081"/>
          </a:xfrm>
          <a:prstGeom prst="rect">
            <a:avLst/>
          </a:prstGeom>
          <a:noFill/>
        </p:spPr>
        <p:txBody>
          <a:bodyPr wrap="square" rtlCol="0" anchor="ctr">
            <a:spAutoFit/>
          </a:bodyPr>
          <a:lstStyle>
            <a:defPPr>
              <a:defRPr lang="en-US"/>
            </a:defPPr>
            <a:lvl1pPr marL="182880" indent="-182880">
              <a:buFont typeface="Arial" panose="020B0604020202020204" pitchFamily="34" charset="0"/>
              <a:buChar char="›"/>
              <a:defRPr sz="1600">
                <a:solidFill>
                  <a:schemeClr val="tx1">
                    <a:lumMod val="75000"/>
                    <a:lumOff val="25000"/>
                  </a:schemeClr>
                </a:solidFill>
                <a:latin typeface="Arial" panose="020B0604020202020204" pitchFamily="34" charset="0"/>
                <a:cs typeface="Arial" panose="020B0604020202020204" pitchFamily="34" charset="0"/>
              </a:defRPr>
            </a:lvl1pPr>
          </a:lstStyle>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Segmentation</a:t>
            </a:r>
          </a:p>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Clustering</a:t>
            </a:r>
          </a:p>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Classification</a:t>
            </a:r>
            <a:endParaRPr kumimoji="0" lang="en-IN"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endParaRPr>
          </a:p>
        </p:txBody>
      </p:sp>
      <p:grpSp>
        <p:nvGrpSpPr>
          <p:cNvPr id="59" name="Group 58">
            <a:extLst>
              <a:ext uri="{FF2B5EF4-FFF2-40B4-BE49-F238E27FC236}">
                <a16:creationId xmlns:a16="http://schemas.microsoft.com/office/drawing/2014/main" id="{568967A1-FC0A-660C-D263-C93F672F4201}"/>
              </a:ext>
            </a:extLst>
          </p:cNvPr>
          <p:cNvGrpSpPr/>
          <p:nvPr/>
        </p:nvGrpSpPr>
        <p:grpSpPr>
          <a:xfrm>
            <a:off x="7084952" y="866479"/>
            <a:ext cx="1765322" cy="1977938"/>
            <a:chOff x="151778" y="2400002"/>
            <a:chExt cx="3021728" cy="2580460"/>
          </a:xfrm>
        </p:grpSpPr>
        <p:sp>
          <p:nvSpPr>
            <p:cNvPr id="60" name="Rounded Rectangle 15">
              <a:extLst>
                <a:ext uri="{FF2B5EF4-FFF2-40B4-BE49-F238E27FC236}">
                  <a16:creationId xmlns:a16="http://schemas.microsoft.com/office/drawing/2014/main" id="{298CA09D-99FE-BEF0-1752-BEDF8E3A4F9A}"/>
                </a:ext>
              </a:extLst>
            </p:cNvPr>
            <p:cNvSpPr/>
            <p:nvPr/>
          </p:nvSpPr>
          <p:spPr>
            <a:xfrm>
              <a:off x="151778" y="2974102"/>
              <a:ext cx="3021728" cy="1991376"/>
            </a:xfrm>
            <a:prstGeom prst="roundRect">
              <a:avLst>
                <a:gd name="adj" fmla="val 1167"/>
              </a:avLst>
            </a:prstGeom>
            <a:solidFill>
              <a:sysClr val="window" lastClr="FFFFFF"/>
            </a:solidFill>
            <a:ln w="6350" cap="flat" cmpd="sng" algn="ctr">
              <a:solidFill>
                <a:srgbClr val="478BD4"/>
              </a:solidFill>
              <a:prstDash val="solid"/>
              <a:miter lim="800000"/>
            </a:ln>
            <a:effectLst/>
          </p:spPr>
          <p:txBody>
            <a:bodyPr rtlCol="0" anchor="ctr">
              <a:normAutofit/>
            </a:bodyPr>
            <a:lstStyle/>
            <a:p>
              <a:pPr marL="0" marR="0" lvl="0" indent="0" algn="ctr" defTabSz="608991" rtl="0" eaLnBrk="1" fontAlgn="auto" latinLnBrk="0" hangingPunct="1">
                <a:lnSpc>
                  <a:spcPct val="100000"/>
                </a:lnSpc>
                <a:spcBef>
                  <a:spcPts val="0"/>
                </a:spcBef>
                <a:spcAft>
                  <a:spcPts val="0"/>
                </a:spcAft>
                <a:buClrTx/>
                <a:buSzTx/>
                <a:buFontTx/>
                <a:buNone/>
                <a:tabLst/>
                <a:defRPr/>
              </a:pPr>
              <a:endParaRPr kumimoji="0" lang="en-US" sz="1865" b="1" i="0" u="none" strike="noStrike" kern="0" cap="none" spc="0" normalizeH="0" baseline="0" noProof="0">
                <a:ln>
                  <a:noFill/>
                </a:ln>
                <a:solidFill>
                  <a:srgbClr val="FFFFFF"/>
                </a:solidFill>
                <a:effectLst/>
                <a:uLnTx/>
                <a:uFillTx/>
                <a:latin typeface="Arial" panose="020B0604020202020204"/>
                <a:ea typeface="ＭＳ Ｐゴシック" charset="0"/>
                <a:cs typeface="+mn-cs"/>
              </a:endParaRPr>
            </a:p>
          </p:txBody>
        </p:sp>
        <p:grpSp>
          <p:nvGrpSpPr>
            <p:cNvPr id="61" name="Group 60">
              <a:extLst>
                <a:ext uri="{FF2B5EF4-FFF2-40B4-BE49-F238E27FC236}">
                  <a16:creationId xmlns:a16="http://schemas.microsoft.com/office/drawing/2014/main" id="{6BBA2FA0-F550-5404-8194-F2EC1047C2E8}"/>
                </a:ext>
              </a:extLst>
            </p:cNvPr>
            <p:cNvGrpSpPr/>
            <p:nvPr/>
          </p:nvGrpSpPr>
          <p:grpSpPr>
            <a:xfrm>
              <a:off x="286755" y="2400002"/>
              <a:ext cx="2751775" cy="702001"/>
              <a:chOff x="285317" y="2857202"/>
              <a:chExt cx="3737999" cy="702001"/>
            </a:xfrm>
          </p:grpSpPr>
          <p:sp>
            <p:nvSpPr>
              <p:cNvPr id="63" name="Round Same Side Corner Rectangle 18">
                <a:extLst>
                  <a:ext uri="{FF2B5EF4-FFF2-40B4-BE49-F238E27FC236}">
                    <a16:creationId xmlns:a16="http://schemas.microsoft.com/office/drawing/2014/main" id="{B6FB1E8B-3AEF-587C-72D2-1D86D9876E61}"/>
                  </a:ext>
                </a:extLst>
              </p:cNvPr>
              <p:cNvSpPr/>
              <p:nvPr/>
            </p:nvSpPr>
            <p:spPr>
              <a:xfrm>
                <a:off x="285317" y="2857202"/>
                <a:ext cx="3737999" cy="582280"/>
              </a:xfrm>
              <a:prstGeom prst="round2SameRect">
                <a:avLst/>
              </a:prstGeom>
              <a:solidFill>
                <a:schemeClr val="accent2">
                  <a:lumMod val="60000"/>
                  <a:lumOff val="40000"/>
                </a:schemeClr>
              </a:solidFill>
              <a:ln w="12700" cap="flat" cmpd="sng" algn="ctr">
                <a:noFill/>
                <a:prstDash val="solid"/>
                <a:miter lim="800000"/>
              </a:ln>
              <a:effectLst/>
            </p:spPr>
            <p:txBody>
              <a:bodyPr rtlCol="0" anchor="ctr"/>
              <a:lstStyle/>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ＭＳ Ｐゴシック" charset="0"/>
                  <a:cs typeface="+mn-cs"/>
                </a:endParaRPr>
              </a:p>
            </p:txBody>
          </p:sp>
          <p:sp>
            <p:nvSpPr>
              <p:cNvPr id="1024" name="Trapezoid 1023">
                <a:extLst>
                  <a:ext uri="{FF2B5EF4-FFF2-40B4-BE49-F238E27FC236}">
                    <a16:creationId xmlns:a16="http://schemas.microsoft.com/office/drawing/2014/main" id="{CD1BED97-529E-547F-1B36-AEEC90626B8A}"/>
                  </a:ext>
                </a:extLst>
              </p:cNvPr>
              <p:cNvSpPr/>
              <p:nvPr/>
            </p:nvSpPr>
            <p:spPr>
              <a:xfrm flipV="1">
                <a:off x="669190" y="3392793"/>
                <a:ext cx="2934704" cy="166410"/>
              </a:xfrm>
              <a:prstGeom prst="trapezoid">
                <a:avLst>
                  <a:gd name="adj" fmla="val 73842"/>
                </a:avLst>
              </a:prstGeom>
              <a:solidFill>
                <a:schemeClr val="accent2">
                  <a:lumMod val="60000"/>
                  <a:lumOff val="40000"/>
                </a:schemeClr>
              </a:solidFill>
              <a:ln w="12700" cap="flat" cmpd="sng" algn="ctr">
                <a:noFill/>
                <a:prstDash val="solid"/>
                <a:miter lim="800000"/>
              </a:ln>
              <a:effectLst>
                <a:outerShdw blurRad="50800" dist="25400" dir="5400000" algn="t" rotWithShape="0">
                  <a:prstClr val="black">
                    <a:alpha val="25000"/>
                  </a:prstClr>
                </a:outerShdw>
              </a:effectLst>
            </p:spPr>
            <p:txBody>
              <a:bodyPr rtlCol="0" anchor="ctr"/>
              <a:lstStyle/>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ＭＳ Ｐゴシック" charset="0"/>
                  <a:cs typeface="+mn-cs"/>
                </a:endParaRPr>
              </a:p>
            </p:txBody>
          </p:sp>
        </p:grpSp>
        <p:sp>
          <p:nvSpPr>
            <p:cNvPr id="62" name="Rounded Rectangle 17">
              <a:extLst>
                <a:ext uri="{FF2B5EF4-FFF2-40B4-BE49-F238E27FC236}">
                  <a16:creationId xmlns:a16="http://schemas.microsoft.com/office/drawing/2014/main" id="{0B72659A-7BCD-10D5-CF1F-765008BF6D11}"/>
                </a:ext>
              </a:extLst>
            </p:cNvPr>
            <p:cNvSpPr/>
            <p:nvPr/>
          </p:nvSpPr>
          <p:spPr>
            <a:xfrm>
              <a:off x="151778" y="4909888"/>
              <a:ext cx="3021728" cy="70574"/>
            </a:xfrm>
            <a:prstGeom prst="roundRect">
              <a:avLst>
                <a:gd name="adj" fmla="val 1167"/>
              </a:avLst>
            </a:prstGeom>
            <a:solidFill>
              <a:schemeClr val="accent2">
                <a:lumMod val="60000"/>
                <a:lumOff val="40000"/>
              </a:schemeClr>
            </a:solidFill>
            <a:ln w="6350" cap="flat" cmpd="sng" algn="ctr">
              <a:solidFill>
                <a:srgbClr val="156838"/>
              </a:solidFill>
              <a:prstDash val="solid"/>
              <a:miter lim="800000"/>
            </a:ln>
            <a:effectLst/>
          </p:spPr>
          <p:txBody>
            <a:bodyPr rtlCol="0" anchor="ctr">
              <a:normAutofit fontScale="25000" lnSpcReduction="20000"/>
            </a:bodyPr>
            <a:lstStyle/>
            <a:p>
              <a:pPr marL="0" marR="0" lvl="0" indent="0" algn="ctr" defTabSz="608991" rtl="0" eaLnBrk="1" fontAlgn="auto" latinLnBrk="0" hangingPunct="1">
                <a:lnSpc>
                  <a:spcPct val="100000"/>
                </a:lnSpc>
                <a:spcBef>
                  <a:spcPts val="0"/>
                </a:spcBef>
                <a:spcAft>
                  <a:spcPts val="0"/>
                </a:spcAft>
                <a:buClrTx/>
                <a:buSzTx/>
                <a:buFontTx/>
                <a:buNone/>
                <a:tabLst/>
                <a:defRPr/>
              </a:pPr>
              <a:endParaRPr kumimoji="0" lang="en-US" sz="1865" b="1" i="0" u="none" strike="noStrike" kern="0" cap="none" spc="0" normalizeH="0" baseline="0" noProof="0">
                <a:ln>
                  <a:noFill/>
                </a:ln>
                <a:solidFill>
                  <a:srgbClr val="FFFFFF"/>
                </a:solidFill>
                <a:effectLst/>
                <a:uLnTx/>
                <a:uFillTx/>
                <a:latin typeface="Arial" panose="020B0604020202020204"/>
                <a:ea typeface="ＭＳ Ｐゴシック" charset="0"/>
                <a:cs typeface="+mn-cs"/>
              </a:endParaRPr>
            </a:p>
          </p:txBody>
        </p:sp>
      </p:grpSp>
      <p:sp>
        <p:nvSpPr>
          <p:cNvPr id="1025" name="Rectangle 1024">
            <a:extLst>
              <a:ext uri="{FF2B5EF4-FFF2-40B4-BE49-F238E27FC236}">
                <a16:creationId xmlns:a16="http://schemas.microsoft.com/office/drawing/2014/main" id="{0833D961-B8E1-D9CC-7EFE-2C8E953D4911}"/>
              </a:ext>
            </a:extLst>
          </p:cNvPr>
          <p:cNvSpPr/>
          <p:nvPr/>
        </p:nvSpPr>
        <p:spPr>
          <a:xfrm>
            <a:off x="7181992" y="836830"/>
            <a:ext cx="1589429" cy="461665"/>
          </a:xfrm>
          <a:prstGeom prst="rect">
            <a:avLst/>
          </a:prstGeom>
        </p:spPr>
        <p:txBody>
          <a:bodyPr wrap="square" anchor="ctr">
            <a:spAutoFit/>
          </a:bodyPr>
          <a:lstStyle/>
          <a:p>
            <a:pPr marL="0" marR="0" lvl="0" indent="0" algn="ctr" defTabSz="91433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pitchFamily="34" charset="0"/>
                <a:ea typeface="ＭＳ Ｐゴシック" charset="0"/>
                <a:cs typeface="Arial" panose="020B0604020202020204" pitchFamily="34" charset="0"/>
              </a:rPr>
              <a:t>Comparison and Benchmarking</a:t>
            </a:r>
          </a:p>
        </p:txBody>
      </p:sp>
      <p:sp>
        <p:nvSpPr>
          <p:cNvPr id="1027" name="TextBox 1026">
            <a:extLst>
              <a:ext uri="{FF2B5EF4-FFF2-40B4-BE49-F238E27FC236}">
                <a16:creationId xmlns:a16="http://schemas.microsoft.com/office/drawing/2014/main" id="{2360856E-496D-53DF-13F2-4306B6695104}"/>
              </a:ext>
            </a:extLst>
          </p:cNvPr>
          <p:cNvSpPr txBox="1"/>
          <p:nvPr/>
        </p:nvSpPr>
        <p:spPr>
          <a:xfrm>
            <a:off x="7110838" y="1608891"/>
            <a:ext cx="1739437" cy="738664"/>
          </a:xfrm>
          <a:prstGeom prst="rect">
            <a:avLst/>
          </a:prstGeom>
          <a:noFill/>
        </p:spPr>
        <p:txBody>
          <a:bodyPr wrap="square" rtlCol="0" anchor="ctr">
            <a:spAutoFit/>
          </a:bodyPr>
          <a:lstStyle>
            <a:defPPr>
              <a:defRPr lang="en-US"/>
            </a:defPPr>
            <a:lvl1pPr marL="182880" indent="-182880">
              <a:buFont typeface="Arial" panose="020B0604020202020204" pitchFamily="34" charset="0"/>
              <a:buChar char="›"/>
              <a:defRPr sz="1600">
                <a:solidFill>
                  <a:schemeClr val="tx1">
                    <a:lumMod val="75000"/>
                    <a:lumOff val="25000"/>
                  </a:schemeClr>
                </a:solidFill>
                <a:latin typeface="Arial" panose="020B0604020202020204" pitchFamily="34" charset="0"/>
                <a:cs typeface="Arial" panose="020B0604020202020204" pitchFamily="34" charset="0"/>
              </a:defRPr>
            </a:lvl1pPr>
          </a:lstStyle>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Comparing Categories</a:t>
            </a:r>
          </a:p>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Benchmarking</a:t>
            </a:r>
          </a:p>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Variance Analysis </a:t>
            </a:r>
          </a:p>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endParaRPr>
          </a:p>
        </p:txBody>
      </p:sp>
      <p:grpSp>
        <p:nvGrpSpPr>
          <p:cNvPr id="1076" name="Group 1075">
            <a:extLst>
              <a:ext uri="{FF2B5EF4-FFF2-40B4-BE49-F238E27FC236}">
                <a16:creationId xmlns:a16="http://schemas.microsoft.com/office/drawing/2014/main" id="{9387EC76-58BD-1324-4C4F-78C069E51FE0}"/>
              </a:ext>
            </a:extLst>
          </p:cNvPr>
          <p:cNvGrpSpPr/>
          <p:nvPr/>
        </p:nvGrpSpPr>
        <p:grpSpPr>
          <a:xfrm>
            <a:off x="1382757" y="3053140"/>
            <a:ext cx="1765322" cy="1984348"/>
            <a:chOff x="151778" y="2400002"/>
            <a:chExt cx="3021728" cy="2588823"/>
          </a:xfrm>
        </p:grpSpPr>
        <p:sp>
          <p:nvSpPr>
            <p:cNvPr id="1077" name="Rounded Rectangle 15">
              <a:extLst>
                <a:ext uri="{FF2B5EF4-FFF2-40B4-BE49-F238E27FC236}">
                  <a16:creationId xmlns:a16="http://schemas.microsoft.com/office/drawing/2014/main" id="{DA8D6567-97A3-0AB3-3D55-0FE5D546504A}"/>
                </a:ext>
              </a:extLst>
            </p:cNvPr>
            <p:cNvSpPr/>
            <p:nvPr/>
          </p:nvSpPr>
          <p:spPr>
            <a:xfrm>
              <a:off x="151778" y="2974102"/>
              <a:ext cx="3021728" cy="1955136"/>
            </a:xfrm>
            <a:prstGeom prst="roundRect">
              <a:avLst>
                <a:gd name="adj" fmla="val 1167"/>
              </a:avLst>
            </a:prstGeom>
            <a:solidFill>
              <a:sysClr val="window" lastClr="FFFFFF"/>
            </a:solidFill>
            <a:ln w="6350" cap="flat" cmpd="sng" algn="ctr">
              <a:solidFill>
                <a:srgbClr val="0070C0"/>
              </a:solidFill>
              <a:prstDash val="solid"/>
              <a:miter lim="800000"/>
            </a:ln>
            <a:effectLst/>
          </p:spPr>
          <p:txBody>
            <a:bodyPr rtlCol="0" anchor="ctr">
              <a:normAutofit/>
            </a:bodyPr>
            <a:lstStyle/>
            <a:p>
              <a:pPr marL="0" marR="0" lvl="0" indent="0" algn="ctr" defTabSz="608991" rtl="0" eaLnBrk="1" fontAlgn="auto" latinLnBrk="0" hangingPunct="1">
                <a:lnSpc>
                  <a:spcPct val="100000"/>
                </a:lnSpc>
                <a:spcBef>
                  <a:spcPts val="0"/>
                </a:spcBef>
                <a:spcAft>
                  <a:spcPts val="0"/>
                </a:spcAft>
                <a:buClrTx/>
                <a:buSzTx/>
                <a:buFontTx/>
                <a:buNone/>
                <a:tabLst/>
                <a:defRPr/>
              </a:pPr>
              <a:endParaRPr kumimoji="0" lang="en-US" sz="1865" b="1" i="0" u="none" strike="noStrike" kern="0" cap="none" spc="0" normalizeH="0" baseline="0" noProof="0">
                <a:ln>
                  <a:noFill/>
                </a:ln>
                <a:solidFill>
                  <a:srgbClr val="FFFFFF"/>
                </a:solidFill>
                <a:effectLst/>
                <a:uLnTx/>
                <a:uFillTx/>
                <a:latin typeface="Arial" panose="020B0604020202020204"/>
                <a:ea typeface="ＭＳ Ｐゴシック" charset="0"/>
                <a:cs typeface="+mn-cs"/>
              </a:endParaRPr>
            </a:p>
          </p:txBody>
        </p:sp>
        <p:grpSp>
          <p:nvGrpSpPr>
            <p:cNvPr id="1078" name="Group 1077">
              <a:extLst>
                <a:ext uri="{FF2B5EF4-FFF2-40B4-BE49-F238E27FC236}">
                  <a16:creationId xmlns:a16="http://schemas.microsoft.com/office/drawing/2014/main" id="{0D20C17E-A75C-ADA8-4E7D-C80189A82B88}"/>
                </a:ext>
              </a:extLst>
            </p:cNvPr>
            <p:cNvGrpSpPr/>
            <p:nvPr/>
          </p:nvGrpSpPr>
          <p:grpSpPr>
            <a:xfrm>
              <a:off x="286755" y="2400002"/>
              <a:ext cx="2751775" cy="702001"/>
              <a:chOff x="285317" y="2857202"/>
              <a:chExt cx="3737999" cy="702001"/>
            </a:xfrm>
          </p:grpSpPr>
          <p:sp>
            <p:nvSpPr>
              <p:cNvPr id="1080" name="Round Same Side Corner Rectangle 18">
                <a:extLst>
                  <a:ext uri="{FF2B5EF4-FFF2-40B4-BE49-F238E27FC236}">
                    <a16:creationId xmlns:a16="http://schemas.microsoft.com/office/drawing/2014/main" id="{DC93E2A2-62C1-6526-FD31-E285C015CAF4}"/>
                  </a:ext>
                </a:extLst>
              </p:cNvPr>
              <p:cNvSpPr/>
              <p:nvPr/>
            </p:nvSpPr>
            <p:spPr>
              <a:xfrm>
                <a:off x="285317" y="2857202"/>
                <a:ext cx="3737999" cy="582280"/>
              </a:xfrm>
              <a:prstGeom prst="round2SameRect">
                <a:avLst/>
              </a:prstGeom>
              <a:solidFill>
                <a:srgbClr val="0070C0"/>
              </a:solidFill>
              <a:ln w="12700" cap="flat" cmpd="sng" algn="ctr">
                <a:noFill/>
                <a:prstDash val="solid"/>
                <a:miter lim="800000"/>
              </a:ln>
              <a:effectLst/>
            </p:spPr>
            <p:txBody>
              <a:bodyPr rtlCol="0" anchor="ctr"/>
              <a:lstStyle/>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ＭＳ Ｐゴシック" charset="0"/>
                  <a:cs typeface="+mn-cs"/>
                </a:endParaRPr>
              </a:p>
            </p:txBody>
          </p:sp>
          <p:sp>
            <p:nvSpPr>
              <p:cNvPr id="1081" name="Trapezoid 1080">
                <a:extLst>
                  <a:ext uri="{FF2B5EF4-FFF2-40B4-BE49-F238E27FC236}">
                    <a16:creationId xmlns:a16="http://schemas.microsoft.com/office/drawing/2014/main" id="{D7D07568-1709-247D-938A-E3CC4B6005AC}"/>
                  </a:ext>
                </a:extLst>
              </p:cNvPr>
              <p:cNvSpPr/>
              <p:nvPr/>
            </p:nvSpPr>
            <p:spPr>
              <a:xfrm flipV="1">
                <a:off x="669190" y="3392793"/>
                <a:ext cx="2934704" cy="166410"/>
              </a:xfrm>
              <a:prstGeom prst="trapezoid">
                <a:avLst>
                  <a:gd name="adj" fmla="val 73842"/>
                </a:avLst>
              </a:prstGeom>
              <a:solidFill>
                <a:srgbClr val="0070C0"/>
              </a:solidFill>
              <a:ln w="12700" cap="flat" cmpd="sng" algn="ctr">
                <a:noFill/>
                <a:prstDash val="solid"/>
                <a:miter lim="800000"/>
              </a:ln>
              <a:effectLst>
                <a:outerShdw blurRad="50800" dist="25400" dir="5400000" algn="t" rotWithShape="0">
                  <a:prstClr val="black">
                    <a:alpha val="25000"/>
                  </a:prstClr>
                </a:outerShdw>
              </a:effectLst>
            </p:spPr>
            <p:txBody>
              <a:bodyPr rtlCol="0" anchor="ctr"/>
              <a:lstStyle/>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ＭＳ Ｐゴシック" charset="0"/>
                  <a:cs typeface="+mn-cs"/>
                </a:endParaRPr>
              </a:p>
            </p:txBody>
          </p:sp>
        </p:grpSp>
        <p:sp>
          <p:nvSpPr>
            <p:cNvPr id="1079" name="Rounded Rectangle 17">
              <a:extLst>
                <a:ext uri="{FF2B5EF4-FFF2-40B4-BE49-F238E27FC236}">
                  <a16:creationId xmlns:a16="http://schemas.microsoft.com/office/drawing/2014/main" id="{24B254AE-0763-8DBB-D7DE-09F2189DD9CF}"/>
                </a:ext>
              </a:extLst>
            </p:cNvPr>
            <p:cNvSpPr/>
            <p:nvPr/>
          </p:nvSpPr>
          <p:spPr>
            <a:xfrm>
              <a:off x="151778" y="4918251"/>
              <a:ext cx="3021728" cy="70574"/>
            </a:xfrm>
            <a:prstGeom prst="roundRect">
              <a:avLst>
                <a:gd name="adj" fmla="val 1167"/>
              </a:avLst>
            </a:prstGeom>
            <a:solidFill>
              <a:srgbClr val="0070C0"/>
            </a:solidFill>
            <a:ln w="6350" cap="flat" cmpd="sng" algn="ctr">
              <a:solidFill>
                <a:srgbClr val="156838"/>
              </a:solidFill>
              <a:prstDash val="solid"/>
              <a:miter lim="800000"/>
            </a:ln>
            <a:effectLst/>
          </p:spPr>
          <p:txBody>
            <a:bodyPr rtlCol="0" anchor="ctr">
              <a:normAutofit fontScale="25000" lnSpcReduction="20000"/>
            </a:bodyPr>
            <a:lstStyle/>
            <a:p>
              <a:pPr marL="0" marR="0" lvl="0" indent="0" algn="ctr" defTabSz="608991" rtl="0" eaLnBrk="1" fontAlgn="auto" latinLnBrk="0" hangingPunct="1">
                <a:lnSpc>
                  <a:spcPct val="100000"/>
                </a:lnSpc>
                <a:spcBef>
                  <a:spcPts val="0"/>
                </a:spcBef>
                <a:spcAft>
                  <a:spcPts val="0"/>
                </a:spcAft>
                <a:buClrTx/>
                <a:buSzTx/>
                <a:buFontTx/>
                <a:buNone/>
                <a:tabLst/>
                <a:defRPr/>
              </a:pPr>
              <a:endParaRPr kumimoji="0" lang="en-US" sz="1865" b="1" i="0" u="none" strike="noStrike" kern="0" cap="none" spc="0" normalizeH="0" baseline="0" noProof="0" err="1">
                <a:ln>
                  <a:noFill/>
                </a:ln>
                <a:solidFill>
                  <a:srgbClr val="FFFFFF"/>
                </a:solidFill>
                <a:effectLst/>
                <a:uLnTx/>
                <a:uFillTx/>
                <a:latin typeface="Arial" panose="020B0604020202020204"/>
                <a:ea typeface="ＭＳ Ｐゴシック" charset="0"/>
                <a:cs typeface="+mn-cs"/>
              </a:endParaRPr>
            </a:p>
          </p:txBody>
        </p:sp>
      </p:grpSp>
      <p:sp>
        <p:nvSpPr>
          <p:cNvPr id="1082" name="Rectangle 1081">
            <a:extLst>
              <a:ext uri="{FF2B5EF4-FFF2-40B4-BE49-F238E27FC236}">
                <a16:creationId xmlns:a16="http://schemas.microsoft.com/office/drawing/2014/main" id="{8FE3BA1E-E2B8-3381-39A7-FCD0168B3D4B}"/>
              </a:ext>
            </a:extLst>
          </p:cNvPr>
          <p:cNvSpPr/>
          <p:nvPr/>
        </p:nvSpPr>
        <p:spPr>
          <a:xfrm>
            <a:off x="1479796" y="2990150"/>
            <a:ext cx="1589429" cy="646331"/>
          </a:xfrm>
          <a:prstGeom prst="rect">
            <a:avLst/>
          </a:prstGeom>
        </p:spPr>
        <p:txBody>
          <a:bodyPr wrap="square" anchor="ctr">
            <a:spAutoFit/>
          </a:bodyPr>
          <a:lstStyle/>
          <a:p>
            <a:pPr marL="0" marR="0" lvl="0" indent="0" algn="ctr" defTabSz="91433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pitchFamily="34" charset="0"/>
                <a:ea typeface="ＭＳ Ｐゴシック" charset="0"/>
                <a:cs typeface="Arial" panose="020B0604020202020204" pitchFamily="34" charset="0"/>
              </a:rPr>
              <a:t>Data Manipulation and Transformation</a:t>
            </a:r>
          </a:p>
        </p:txBody>
      </p:sp>
      <p:sp>
        <p:nvSpPr>
          <p:cNvPr id="1083" name="TextBox 1082">
            <a:extLst>
              <a:ext uri="{FF2B5EF4-FFF2-40B4-BE49-F238E27FC236}">
                <a16:creationId xmlns:a16="http://schemas.microsoft.com/office/drawing/2014/main" id="{FE3D9DEA-622F-75B8-B72C-21A2CDB8938A}"/>
              </a:ext>
            </a:extLst>
          </p:cNvPr>
          <p:cNvSpPr txBox="1"/>
          <p:nvPr/>
        </p:nvSpPr>
        <p:spPr>
          <a:xfrm>
            <a:off x="1387707" y="3798411"/>
            <a:ext cx="1739437" cy="738664"/>
          </a:xfrm>
          <a:prstGeom prst="rect">
            <a:avLst/>
          </a:prstGeom>
          <a:noFill/>
        </p:spPr>
        <p:txBody>
          <a:bodyPr wrap="square" rtlCol="0" anchor="ctr">
            <a:spAutoFit/>
          </a:bodyPr>
          <a:lstStyle>
            <a:defPPr>
              <a:defRPr lang="en-US"/>
            </a:defPPr>
            <a:lvl1pPr marL="182880" indent="-182880">
              <a:buFont typeface="Arial" panose="020B0604020202020204" pitchFamily="34" charset="0"/>
              <a:buChar char="›"/>
              <a:defRPr sz="1600">
                <a:solidFill>
                  <a:schemeClr val="tx1">
                    <a:lumMod val="75000"/>
                    <a:lumOff val="25000"/>
                  </a:schemeClr>
                </a:solidFill>
                <a:latin typeface="Arial" panose="020B0604020202020204" pitchFamily="34" charset="0"/>
                <a:cs typeface="Arial" panose="020B0604020202020204" pitchFamily="34" charset="0"/>
              </a:defRPr>
            </a:lvl1pPr>
          </a:lstStyle>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Data Cleaning </a:t>
            </a:r>
          </a:p>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Data Normalization</a:t>
            </a:r>
          </a:p>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Aggregation and Summarization</a:t>
            </a:r>
            <a:endParaRPr kumimoji="0" lang="en-IN"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endParaRPr>
          </a:p>
        </p:txBody>
      </p:sp>
      <p:grpSp>
        <p:nvGrpSpPr>
          <p:cNvPr id="1084" name="Group 1083">
            <a:extLst>
              <a:ext uri="{FF2B5EF4-FFF2-40B4-BE49-F238E27FC236}">
                <a16:creationId xmlns:a16="http://schemas.microsoft.com/office/drawing/2014/main" id="{01FCC610-E9C4-4355-E1A9-C327B3E3AB0B}"/>
              </a:ext>
            </a:extLst>
          </p:cNvPr>
          <p:cNvGrpSpPr/>
          <p:nvPr/>
        </p:nvGrpSpPr>
        <p:grpSpPr>
          <a:xfrm>
            <a:off x="3689339" y="3062650"/>
            <a:ext cx="1765322" cy="1958708"/>
            <a:chOff x="151778" y="2400002"/>
            <a:chExt cx="3021728" cy="2555373"/>
          </a:xfrm>
        </p:grpSpPr>
        <p:sp>
          <p:nvSpPr>
            <p:cNvPr id="1085" name="Rounded Rectangle 15">
              <a:extLst>
                <a:ext uri="{FF2B5EF4-FFF2-40B4-BE49-F238E27FC236}">
                  <a16:creationId xmlns:a16="http://schemas.microsoft.com/office/drawing/2014/main" id="{6620E1D4-CE19-E992-CCF5-21DC431E85C3}"/>
                </a:ext>
              </a:extLst>
            </p:cNvPr>
            <p:cNvSpPr/>
            <p:nvPr/>
          </p:nvSpPr>
          <p:spPr>
            <a:xfrm>
              <a:off x="151778" y="2974103"/>
              <a:ext cx="3021728" cy="1942730"/>
            </a:xfrm>
            <a:prstGeom prst="roundRect">
              <a:avLst>
                <a:gd name="adj" fmla="val 1167"/>
              </a:avLst>
            </a:prstGeom>
            <a:solidFill>
              <a:sysClr val="window" lastClr="FFFFFF"/>
            </a:solidFill>
            <a:ln w="6350" cap="flat" cmpd="sng" algn="ctr">
              <a:solidFill>
                <a:srgbClr val="19416C"/>
              </a:solidFill>
              <a:prstDash val="solid"/>
              <a:miter lim="800000"/>
            </a:ln>
            <a:effectLst/>
          </p:spPr>
          <p:txBody>
            <a:bodyPr rtlCol="0" anchor="ctr">
              <a:normAutofit/>
            </a:bodyPr>
            <a:lstStyle/>
            <a:p>
              <a:pPr marL="0" marR="0" lvl="0" indent="0" algn="ctr" defTabSz="608991" rtl="0" eaLnBrk="1" fontAlgn="auto" latinLnBrk="0" hangingPunct="1">
                <a:lnSpc>
                  <a:spcPct val="100000"/>
                </a:lnSpc>
                <a:spcBef>
                  <a:spcPts val="0"/>
                </a:spcBef>
                <a:spcAft>
                  <a:spcPts val="0"/>
                </a:spcAft>
                <a:buClrTx/>
                <a:buSzTx/>
                <a:buFontTx/>
                <a:buNone/>
                <a:tabLst/>
                <a:defRPr/>
              </a:pPr>
              <a:endParaRPr kumimoji="0" lang="en-US" sz="1865" b="1" i="0" u="none" strike="noStrike" kern="0" cap="none" spc="0" normalizeH="0" baseline="0" noProof="0">
                <a:ln>
                  <a:noFill/>
                </a:ln>
                <a:solidFill>
                  <a:srgbClr val="FFFFFF"/>
                </a:solidFill>
                <a:effectLst/>
                <a:uLnTx/>
                <a:uFillTx/>
                <a:latin typeface="Arial" panose="020B0604020202020204"/>
                <a:ea typeface="ＭＳ Ｐゴシック" charset="0"/>
                <a:cs typeface="+mn-cs"/>
              </a:endParaRPr>
            </a:p>
          </p:txBody>
        </p:sp>
        <p:grpSp>
          <p:nvGrpSpPr>
            <p:cNvPr id="1086" name="Group 1085">
              <a:extLst>
                <a:ext uri="{FF2B5EF4-FFF2-40B4-BE49-F238E27FC236}">
                  <a16:creationId xmlns:a16="http://schemas.microsoft.com/office/drawing/2014/main" id="{06689405-6AD9-7AD4-E6AB-516871B001F5}"/>
                </a:ext>
              </a:extLst>
            </p:cNvPr>
            <p:cNvGrpSpPr/>
            <p:nvPr/>
          </p:nvGrpSpPr>
          <p:grpSpPr>
            <a:xfrm>
              <a:off x="286755" y="2400002"/>
              <a:ext cx="2751775" cy="702001"/>
              <a:chOff x="285317" y="2857202"/>
              <a:chExt cx="3737999" cy="702001"/>
            </a:xfrm>
          </p:grpSpPr>
          <p:sp>
            <p:nvSpPr>
              <p:cNvPr id="1088" name="Round Same Side Corner Rectangle 18">
                <a:extLst>
                  <a:ext uri="{FF2B5EF4-FFF2-40B4-BE49-F238E27FC236}">
                    <a16:creationId xmlns:a16="http://schemas.microsoft.com/office/drawing/2014/main" id="{65575D02-9D6E-BB16-E4EA-D3C26EB3C54B}"/>
                  </a:ext>
                </a:extLst>
              </p:cNvPr>
              <p:cNvSpPr/>
              <p:nvPr/>
            </p:nvSpPr>
            <p:spPr>
              <a:xfrm>
                <a:off x="285317" y="2857202"/>
                <a:ext cx="3737999" cy="582280"/>
              </a:xfrm>
              <a:prstGeom prst="round2SameRect">
                <a:avLst/>
              </a:prstGeom>
              <a:solidFill>
                <a:srgbClr val="19416C"/>
              </a:solidFill>
              <a:ln w="12700" cap="flat" cmpd="sng" algn="ctr">
                <a:noFill/>
                <a:prstDash val="solid"/>
                <a:miter lim="800000"/>
              </a:ln>
              <a:effectLst/>
            </p:spPr>
            <p:txBody>
              <a:bodyPr rtlCol="0" anchor="ctr"/>
              <a:lstStyle/>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ＭＳ Ｐゴシック" charset="0"/>
                  <a:cs typeface="+mn-cs"/>
                </a:endParaRPr>
              </a:p>
            </p:txBody>
          </p:sp>
          <p:sp>
            <p:nvSpPr>
              <p:cNvPr id="1089" name="Trapezoid 1088">
                <a:extLst>
                  <a:ext uri="{FF2B5EF4-FFF2-40B4-BE49-F238E27FC236}">
                    <a16:creationId xmlns:a16="http://schemas.microsoft.com/office/drawing/2014/main" id="{26431D2D-864B-937C-6DC5-CE4B32E274C2}"/>
                  </a:ext>
                </a:extLst>
              </p:cNvPr>
              <p:cNvSpPr/>
              <p:nvPr/>
            </p:nvSpPr>
            <p:spPr>
              <a:xfrm flipV="1">
                <a:off x="669190" y="3392793"/>
                <a:ext cx="2934704" cy="166410"/>
              </a:xfrm>
              <a:prstGeom prst="trapezoid">
                <a:avLst>
                  <a:gd name="adj" fmla="val 73842"/>
                </a:avLst>
              </a:prstGeom>
              <a:solidFill>
                <a:schemeClr val="tx2"/>
              </a:solidFill>
              <a:ln w="12700" cap="flat" cmpd="sng" algn="ctr">
                <a:noFill/>
                <a:prstDash val="solid"/>
                <a:miter lim="800000"/>
              </a:ln>
              <a:effectLst>
                <a:outerShdw blurRad="50800" dist="25400" dir="5400000" algn="t" rotWithShape="0">
                  <a:prstClr val="black">
                    <a:alpha val="25000"/>
                  </a:prstClr>
                </a:outerShdw>
              </a:effectLst>
            </p:spPr>
            <p:txBody>
              <a:bodyPr rtlCol="0" anchor="ctr"/>
              <a:lstStyle/>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ＭＳ Ｐゴシック" charset="0"/>
                  <a:cs typeface="+mn-cs"/>
                </a:endParaRPr>
              </a:p>
            </p:txBody>
          </p:sp>
        </p:grpSp>
        <p:sp>
          <p:nvSpPr>
            <p:cNvPr id="1087" name="Rounded Rectangle 17">
              <a:extLst>
                <a:ext uri="{FF2B5EF4-FFF2-40B4-BE49-F238E27FC236}">
                  <a16:creationId xmlns:a16="http://schemas.microsoft.com/office/drawing/2014/main" id="{265CD58B-470F-5727-47B5-113BC4C163A7}"/>
                </a:ext>
              </a:extLst>
            </p:cNvPr>
            <p:cNvSpPr/>
            <p:nvPr/>
          </p:nvSpPr>
          <p:spPr>
            <a:xfrm>
              <a:off x="151778" y="4884801"/>
              <a:ext cx="3021728" cy="70574"/>
            </a:xfrm>
            <a:prstGeom prst="roundRect">
              <a:avLst>
                <a:gd name="adj" fmla="val 1167"/>
              </a:avLst>
            </a:prstGeom>
            <a:solidFill>
              <a:srgbClr val="19416C"/>
            </a:solidFill>
            <a:ln w="6350" cap="flat" cmpd="sng" algn="ctr">
              <a:solidFill>
                <a:srgbClr val="156838"/>
              </a:solidFill>
              <a:prstDash val="solid"/>
              <a:miter lim="800000"/>
            </a:ln>
            <a:effectLst/>
          </p:spPr>
          <p:txBody>
            <a:bodyPr rtlCol="0" anchor="ctr">
              <a:normAutofit fontScale="25000" lnSpcReduction="20000"/>
            </a:bodyPr>
            <a:lstStyle/>
            <a:p>
              <a:pPr marL="0" marR="0" lvl="0" indent="0" algn="ctr" defTabSz="608991" rtl="0" eaLnBrk="1" fontAlgn="auto" latinLnBrk="0" hangingPunct="1">
                <a:lnSpc>
                  <a:spcPct val="100000"/>
                </a:lnSpc>
                <a:spcBef>
                  <a:spcPts val="0"/>
                </a:spcBef>
                <a:spcAft>
                  <a:spcPts val="0"/>
                </a:spcAft>
                <a:buClrTx/>
                <a:buSzTx/>
                <a:buFontTx/>
                <a:buNone/>
                <a:tabLst/>
                <a:defRPr/>
              </a:pPr>
              <a:endParaRPr kumimoji="0" lang="en-US" sz="1865" b="1" i="0" u="none" strike="noStrike" kern="0" cap="none" spc="0" normalizeH="0" baseline="0" noProof="0">
                <a:ln>
                  <a:noFill/>
                </a:ln>
                <a:solidFill>
                  <a:srgbClr val="FFFFFF"/>
                </a:solidFill>
                <a:effectLst/>
                <a:uLnTx/>
                <a:uFillTx/>
                <a:latin typeface="Arial" panose="020B0604020202020204"/>
                <a:ea typeface="ＭＳ Ｐゴシック" charset="0"/>
                <a:cs typeface="+mn-cs"/>
              </a:endParaRPr>
            </a:p>
          </p:txBody>
        </p:sp>
      </p:grpSp>
      <p:sp>
        <p:nvSpPr>
          <p:cNvPr id="1090" name="Rectangle 1089">
            <a:extLst>
              <a:ext uri="{FF2B5EF4-FFF2-40B4-BE49-F238E27FC236}">
                <a16:creationId xmlns:a16="http://schemas.microsoft.com/office/drawing/2014/main" id="{28B914CE-6A58-7CA5-2E90-D6F54934B26D}"/>
              </a:ext>
            </a:extLst>
          </p:cNvPr>
          <p:cNvSpPr/>
          <p:nvPr/>
        </p:nvSpPr>
        <p:spPr>
          <a:xfrm>
            <a:off x="3786379" y="3033000"/>
            <a:ext cx="1589429" cy="461665"/>
          </a:xfrm>
          <a:prstGeom prst="rect">
            <a:avLst/>
          </a:prstGeom>
        </p:spPr>
        <p:txBody>
          <a:bodyPr wrap="square" anchor="ctr">
            <a:spAutoFit/>
          </a:bodyPr>
          <a:lstStyle/>
          <a:p>
            <a:pPr marL="0" marR="0" lvl="0" indent="0" algn="ctr" defTabSz="91433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pitchFamily="34" charset="0"/>
                <a:ea typeface="ＭＳ Ｐゴシック" charset="0"/>
                <a:cs typeface="Arial" panose="020B0604020202020204" pitchFamily="34" charset="0"/>
              </a:rPr>
              <a:t>Hypothesis Testing and Validation</a:t>
            </a:r>
          </a:p>
        </p:txBody>
      </p:sp>
      <p:sp>
        <p:nvSpPr>
          <p:cNvPr id="1091" name="TextBox 1090">
            <a:extLst>
              <a:ext uri="{FF2B5EF4-FFF2-40B4-BE49-F238E27FC236}">
                <a16:creationId xmlns:a16="http://schemas.microsoft.com/office/drawing/2014/main" id="{AA4E9545-E24A-87B2-4BAD-0BCD2B37C113}"/>
              </a:ext>
            </a:extLst>
          </p:cNvPr>
          <p:cNvSpPr txBox="1"/>
          <p:nvPr/>
        </p:nvSpPr>
        <p:spPr>
          <a:xfrm>
            <a:off x="3715224" y="3755669"/>
            <a:ext cx="1739437" cy="738664"/>
          </a:xfrm>
          <a:prstGeom prst="rect">
            <a:avLst/>
          </a:prstGeom>
          <a:noFill/>
        </p:spPr>
        <p:txBody>
          <a:bodyPr wrap="square" rtlCol="0" anchor="ctr">
            <a:spAutoFit/>
          </a:bodyPr>
          <a:lstStyle>
            <a:defPPr>
              <a:defRPr lang="en-US"/>
            </a:defPPr>
            <a:lvl1pPr marL="182880" indent="-182880">
              <a:buFont typeface="Arial" panose="020B0604020202020204" pitchFamily="34" charset="0"/>
              <a:buChar char="›"/>
              <a:defRPr sz="1600">
                <a:solidFill>
                  <a:schemeClr val="tx1">
                    <a:lumMod val="75000"/>
                    <a:lumOff val="25000"/>
                  </a:schemeClr>
                </a:solidFill>
                <a:latin typeface="Arial" panose="020B0604020202020204" pitchFamily="34" charset="0"/>
                <a:cs typeface="Arial" panose="020B0604020202020204" pitchFamily="34" charset="0"/>
              </a:defRPr>
            </a:lvl1pPr>
          </a:lstStyle>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Formulating Hypothesis</a:t>
            </a:r>
          </a:p>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A/B Testing</a:t>
            </a:r>
          </a:p>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Statistical Significance</a:t>
            </a:r>
            <a:endParaRPr kumimoji="0" lang="en-IN"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endParaRPr>
          </a:p>
        </p:txBody>
      </p:sp>
      <p:grpSp>
        <p:nvGrpSpPr>
          <p:cNvPr id="1092" name="Group 1091">
            <a:extLst>
              <a:ext uri="{FF2B5EF4-FFF2-40B4-BE49-F238E27FC236}">
                <a16:creationId xmlns:a16="http://schemas.microsoft.com/office/drawing/2014/main" id="{1EA1F402-FA4C-6DD5-947D-0E3AC9EFCF3D}"/>
              </a:ext>
            </a:extLst>
          </p:cNvPr>
          <p:cNvGrpSpPr/>
          <p:nvPr/>
        </p:nvGrpSpPr>
        <p:grpSpPr>
          <a:xfrm>
            <a:off x="6002329" y="3067126"/>
            <a:ext cx="1765322" cy="1971528"/>
            <a:chOff x="151778" y="2400002"/>
            <a:chExt cx="3021728" cy="2572098"/>
          </a:xfrm>
        </p:grpSpPr>
        <p:sp>
          <p:nvSpPr>
            <p:cNvPr id="1093" name="Rounded Rectangle 15">
              <a:extLst>
                <a:ext uri="{FF2B5EF4-FFF2-40B4-BE49-F238E27FC236}">
                  <a16:creationId xmlns:a16="http://schemas.microsoft.com/office/drawing/2014/main" id="{6A237503-1956-5C7B-6829-9B61AF577C93}"/>
                </a:ext>
              </a:extLst>
            </p:cNvPr>
            <p:cNvSpPr/>
            <p:nvPr/>
          </p:nvSpPr>
          <p:spPr>
            <a:xfrm>
              <a:off x="151778" y="2974103"/>
              <a:ext cx="3021728" cy="1945250"/>
            </a:xfrm>
            <a:prstGeom prst="roundRect">
              <a:avLst>
                <a:gd name="adj" fmla="val 1167"/>
              </a:avLst>
            </a:prstGeom>
            <a:solidFill>
              <a:sysClr val="window" lastClr="FFFFFF"/>
            </a:solidFill>
            <a:ln w="6350" cap="flat" cmpd="sng" algn="ctr">
              <a:solidFill>
                <a:srgbClr val="205AA0"/>
              </a:solidFill>
              <a:prstDash val="solid"/>
              <a:miter lim="800000"/>
            </a:ln>
            <a:effectLst/>
          </p:spPr>
          <p:txBody>
            <a:bodyPr rtlCol="0" anchor="ctr">
              <a:normAutofit/>
            </a:bodyPr>
            <a:lstStyle/>
            <a:p>
              <a:pPr marL="0" marR="0" lvl="0" indent="0" algn="ctr" defTabSz="608991" rtl="0" eaLnBrk="1" fontAlgn="auto" latinLnBrk="0" hangingPunct="1">
                <a:lnSpc>
                  <a:spcPct val="100000"/>
                </a:lnSpc>
                <a:spcBef>
                  <a:spcPts val="0"/>
                </a:spcBef>
                <a:spcAft>
                  <a:spcPts val="0"/>
                </a:spcAft>
                <a:buClrTx/>
                <a:buSzTx/>
                <a:buFontTx/>
                <a:buNone/>
                <a:tabLst/>
                <a:defRPr/>
              </a:pPr>
              <a:endParaRPr kumimoji="0" lang="en-US" sz="1865" b="1" i="0" u="none" strike="noStrike" kern="0" cap="none" spc="0" normalizeH="0" baseline="0" noProof="0">
                <a:ln>
                  <a:noFill/>
                </a:ln>
                <a:solidFill>
                  <a:srgbClr val="FFFFFF"/>
                </a:solidFill>
                <a:effectLst/>
                <a:uLnTx/>
                <a:uFillTx/>
                <a:latin typeface="Arial" panose="020B0604020202020204"/>
                <a:ea typeface="ＭＳ Ｐゴシック" charset="0"/>
                <a:cs typeface="+mn-cs"/>
              </a:endParaRPr>
            </a:p>
          </p:txBody>
        </p:sp>
        <p:grpSp>
          <p:nvGrpSpPr>
            <p:cNvPr id="1094" name="Group 1093">
              <a:extLst>
                <a:ext uri="{FF2B5EF4-FFF2-40B4-BE49-F238E27FC236}">
                  <a16:creationId xmlns:a16="http://schemas.microsoft.com/office/drawing/2014/main" id="{5B0C4A8B-CA27-00F7-4653-E4D1630A9C76}"/>
                </a:ext>
              </a:extLst>
            </p:cNvPr>
            <p:cNvGrpSpPr/>
            <p:nvPr/>
          </p:nvGrpSpPr>
          <p:grpSpPr>
            <a:xfrm>
              <a:off x="286755" y="2400002"/>
              <a:ext cx="2751775" cy="702001"/>
              <a:chOff x="285317" y="2857202"/>
              <a:chExt cx="3737999" cy="702001"/>
            </a:xfrm>
          </p:grpSpPr>
          <p:sp>
            <p:nvSpPr>
              <p:cNvPr id="1096" name="Round Same Side Corner Rectangle 18">
                <a:extLst>
                  <a:ext uri="{FF2B5EF4-FFF2-40B4-BE49-F238E27FC236}">
                    <a16:creationId xmlns:a16="http://schemas.microsoft.com/office/drawing/2014/main" id="{C32382B4-063F-7AC4-6087-E3BDAF7BECF1}"/>
                  </a:ext>
                </a:extLst>
              </p:cNvPr>
              <p:cNvSpPr/>
              <p:nvPr/>
            </p:nvSpPr>
            <p:spPr>
              <a:xfrm>
                <a:off x="285317" y="2857202"/>
                <a:ext cx="3737999" cy="582280"/>
              </a:xfrm>
              <a:prstGeom prst="round2SameRect">
                <a:avLst/>
              </a:prstGeom>
              <a:solidFill>
                <a:srgbClr val="205AA0"/>
              </a:solidFill>
              <a:ln w="12700" cap="flat" cmpd="sng" algn="ctr">
                <a:noFill/>
                <a:prstDash val="solid"/>
                <a:miter lim="800000"/>
              </a:ln>
              <a:effectLst/>
            </p:spPr>
            <p:txBody>
              <a:bodyPr rtlCol="0" anchor="ctr"/>
              <a:lstStyle/>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ＭＳ Ｐゴシック" charset="0"/>
                  <a:cs typeface="+mn-cs"/>
                </a:endParaRPr>
              </a:p>
            </p:txBody>
          </p:sp>
          <p:sp>
            <p:nvSpPr>
              <p:cNvPr id="1097" name="Trapezoid 1096">
                <a:extLst>
                  <a:ext uri="{FF2B5EF4-FFF2-40B4-BE49-F238E27FC236}">
                    <a16:creationId xmlns:a16="http://schemas.microsoft.com/office/drawing/2014/main" id="{DE480D84-EDB5-64AB-7F53-8EE53381C524}"/>
                  </a:ext>
                </a:extLst>
              </p:cNvPr>
              <p:cNvSpPr/>
              <p:nvPr/>
            </p:nvSpPr>
            <p:spPr>
              <a:xfrm flipV="1">
                <a:off x="669190" y="3392793"/>
                <a:ext cx="2934704" cy="166410"/>
              </a:xfrm>
              <a:prstGeom prst="trapezoid">
                <a:avLst>
                  <a:gd name="adj" fmla="val 73842"/>
                </a:avLst>
              </a:prstGeom>
              <a:solidFill>
                <a:srgbClr val="205AA0"/>
              </a:solidFill>
              <a:ln w="12700" cap="flat" cmpd="sng" algn="ctr">
                <a:noFill/>
                <a:prstDash val="solid"/>
                <a:miter lim="800000"/>
              </a:ln>
              <a:effectLst>
                <a:outerShdw blurRad="50800" dist="25400" dir="5400000" algn="t" rotWithShape="0">
                  <a:prstClr val="black">
                    <a:alpha val="25000"/>
                  </a:prstClr>
                </a:outerShdw>
              </a:effectLst>
            </p:spPr>
            <p:txBody>
              <a:bodyPr rtlCol="0" anchor="ctr"/>
              <a:lstStyle/>
              <a:p>
                <a:pPr marL="0" marR="0" lvl="0" indent="0" algn="ctr" defTabSz="91433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ＭＳ Ｐゴシック" charset="0"/>
                  <a:cs typeface="+mn-cs"/>
                </a:endParaRPr>
              </a:p>
            </p:txBody>
          </p:sp>
        </p:grpSp>
        <p:sp>
          <p:nvSpPr>
            <p:cNvPr id="1095" name="Rounded Rectangle 17">
              <a:extLst>
                <a:ext uri="{FF2B5EF4-FFF2-40B4-BE49-F238E27FC236}">
                  <a16:creationId xmlns:a16="http://schemas.microsoft.com/office/drawing/2014/main" id="{33DE08DC-A2F3-5A00-393B-77DE871725A0}"/>
                </a:ext>
              </a:extLst>
            </p:cNvPr>
            <p:cNvSpPr/>
            <p:nvPr/>
          </p:nvSpPr>
          <p:spPr>
            <a:xfrm>
              <a:off x="151778" y="4901526"/>
              <a:ext cx="3021728" cy="70574"/>
            </a:xfrm>
            <a:prstGeom prst="roundRect">
              <a:avLst>
                <a:gd name="adj" fmla="val 1167"/>
              </a:avLst>
            </a:prstGeom>
            <a:solidFill>
              <a:srgbClr val="205AA0"/>
            </a:solidFill>
            <a:ln w="6350" cap="flat" cmpd="sng" algn="ctr">
              <a:solidFill>
                <a:srgbClr val="156838"/>
              </a:solidFill>
              <a:prstDash val="solid"/>
              <a:miter lim="800000"/>
            </a:ln>
            <a:effectLst/>
          </p:spPr>
          <p:txBody>
            <a:bodyPr rtlCol="0" anchor="ctr">
              <a:normAutofit fontScale="25000" lnSpcReduction="20000"/>
            </a:bodyPr>
            <a:lstStyle/>
            <a:p>
              <a:pPr marL="0" marR="0" lvl="0" indent="0" algn="ctr" defTabSz="608991" rtl="0" eaLnBrk="1" fontAlgn="auto" latinLnBrk="0" hangingPunct="1">
                <a:lnSpc>
                  <a:spcPct val="100000"/>
                </a:lnSpc>
                <a:spcBef>
                  <a:spcPts val="0"/>
                </a:spcBef>
                <a:spcAft>
                  <a:spcPts val="0"/>
                </a:spcAft>
                <a:buClrTx/>
                <a:buSzTx/>
                <a:buFontTx/>
                <a:buNone/>
                <a:tabLst/>
                <a:defRPr/>
              </a:pPr>
              <a:endParaRPr kumimoji="0" lang="en-US" sz="1865" b="1" i="0" u="none" strike="noStrike" kern="0" cap="none" spc="0" normalizeH="0" baseline="0" noProof="0" err="1">
                <a:ln>
                  <a:noFill/>
                </a:ln>
                <a:solidFill>
                  <a:srgbClr val="FFFFFF"/>
                </a:solidFill>
                <a:effectLst/>
                <a:uLnTx/>
                <a:uFillTx/>
                <a:latin typeface="Arial" panose="020B0604020202020204"/>
                <a:ea typeface="ＭＳ Ｐゴシック" charset="0"/>
                <a:cs typeface="+mn-cs"/>
              </a:endParaRPr>
            </a:p>
          </p:txBody>
        </p:sp>
      </p:grpSp>
      <p:sp>
        <p:nvSpPr>
          <p:cNvPr id="1098" name="Rectangle 1097">
            <a:extLst>
              <a:ext uri="{FF2B5EF4-FFF2-40B4-BE49-F238E27FC236}">
                <a16:creationId xmlns:a16="http://schemas.microsoft.com/office/drawing/2014/main" id="{AF8CF861-0A8D-D8FE-D4A1-5808E2E333BA}"/>
              </a:ext>
            </a:extLst>
          </p:cNvPr>
          <p:cNvSpPr/>
          <p:nvPr/>
        </p:nvSpPr>
        <p:spPr>
          <a:xfrm>
            <a:off x="6099370" y="3129809"/>
            <a:ext cx="1589429" cy="276999"/>
          </a:xfrm>
          <a:prstGeom prst="rect">
            <a:avLst/>
          </a:prstGeom>
        </p:spPr>
        <p:txBody>
          <a:bodyPr wrap="square" anchor="ctr">
            <a:spAutoFit/>
          </a:bodyPr>
          <a:lstStyle/>
          <a:p>
            <a:pPr marL="0" marR="0" lvl="0" indent="0" algn="ctr" defTabSz="91433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pitchFamily="34" charset="0"/>
                <a:ea typeface="ＭＳ Ｐゴシック" charset="0"/>
                <a:cs typeface="Arial" panose="020B0604020202020204" pitchFamily="34" charset="0"/>
              </a:rPr>
              <a:t>Decision Support</a:t>
            </a:r>
          </a:p>
        </p:txBody>
      </p:sp>
      <p:sp>
        <p:nvSpPr>
          <p:cNvPr id="1099" name="TextBox 1098">
            <a:extLst>
              <a:ext uri="{FF2B5EF4-FFF2-40B4-BE49-F238E27FC236}">
                <a16:creationId xmlns:a16="http://schemas.microsoft.com/office/drawing/2014/main" id="{E51423F7-A161-97AE-938A-4AD734C02EA8}"/>
              </a:ext>
            </a:extLst>
          </p:cNvPr>
          <p:cNvSpPr txBox="1"/>
          <p:nvPr/>
        </p:nvSpPr>
        <p:spPr>
          <a:xfrm>
            <a:off x="5988282" y="3790773"/>
            <a:ext cx="1739437" cy="1061829"/>
          </a:xfrm>
          <a:prstGeom prst="rect">
            <a:avLst/>
          </a:prstGeom>
          <a:noFill/>
        </p:spPr>
        <p:txBody>
          <a:bodyPr wrap="square" rtlCol="0" anchor="ctr">
            <a:spAutoFit/>
          </a:bodyPr>
          <a:lstStyle>
            <a:defPPr>
              <a:defRPr lang="en-US"/>
            </a:defPPr>
            <a:lvl1pPr marL="182880" indent="-182880">
              <a:buFont typeface="Arial" panose="020B0604020202020204" pitchFamily="34" charset="0"/>
              <a:buChar char="›"/>
              <a:defRPr sz="1600">
                <a:solidFill>
                  <a:schemeClr val="tx1">
                    <a:lumMod val="75000"/>
                    <a:lumOff val="25000"/>
                  </a:schemeClr>
                </a:solidFill>
                <a:latin typeface="Arial" panose="020B0604020202020204" pitchFamily="34" charset="0"/>
                <a:cs typeface="Arial" panose="020B0604020202020204" pitchFamily="34" charset="0"/>
              </a:defRPr>
            </a:lvl1pPr>
          </a:lstStyle>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Prescriptive Analytics</a:t>
            </a:r>
          </a:p>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Scenario and What-if Analysis</a:t>
            </a:r>
          </a:p>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Forecasting and Predictive Analytics</a:t>
            </a:r>
          </a:p>
          <a:p>
            <a:pPr marL="182867" marR="0" lvl="0" indent="-182867" algn="l" defTabSz="91433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IN"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endParaRPr>
          </a:p>
        </p:txBody>
      </p:sp>
    </p:spTree>
    <p:extLst>
      <p:ext uri="{BB962C8B-B14F-4D97-AF65-F5344CB8AC3E}">
        <p14:creationId xmlns:p14="http://schemas.microsoft.com/office/powerpoint/2010/main" val="1606806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2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2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07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08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083"/>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08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9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09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109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9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P spid="49" grpId="0"/>
      <p:bldP spid="50" grpId="0"/>
      <p:bldP spid="58" grpId="0"/>
      <p:bldP spid="1025" grpId="0"/>
      <p:bldP spid="1027" grpId="0"/>
      <p:bldP spid="1082" grpId="0"/>
      <p:bldP spid="1083" grpId="0"/>
      <p:bldP spid="1090" grpId="0"/>
      <p:bldP spid="1091" grpId="0"/>
      <p:bldP spid="1098" grpId="0"/>
      <p:bldP spid="109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4A172C-E25D-2040-DFC1-D6D590A533F0}"/>
            </a:ext>
          </a:extLst>
        </p:cNvPr>
        <p:cNvGrpSpPr/>
        <p:nvPr/>
      </p:nvGrpSpPr>
      <p:grpSpPr>
        <a:xfrm>
          <a:off x="0" y="0"/>
          <a:ext cx="0" cy="0"/>
          <a:chOff x="0" y="0"/>
          <a:chExt cx="0" cy="0"/>
        </a:xfrm>
      </p:grpSpPr>
      <p:sp>
        <p:nvSpPr>
          <p:cNvPr id="16" name="Title 15">
            <a:extLst>
              <a:ext uri="{FF2B5EF4-FFF2-40B4-BE49-F238E27FC236}">
                <a16:creationId xmlns:a16="http://schemas.microsoft.com/office/drawing/2014/main" id="{C98F7E65-B027-B261-6750-1612DCD29AB7}"/>
              </a:ext>
            </a:extLst>
          </p:cNvPr>
          <p:cNvSpPr>
            <a:spLocks noGrp="1"/>
          </p:cNvSpPr>
          <p:nvPr>
            <p:ph type="title"/>
          </p:nvPr>
        </p:nvSpPr>
        <p:spPr>
          <a:xfrm>
            <a:off x="495300" y="185799"/>
            <a:ext cx="8534400" cy="290849"/>
          </a:xfrm>
        </p:spPr>
        <p:txBody>
          <a:bodyPr/>
          <a:lstStyle/>
          <a:p>
            <a:pPr algn="l"/>
            <a:r>
              <a:rPr lang="en-US" sz="2100">
                <a:solidFill>
                  <a:srgbClr val="54565A"/>
                </a:solidFill>
              </a:rPr>
              <a:t>Analytics Framework</a:t>
            </a:r>
          </a:p>
        </p:txBody>
      </p:sp>
      <p:sp>
        <p:nvSpPr>
          <p:cNvPr id="72" name="Rectangle 5">
            <a:extLst>
              <a:ext uri="{FF2B5EF4-FFF2-40B4-BE49-F238E27FC236}">
                <a16:creationId xmlns:a16="http://schemas.microsoft.com/office/drawing/2014/main" id="{AD46C5C5-6829-1D37-EA01-102CDE113BC2}"/>
              </a:ext>
            </a:extLst>
          </p:cNvPr>
          <p:cNvSpPr/>
          <p:nvPr/>
        </p:nvSpPr>
        <p:spPr>
          <a:xfrm>
            <a:off x="1653754" y="3731027"/>
            <a:ext cx="1404637" cy="839237"/>
          </a:xfrm>
          <a:custGeom>
            <a:avLst/>
            <a:gdLst>
              <a:gd name="connsiteX0" fmla="*/ 0 w 934453"/>
              <a:gd name="connsiteY0" fmla="*/ 0 h 862264"/>
              <a:gd name="connsiteX1" fmla="*/ 934453 w 934453"/>
              <a:gd name="connsiteY1" fmla="*/ 0 h 862264"/>
              <a:gd name="connsiteX2" fmla="*/ 934453 w 934453"/>
              <a:gd name="connsiteY2" fmla="*/ 862264 h 862264"/>
              <a:gd name="connsiteX3" fmla="*/ 0 w 934453"/>
              <a:gd name="connsiteY3" fmla="*/ 862264 h 862264"/>
              <a:gd name="connsiteX4" fmla="*/ 0 w 934453"/>
              <a:gd name="connsiteY4" fmla="*/ 0 h 862264"/>
              <a:gd name="connsiteX0" fmla="*/ 0 w 934453"/>
              <a:gd name="connsiteY0" fmla="*/ 2255 h 864519"/>
              <a:gd name="connsiteX1" fmla="*/ 787567 w 934453"/>
              <a:gd name="connsiteY1" fmla="*/ 0 h 864519"/>
              <a:gd name="connsiteX2" fmla="*/ 934453 w 934453"/>
              <a:gd name="connsiteY2" fmla="*/ 2255 h 864519"/>
              <a:gd name="connsiteX3" fmla="*/ 934453 w 934453"/>
              <a:gd name="connsiteY3" fmla="*/ 864519 h 864519"/>
              <a:gd name="connsiteX4" fmla="*/ 0 w 934453"/>
              <a:gd name="connsiteY4" fmla="*/ 864519 h 864519"/>
              <a:gd name="connsiteX5" fmla="*/ 0 w 934453"/>
              <a:gd name="connsiteY5" fmla="*/ 2255 h 864519"/>
              <a:gd name="connsiteX0" fmla="*/ 0 w 934453"/>
              <a:gd name="connsiteY0" fmla="*/ 2255 h 864519"/>
              <a:gd name="connsiteX1" fmla="*/ 787567 w 934453"/>
              <a:gd name="connsiteY1" fmla="*/ 0 h 864519"/>
              <a:gd name="connsiteX2" fmla="*/ 934453 w 934453"/>
              <a:gd name="connsiteY2" fmla="*/ 2255 h 864519"/>
              <a:gd name="connsiteX3" fmla="*/ 932823 w 934453"/>
              <a:gd name="connsiteY3" fmla="*/ 121444 h 864519"/>
              <a:gd name="connsiteX4" fmla="*/ 934453 w 934453"/>
              <a:gd name="connsiteY4" fmla="*/ 864519 h 864519"/>
              <a:gd name="connsiteX5" fmla="*/ 0 w 934453"/>
              <a:gd name="connsiteY5" fmla="*/ 864519 h 864519"/>
              <a:gd name="connsiteX6" fmla="*/ 0 w 934453"/>
              <a:gd name="connsiteY6" fmla="*/ 2255 h 864519"/>
              <a:gd name="connsiteX0" fmla="*/ 0 w 934453"/>
              <a:gd name="connsiteY0" fmla="*/ 2255 h 864519"/>
              <a:gd name="connsiteX1" fmla="*/ 106530 w 934453"/>
              <a:gd name="connsiteY1" fmla="*/ 2382 h 864519"/>
              <a:gd name="connsiteX2" fmla="*/ 787567 w 934453"/>
              <a:gd name="connsiteY2" fmla="*/ 0 h 864519"/>
              <a:gd name="connsiteX3" fmla="*/ 934453 w 934453"/>
              <a:gd name="connsiteY3" fmla="*/ 2255 h 864519"/>
              <a:gd name="connsiteX4" fmla="*/ 932823 w 934453"/>
              <a:gd name="connsiteY4" fmla="*/ 121444 h 864519"/>
              <a:gd name="connsiteX5" fmla="*/ 934453 w 934453"/>
              <a:gd name="connsiteY5" fmla="*/ 864519 h 864519"/>
              <a:gd name="connsiteX6" fmla="*/ 0 w 934453"/>
              <a:gd name="connsiteY6" fmla="*/ 864519 h 864519"/>
              <a:gd name="connsiteX7" fmla="*/ 0 w 934453"/>
              <a:gd name="connsiteY7" fmla="*/ 2255 h 864519"/>
              <a:gd name="connsiteX0" fmla="*/ 627 w 935080"/>
              <a:gd name="connsiteY0" fmla="*/ 2255 h 864519"/>
              <a:gd name="connsiteX1" fmla="*/ 107157 w 935080"/>
              <a:gd name="connsiteY1" fmla="*/ 2382 h 864519"/>
              <a:gd name="connsiteX2" fmla="*/ 788194 w 935080"/>
              <a:gd name="connsiteY2" fmla="*/ 0 h 864519"/>
              <a:gd name="connsiteX3" fmla="*/ 935080 w 935080"/>
              <a:gd name="connsiteY3" fmla="*/ 2255 h 864519"/>
              <a:gd name="connsiteX4" fmla="*/ 933450 w 935080"/>
              <a:gd name="connsiteY4" fmla="*/ 121444 h 864519"/>
              <a:gd name="connsiteX5" fmla="*/ 935080 w 935080"/>
              <a:gd name="connsiteY5" fmla="*/ 864519 h 864519"/>
              <a:gd name="connsiteX6" fmla="*/ 627 w 935080"/>
              <a:gd name="connsiteY6" fmla="*/ 864519 h 864519"/>
              <a:gd name="connsiteX7" fmla="*/ 0 w 935080"/>
              <a:gd name="connsiteY7" fmla="*/ 138113 h 864519"/>
              <a:gd name="connsiteX8" fmla="*/ 627 w 935080"/>
              <a:gd name="connsiteY8" fmla="*/ 2255 h 864519"/>
              <a:gd name="connsiteX0" fmla="*/ 627 w 935080"/>
              <a:gd name="connsiteY0" fmla="*/ 2255 h 864519"/>
              <a:gd name="connsiteX1" fmla="*/ 107157 w 935080"/>
              <a:gd name="connsiteY1" fmla="*/ 2382 h 864519"/>
              <a:gd name="connsiteX2" fmla="*/ 788194 w 935080"/>
              <a:gd name="connsiteY2" fmla="*/ 0 h 864519"/>
              <a:gd name="connsiteX3" fmla="*/ 935080 w 935080"/>
              <a:gd name="connsiteY3" fmla="*/ 2255 h 864519"/>
              <a:gd name="connsiteX4" fmla="*/ 933450 w 935080"/>
              <a:gd name="connsiteY4" fmla="*/ 121444 h 864519"/>
              <a:gd name="connsiteX5" fmla="*/ 935080 w 935080"/>
              <a:gd name="connsiteY5" fmla="*/ 864519 h 864519"/>
              <a:gd name="connsiteX6" fmla="*/ 428625 w 935080"/>
              <a:gd name="connsiteY6" fmla="*/ 864394 h 864519"/>
              <a:gd name="connsiteX7" fmla="*/ 627 w 935080"/>
              <a:gd name="connsiteY7" fmla="*/ 864519 h 864519"/>
              <a:gd name="connsiteX8" fmla="*/ 0 w 935080"/>
              <a:gd name="connsiteY8" fmla="*/ 138113 h 864519"/>
              <a:gd name="connsiteX9" fmla="*/ 627 w 935080"/>
              <a:gd name="connsiteY9" fmla="*/ 2255 h 864519"/>
              <a:gd name="connsiteX0" fmla="*/ 627 w 935080"/>
              <a:gd name="connsiteY0" fmla="*/ 2255 h 864519"/>
              <a:gd name="connsiteX1" fmla="*/ 107157 w 935080"/>
              <a:gd name="connsiteY1" fmla="*/ 2382 h 864519"/>
              <a:gd name="connsiteX2" fmla="*/ 788194 w 935080"/>
              <a:gd name="connsiteY2" fmla="*/ 0 h 864519"/>
              <a:gd name="connsiteX3" fmla="*/ 935080 w 935080"/>
              <a:gd name="connsiteY3" fmla="*/ 2255 h 864519"/>
              <a:gd name="connsiteX4" fmla="*/ 933450 w 935080"/>
              <a:gd name="connsiteY4" fmla="*/ 121444 h 864519"/>
              <a:gd name="connsiteX5" fmla="*/ 935080 w 935080"/>
              <a:gd name="connsiteY5" fmla="*/ 864519 h 864519"/>
              <a:gd name="connsiteX6" fmla="*/ 616744 w 935080"/>
              <a:gd name="connsiteY6" fmla="*/ 862013 h 864519"/>
              <a:gd name="connsiteX7" fmla="*/ 428625 w 935080"/>
              <a:gd name="connsiteY7" fmla="*/ 864394 h 864519"/>
              <a:gd name="connsiteX8" fmla="*/ 627 w 935080"/>
              <a:gd name="connsiteY8" fmla="*/ 864519 h 864519"/>
              <a:gd name="connsiteX9" fmla="*/ 0 w 935080"/>
              <a:gd name="connsiteY9" fmla="*/ 138113 h 864519"/>
              <a:gd name="connsiteX10" fmla="*/ 627 w 935080"/>
              <a:gd name="connsiteY10" fmla="*/ 2255 h 864519"/>
              <a:gd name="connsiteX0" fmla="*/ 627 w 935080"/>
              <a:gd name="connsiteY0" fmla="*/ 2255 h 864519"/>
              <a:gd name="connsiteX1" fmla="*/ 107157 w 935080"/>
              <a:gd name="connsiteY1" fmla="*/ 2382 h 864519"/>
              <a:gd name="connsiteX2" fmla="*/ 788194 w 935080"/>
              <a:gd name="connsiteY2" fmla="*/ 0 h 864519"/>
              <a:gd name="connsiteX3" fmla="*/ 935080 w 935080"/>
              <a:gd name="connsiteY3" fmla="*/ 2255 h 864519"/>
              <a:gd name="connsiteX4" fmla="*/ 933450 w 935080"/>
              <a:gd name="connsiteY4" fmla="*/ 121444 h 864519"/>
              <a:gd name="connsiteX5" fmla="*/ 935080 w 935080"/>
              <a:gd name="connsiteY5" fmla="*/ 864519 h 864519"/>
              <a:gd name="connsiteX6" fmla="*/ 616744 w 935080"/>
              <a:gd name="connsiteY6" fmla="*/ 862013 h 864519"/>
              <a:gd name="connsiteX7" fmla="*/ 428625 w 935080"/>
              <a:gd name="connsiteY7" fmla="*/ 864394 h 864519"/>
              <a:gd name="connsiteX8" fmla="*/ 0 w 935080"/>
              <a:gd name="connsiteY8" fmla="*/ 138113 h 864519"/>
              <a:gd name="connsiteX9" fmla="*/ 627 w 935080"/>
              <a:gd name="connsiteY9" fmla="*/ 2255 h 864519"/>
              <a:gd name="connsiteX0" fmla="*/ 0 w 934453"/>
              <a:gd name="connsiteY0" fmla="*/ 2255 h 864519"/>
              <a:gd name="connsiteX1" fmla="*/ 106530 w 934453"/>
              <a:gd name="connsiteY1" fmla="*/ 2382 h 864519"/>
              <a:gd name="connsiteX2" fmla="*/ 787567 w 934453"/>
              <a:gd name="connsiteY2" fmla="*/ 0 h 864519"/>
              <a:gd name="connsiteX3" fmla="*/ 934453 w 934453"/>
              <a:gd name="connsiteY3" fmla="*/ 2255 h 864519"/>
              <a:gd name="connsiteX4" fmla="*/ 932823 w 934453"/>
              <a:gd name="connsiteY4" fmla="*/ 121444 h 864519"/>
              <a:gd name="connsiteX5" fmla="*/ 934453 w 934453"/>
              <a:gd name="connsiteY5" fmla="*/ 864519 h 864519"/>
              <a:gd name="connsiteX6" fmla="*/ 616117 w 934453"/>
              <a:gd name="connsiteY6" fmla="*/ 862013 h 864519"/>
              <a:gd name="connsiteX7" fmla="*/ 427998 w 934453"/>
              <a:gd name="connsiteY7" fmla="*/ 864394 h 864519"/>
              <a:gd name="connsiteX8" fmla="*/ 99385 w 934453"/>
              <a:gd name="connsiteY8" fmla="*/ 307181 h 864519"/>
              <a:gd name="connsiteX9" fmla="*/ 0 w 934453"/>
              <a:gd name="connsiteY9" fmla="*/ 2255 h 864519"/>
              <a:gd name="connsiteX0" fmla="*/ 0 w 889209"/>
              <a:gd name="connsiteY0" fmla="*/ 133224 h 864519"/>
              <a:gd name="connsiteX1" fmla="*/ 61286 w 889209"/>
              <a:gd name="connsiteY1" fmla="*/ 2382 h 864519"/>
              <a:gd name="connsiteX2" fmla="*/ 742323 w 889209"/>
              <a:gd name="connsiteY2" fmla="*/ 0 h 864519"/>
              <a:gd name="connsiteX3" fmla="*/ 889209 w 889209"/>
              <a:gd name="connsiteY3" fmla="*/ 2255 h 864519"/>
              <a:gd name="connsiteX4" fmla="*/ 887579 w 889209"/>
              <a:gd name="connsiteY4" fmla="*/ 121444 h 864519"/>
              <a:gd name="connsiteX5" fmla="*/ 889209 w 889209"/>
              <a:gd name="connsiteY5" fmla="*/ 864519 h 864519"/>
              <a:gd name="connsiteX6" fmla="*/ 570873 w 889209"/>
              <a:gd name="connsiteY6" fmla="*/ 862013 h 864519"/>
              <a:gd name="connsiteX7" fmla="*/ 382754 w 889209"/>
              <a:gd name="connsiteY7" fmla="*/ 864394 h 864519"/>
              <a:gd name="connsiteX8" fmla="*/ 54141 w 889209"/>
              <a:gd name="connsiteY8" fmla="*/ 307181 h 864519"/>
              <a:gd name="connsiteX9" fmla="*/ 0 w 889209"/>
              <a:gd name="connsiteY9" fmla="*/ 133224 h 864519"/>
              <a:gd name="connsiteX0" fmla="*/ 42943 w 932152"/>
              <a:gd name="connsiteY0" fmla="*/ 133224 h 864519"/>
              <a:gd name="connsiteX1" fmla="*/ 104229 w 932152"/>
              <a:gd name="connsiteY1" fmla="*/ 2382 h 864519"/>
              <a:gd name="connsiteX2" fmla="*/ 785266 w 932152"/>
              <a:gd name="connsiteY2" fmla="*/ 0 h 864519"/>
              <a:gd name="connsiteX3" fmla="*/ 932152 w 932152"/>
              <a:gd name="connsiteY3" fmla="*/ 2255 h 864519"/>
              <a:gd name="connsiteX4" fmla="*/ 930522 w 932152"/>
              <a:gd name="connsiteY4" fmla="*/ 121444 h 864519"/>
              <a:gd name="connsiteX5" fmla="*/ 932152 w 932152"/>
              <a:gd name="connsiteY5" fmla="*/ 864519 h 864519"/>
              <a:gd name="connsiteX6" fmla="*/ 613816 w 932152"/>
              <a:gd name="connsiteY6" fmla="*/ 862013 h 864519"/>
              <a:gd name="connsiteX7" fmla="*/ 425697 w 932152"/>
              <a:gd name="connsiteY7" fmla="*/ 864394 h 864519"/>
              <a:gd name="connsiteX8" fmla="*/ 97084 w 932152"/>
              <a:gd name="connsiteY8" fmla="*/ 307181 h 864519"/>
              <a:gd name="connsiteX9" fmla="*/ 42943 w 932152"/>
              <a:gd name="connsiteY9" fmla="*/ 133224 h 864519"/>
              <a:gd name="connsiteX0" fmla="*/ 50330 w 939539"/>
              <a:gd name="connsiteY0" fmla="*/ 133224 h 864519"/>
              <a:gd name="connsiteX1" fmla="*/ 111616 w 939539"/>
              <a:gd name="connsiteY1" fmla="*/ 2382 h 864519"/>
              <a:gd name="connsiteX2" fmla="*/ 792653 w 939539"/>
              <a:gd name="connsiteY2" fmla="*/ 0 h 864519"/>
              <a:gd name="connsiteX3" fmla="*/ 939539 w 939539"/>
              <a:gd name="connsiteY3" fmla="*/ 2255 h 864519"/>
              <a:gd name="connsiteX4" fmla="*/ 937909 w 939539"/>
              <a:gd name="connsiteY4" fmla="*/ 121444 h 864519"/>
              <a:gd name="connsiteX5" fmla="*/ 939539 w 939539"/>
              <a:gd name="connsiteY5" fmla="*/ 864519 h 864519"/>
              <a:gd name="connsiteX6" fmla="*/ 621203 w 939539"/>
              <a:gd name="connsiteY6" fmla="*/ 862013 h 864519"/>
              <a:gd name="connsiteX7" fmla="*/ 433084 w 939539"/>
              <a:gd name="connsiteY7" fmla="*/ 864394 h 864519"/>
              <a:gd name="connsiteX8" fmla="*/ 104471 w 939539"/>
              <a:gd name="connsiteY8" fmla="*/ 307181 h 864519"/>
              <a:gd name="connsiteX9" fmla="*/ 50330 w 939539"/>
              <a:gd name="connsiteY9" fmla="*/ 133224 h 864519"/>
              <a:gd name="connsiteX0" fmla="*/ 50330 w 939539"/>
              <a:gd name="connsiteY0" fmla="*/ 133224 h 864519"/>
              <a:gd name="connsiteX1" fmla="*/ 792653 w 939539"/>
              <a:gd name="connsiteY1" fmla="*/ 0 h 864519"/>
              <a:gd name="connsiteX2" fmla="*/ 939539 w 939539"/>
              <a:gd name="connsiteY2" fmla="*/ 2255 h 864519"/>
              <a:gd name="connsiteX3" fmla="*/ 937909 w 939539"/>
              <a:gd name="connsiteY3" fmla="*/ 121444 h 864519"/>
              <a:gd name="connsiteX4" fmla="*/ 939539 w 939539"/>
              <a:gd name="connsiteY4" fmla="*/ 864519 h 864519"/>
              <a:gd name="connsiteX5" fmla="*/ 621203 w 939539"/>
              <a:gd name="connsiteY5" fmla="*/ 862013 h 864519"/>
              <a:gd name="connsiteX6" fmla="*/ 433084 w 939539"/>
              <a:gd name="connsiteY6" fmla="*/ 864394 h 864519"/>
              <a:gd name="connsiteX7" fmla="*/ 104471 w 939539"/>
              <a:gd name="connsiteY7" fmla="*/ 307181 h 864519"/>
              <a:gd name="connsiteX8" fmla="*/ 50330 w 939539"/>
              <a:gd name="connsiteY8" fmla="*/ 133224 h 864519"/>
              <a:gd name="connsiteX0" fmla="*/ 68023 w 900082"/>
              <a:gd name="connsiteY0" fmla="*/ 80837 h 864519"/>
              <a:gd name="connsiteX1" fmla="*/ 753196 w 900082"/>
              <a:gd name="connsiteY1" fmla="*/ 0 h 864519"/>
              <a:gd name="connsiteX2" fmla="*/ 900082 w 900082"/>
              <a:gd name="connsiteY2" fmla="*/ 2255 h 864519"/>
              <a:gd name="connsiteX3" fmla="*/ 898452 w 900082"/>
              <a:gd name="connsiteY3" fmla="*/ 121444 h 864519"/>
              <a:gd name="connsiteX4" fmla="*/ 900082 w 900082"/>
              <a:gd name="connsiteY4" fmla="*/ 864519 h 864519"/>
              <a:gd name="connsiteX5" fmla="*/ 581746 w 900082"/>
              <a:gd name="connsiteY5" fmla="*/ 862013 h 864519"/>
              <a:gd name="connsiteX6" fmla="*/ 393627 w 900082"/>
              <a:gd name="connsiteY6" fmla="*/ 864394 h 864519"/>
              <a:gd name="connsiteX7" fmla="*/ 65014 w 900082"/>
              <a:gd name="connsiteY7" fmla="*/ 307181 h 864519"/>
              <a:gd name="connsiteX8" fmla="*/ 68023 w 900082"/>
              <a:gd name="connsiteY8" fmla="*/ 80837 h 864519"/>
              <a:gd name="connsiteX0" fmla="*/ 91590 w 923649"/>
              <a:gd name="connsiteY0" fmla="*/ 80837 h 864519"/>
              <a:gd name="connsiteX1" fmla="*/ 776763 w 923649"/>
              <a:gd name="connsiteY1" fmla="*/ 0 h 864519"/>
              <a:gd name="connsiteX2" fmla="*/ 923649 w 923649"/>
              <a:gd name="connsiteY2" fmla="*/ 2255 h 864519"/>
              <a:gd name="connsiteX3" fmla="*/ 922019 w 923649"/>
              <a:gd name="connsiteY3" fmla="*/ 121444 h 864519"/>
              <a:gd name="connsiteX4" fmla="*/ 923649 w 923649"/>
              <a:gd name="connsiteY4" fmla="*/ 864519 h 864519"/>
              <a:gd name="connsiteX5" fmla="*/ 605313 w 923649"/>
              <a:gd name="connsiteY5" fmla="*/ 862013 h 864519"/>
              <a:gd name="connsiteX6" fmla="*/ 417194 w 923649"/>
              <a:gd name="connsiteY6" fmla="*/ 864394 h 864519"/>
              <a:gd name="connsiteX7" fmla="*/ 40956 w 923649"/>
              <a:gd name="connsiteY7" fmla="*/ 280987 h 864519"/>
              <a:gd name="connsiteX8" fmla="*/ 91590 w 923649"/>
              <a:gd name="connsiteY8" fmla="*/ 80837 h 864519"/>
              <a:gd name="connsiteX0" fmla="*/ 39499 w 871558"/>
              <a:gd name="connsiteY0" fmla="*/ 80837 h 864519"/>
              <a:gd name="connsiteX1" fmla="*/ 724672 w 871558"/>
              <a:gd name="connsiteY1" fmla="*/ 0 h 864519"/>
              <a:gd name="connsiteX2" fmla="*/ 871558 w 871558"/>
              <a:gd name="connsiteY2" fmla="*/ 2255 h 864519"/>
              <a:gd name="connsiteX3" fmla="*/ 869928 w 871558"/>
              <a:gd name="connsiteY3" fmla="*/ 121444 h 864519"/>
              <a:gd name="connsiteX4" fmla="*/ 871558 w 871558"/>
              <a:gd name="connsiteY4" fmla="*/ 864519 h 864519"/>
              <a:gd name="connsiteX5" fmla="*/ 553222 w 871558"/>
              <a:gd name="connsiteY5" fmla="*/ 862013 h 864519"/>
              <a:gd name="connsiteX6" fmla="*/ 365103 w 871558"/>
              <a:gd name="connsiteY6" fmla="*/ 864394 h 864519"/>
              <a:gd name="connsiteX7" fmla="*/ 150790 w 871558"/>
              <a:gd name="connsiteY7" fmla="*/ 352425 h 864519"/>
              <a:gd name="connsiteX8" fmla="*/ 39499 w 871558"/>
              <a:gd name="connsiteY8" fmla="*/ 80837 h 864519"/>
              <a:gd name="connsiteX0" fmla="*/ 100076 w 932135"/>
              <a:gd name="connsiteY0" fmla="*/ 80837 h 864519"/>
              <a:gd name="connsiteX1" fmla="*/ 785249 w 932135"/>
              <a:gd name="connsiteY1" fmla="*/ 0 h 864519"/>
              <a:gd name="connsiteX2" fmla="*/ 932135 w 932135"/>
              <a:gd name="connsiteY2" fmla="*/ 2255 h 864519"/>
              <a:gd name="connsiteX3" fmla="*/ 930505 w 932135"/>
              <a:gd name="connsiteY3" fmla="*/ 121444 h 864519"/>
              <a:gd name="connsiteX4" fmla="*/ 932135 w 932135"/>
              <a:gd name="connsiteY4" fmla="*/ 864519 h 864519"/>
              <a:gd name="connsiteX5" fmla="*/ 613799 w 932135"/>
              <a:gd name="connsiteY5" fmla="*/ 862013 h 864519"/>
              <a:gd name="connsiteX6" fmla="*/ 425680 w 932135"/>
              <a:gd name="connsiteY6" fmla="*/ 864394 h 864519"/>
              <a:gd name="connsiteX7" fmla="*/ 211367 w 932135"/>
              <a:gd name="connsiteY7" fmla="*/ 352425 h 864519"/>
              <a:gd name="connsiteX8" fmla="*/ 100076 w 932135"/>
              <a:gd name="connsiteY8" fmla="*/ 80837 h 864519"/>
              <a:gd name="connsiteX0" fmla="*/ 100926 w 932985"/>
              <a:gd name="connsiteY0" fmla="*/ 80837 h 864519"/>
              <a:gd name="connsiteX1" fmla="*/ 786099 w 932985"/>
              <a:gd name="connsiteY1" fmla="*/ 0 h 864519"/>
              <a:gd name="connsiteX2" fmla="*/ 932985 w 932985"/>
              <a:gd name="connsiteY2" fmla="*/ 2255 h 864519"/>
              <a:gd name="connsiteX3" fmla="*/ 931355 w 932985"/>
              <a:gd name="connsiteY3" fmla="*/ 121444 h 864519"/>
              <a:gd name="connsiteX4" fmla="*/ 932985 w 932985"/>
              <a:gd name="connsiteY4" fmla="*/ 864519 h 864519"/>
              <a:gd name="connsiteX5" fmla="*/ 614649 w 932985"/>
              <a:gd name="connsiteY5" fmla="*/ 862013 h 864519"/>
              <a:gd name="connsiteX6" fmla="*/ 426530 w 932985"/>
              <a:gd name="connsiteY6" fmla="*/ 864394 h 864519"/>
              <a:gd name="connsiteX7" fmla="*/ 212217 w 932985"/>
              <a:gd name="connsiteY7" fmla="*/ 352425 h 864519"/>
              <a:gd name="connsiteX8" fmla="*/ 100926 w 932985"/>
              <a:gd name="connsiteY8" fmla="*/ 80837 h 864519"/>
              <a:gd name="connsiteX0" fmla="*/ 100926 w 932985"/>
              <a:gd name="connsiteY0" fmla="*/ 80837 h 864519"/>
              <a:gd name="connsiteX1" fmla="*/ 786099 w 932985"/>
              <a:gd name="connsiteY1" fmla="*/ 0 h 864519"/>
              <a:gd name="connsiteX2" fmla="*/ 931355 w 932985"/>
              <a:gd name="connsiteY2" fmla="*/ 121444 h 864519"/>
              <a:gd name="connsiteX3" fmla="*/ 932985 w 932985"/>
              <a:gd name="connsiteY3" fmla="*/ 864519 h 864519"/>
              <a:gd name="connsiteX4" fmla="*/ 614649 w 932985"/>
              <a:gd name="connsiteY4" fmla="*/ 862013 h 864519"/>
              <a:gd name="connsiteX5" fmla="*/ 426530 w 932985"/>
              <a:gd name="connsiteY5" fmla="*/ 864394 h 864519"/>
              <a:gd name="connsiteX6" fmla="*/ 212217 w 932985"/>
              <a:gd name="connsiteY6" fmla="*/ 352425 h 864519"/>
              <a:gd name="connsiteX7" fmla="*/ 100926 w 932985"/>
              <a:gd name="connsiteY7" fmla="*/ 80837 h 864519"/>
              <a:gd name="connsiteX0" fmla="*/ 100926 w 932985"/>
              <a:gd name="connsiteY0" fmla="*/ 80837 h 864519"/>
              <a:gd name="connsiteX1" fmla="*/ 786099 w 932985"/>
              <a:gd name="connsiteY1" fmla="*/ 0 h 864519"/>
              <a:gd name="connsiteX2" fmla="*/ 905162 w 932985"/>
              <a:gd name="connsiteY2" fmla="*/ 169069 h 864519"/>
              <a:gd name="connsiteX3" fmla="*/ 932985 w 932985"/>
              <a:gd name="connsiteY3" fmla="*/ 864519 h 864519"/>
              <a:gd name="connsiteX4" fmla="*/ 614649 w 932985"/>
              <a:gd name="connsiteY4" fmla="*/ 862013 h 864519"/>
              <a:gd name="connsiteX5" fmla="*/ 426530 w 932985"/>
              <a:gd name="connsiteY5" fmla="*/ 864394 h 864519"/>
              <a:gd name="connsiteX6" fmla="*/ 212217 w 932985"/>
              <a:gd name="connsiteY6" fmla="*/ 352425 h 864519"/>
              <a:gd name="connsiteX7" fmla="*/ 100926 w 932985"/>
              <a:gd name="connsiteY7" fmla="*/ 80837 h 864519"/>
              <a:gd name="connsiteX0" fmla="*/ 100926 w 932985"/>
              <a:gd name="connsiteY0" fmla="*/ 80837 h 864519"/>
              <a:gd name="connsiteX1" fmla="*/ 786099 w 932985"/>
              <a:gd name="connsiteY1" fmla="*/ 0 h 864519"/>
              <a:gd name="connsiteX2" fmla="*/ 905162 w 932985"/>
              <a:gd name="connsiteY2" fmla="*/ 169069 h 864519"/>
              <a:gd name="connsiteX3" fmla="*/ 932985 w 932985"/>
              <a:gd name="connsiteY3" fmla="*/ 864519 h 864519"/>
              <a:gd name="connsiteX4" fmla="*/ 614649 w 932985"/>
              <a:gd name="connsiteY4" fmla="*/ 862013 h 864519"/>
              <a:gd name="connsiteX5" fmla="*/ 426530 w 932985"/>
              <a:gd name="connsiteY5" fmla="*/ 864394 h 864519"/>
              <a:gd name="connsiteX6" fmla="*/ 212217 w 932985"/>
              <a:gd name="connsiteY6" fmla="*/ 352425 h 864519"/>
              <a:gd name="connsiteX7" fmla="*/ 100926 w 932985"/>
              <a:gd name="connsiteY7" fmla="*/ 80837 h 864519"/>
              <a:gd name="connsiteX0" fmla="*/ 100926 w 932985"/>
              <a:gd name="connsiteY0" fmla="*/ 80837 h 864519"/>
              <a:gd name="connsiteX1" fmla="*/ 786099 w 932985"/>
              <a:gd name="connsiteY1" fmla="*/ 0 h 864519"/>
              <a:gd name="connsiteX2" fmla="*/ 905162 w 932985"/>
              <a:gd name="connsiteY2" fmla="*/ 169069 h 864519"/>
              <a:gd name="connsiteX3" fmla="*/ 932985 w 932985"/>
              <a:gd name="connsiteY3" fmla="*/ 864519 h 864519"/>
              <a:gd name="connsiteX4" fmla="*/ 614649 w 932985"/>
              <a:gd name="connsiteY4" fmla="*/ 862013 h 864519"/>
              <a:gd name="connsiteX5" fmla="*/ 426530 w 932985"/>
              <a:gd name="connsiteY5" fmla="*/ 864394 h 864519"/>
              <a:gd name="connsiteX6" fmla="*/ 212217 w 932985"/>
              <a:gd name="connsiteY6" fmla="*/ 352425 h 864519"/>
              <a:gd name="connsiteX7" fmla="*/ 100926 w 932985"/>
              <a:gd name="connsiteY7" fmla="*/ 80837 h 864519"/>
              <a:gd name="connsiteX0" fmla="*/ 100926 w 919778"/>
              <a:gd name="connsiteY0" fmla="*/ 80837 h 864394"/>
              <a:gd name="connsiteX1" fmla="*/ 786099 w 919778"/>
              <a:gd name="connsiteY1" fmla="*/ 0 h 864394"/>
              <a:gd name="connsiteX2" fmla="*/ 905162 w 919778"/>
              <a:gd name="connsiteY2" fmla="*/ 169069 h 864394"/>
              <a:gd name="connsiteX3" fmla="*/ 614649 w 919778"/>
              <a:gd name="connsiteY3" fmla="*/ 862013 h 864394"/>
              <a:gd name="connsiteX4" fmla="*/ 426530 w 919778"/>
              <a:gd name="connsiteY4" fmla="*/ 864394 h 864394"/>
              <a:gd name="connsiteX5" fmla="*/ 212217 w 919778"/>
              <a:gd name="connsiteY5" fmla="*/ 352425 h 864394"/>
              <a:gd name="connsiteX6" fmla="*/ 100926 w 919778"/>
              <a:gd name="connsiteY6" fmla="*/ 80837 h 864394"/>
              <a:gd name="connsiteX0" fmla="*/ 100926 w 919778"/>
              <a:gd name="connsiteY0" fmla="*/ 80837 h 862013"/>
              <a:gd name="connsiteX1" fmla="*/ 786099 w 919778"/>
              <a:gd name="connsiteY1" fmla="*/ 0 h 862013"/>
              <a:gd name="connsiteX2" fmla="*/ 905162 w 919778"/>
              <a:gd name="connsiteY2" fmla="*/ 169069 h 862013"/>
              <a:gd name="connsiteX3" fmla="*/ 614649 w 919778"/>
              <a:gd name="connsiteY3" fmla="*/ 862013 h 862013"/>
              <a:gd name="connsiteX4" fmla="*/ 414624 w 919778"/>
              <a:gd name="connsiteY4" fmla="*/ 673894 h 862013"/>
              <a:gd name="connsiteX5" fmla="*/ 212217 w 919778"/>
              <a:gd name="connsiteY5" fmla="*/ 352425 h 862013"/>
              <a:gd name="connsiteX6" fmla="*/ 100926 w 919778"/>
              <a:gd name="connsiteY6" fmla="*/ 80837 h 862013"/>
              <a:gd name="connsiteX0" fmla="*/ 100926 w 919778"/>
              <a:gd name="connsiteY0" fmla="*/ 80837 h 766763"/>
              <a:gd name="connsiteX1" fmla="*/ 786099 w 919778"/>
              <a:gd name="connsiteY1" fmla="*/ 0 h 766763"/>
              <a:gd name="connsiteX2" fmla="*/ 905162 w 919778"/>
              <a:gd name="connsiteY2" fmla="*/ 169069 h 766763"/>
              <a:gd name="connsiteX3" fmla="*/ 647986 w 919778"/>
              <a:gd name="connsiteY3" fmla="*/ 766763 h 766763"/>
              <a:gd name="connsiteX4" fmla="*/ 414624 w 919778"/>
              <a:gd name="connsiteY4" fmla="*/ 673894 h 766763"/>
              <a:gd name="connsiteX5" fmla="*/ 212217 w 919778"/>
              <a:gd name="connsiteY5" fmla="*/ 352425 h 766763"/>
              <a:gd name="connsiteX6" fmla="*/ 100926 w 919778"/>
              <a:gd name="connsiteY6" fmla="*/ 80837 h 766763"/>
              <a:gd name="connsiteX0" fmla="*/ 100926 w 919778"/>
              <a:gd name="connsiteY0" fmla="*/ 80837 h 879256"/>
              <a:gd name="connsiteX1" fmla="*/ 786099 w 919778"/>
              <a:gd name="connsiteY1" fmla="*/ 0 h 879256"/>
              <a:gd name="connsiteX2" fmla="*/ 905162 w 919778"/>
              <a:gd name="connsiteY2" fmla="*/ 169069 h 879256"/>
              <a:gd name="connsiteX3" fmla="*/ 647986 w 919778"/>
              <a:gd name="connsiteY3" fmla="*/ 766763 h 879256"/>
              <a:gd name="connsiteX4" fmla="*/ 481300 w 919778"/>
              <a:gd name="connsiteY4" fmla="*/ 878683 h 879256"/>
              <a:gd name="connsiteX5" fmla="*/ 414624 w 919778"/>
              <a:gd name="connsiteY5" fmla="*/ 673894 h 879256"/>
              <a:gd name="connsiteX6" fmla="*/ 212217 w 919778"/>
              <a:gd name="connsiteY6" fmla="*/ 352425 h 879256"/>
              <a:gd name="connsiteX7" fmla="*/ 100926 w 919778"/>
              <a:gd name="connsiteY7" fmla="*/ 80837 h 879256"/>
              <a:gd name="connsiteX0" fmla="*/ 100926 w 919778"/>
              <a:gd name="connsiteY0" fmla="*/ 80837 h 797494"/>
              <a:gd name="connsiteX1" fmla="*/ 786099 w 919778"/>
              <a:gd name="connsiteY1" fmla="*/ 0 h 797494"/>
              <a:gd name="connsiteX2" fmla="*/ 905162 w 919778"/>
              <a:gd name="connsiteY2" fmla="*/ 169069 h 797494"/>
              <a:gd name="connsiteX3" fmla="*/ 647986 w 919778"/>
              <a:gd name="connsiteY3" fmla="*/ 766763 h 797494"/>
              <a:gd name="connsiteX4" fmla="*/ 414624 w 919778"/>
              <a:gd name="connsiteY4" fmla="*/ 673894 h 797494"/>
              <a:gd name="connsiteX5" fmla="*/ 212217 w 919778"/>
              <a:gd name="connsiteY5" fmla="*/ 352425 h 797494"/>
              <a:gd name="connsiteX6" fmla="*/ 100926 w 919778"/>
              <a:gd name="connsiteY6" fmla="*/ 80837 h 797494"/>
              <a:gd name="connsiteX0" fmla="*/ 100926 w 919778"/>
              <a:gd name="connsiteY0" fmla="*/ 80837 h 857767"/>
              <a:gd name="connsiteX1" fmla="*/ 786099 w 919778"/>
              <a:gd name="connsiteY1" fmla="*/ 0 h 857767"/>
              <a:gd name="connsiteX2" fmla="*/ 905162 w 919778"/>
              <a:gd name="connsiteY2" fmla="*/ 169069 h 857767"/>
              <a:gd name="connsiteX3" fmla="*/ 647986 w 919778"/>
              <a:gd name="connsiteY3" fmla="*/ 766763 h 857767"/>
              <a:gd name="connsiteX4" fmla="*/ 414624 w 919778"/>
              <a:gd name="connsiteY4" fmla="*/ 673894 h 857767"/>
              <a:gd name="connsiteX5" fmla="*/ 212217 w 919778"/>
              <a:gd name="connsiteY5" fmla="*/ 352425 h 857767"/>
              <a:gd name="connsiteX6" fmla="*/ 100926 w 919778"/>
              <a:gd name="connsiteY6" fmla="*/ 80837 h 857767"/>
              <a:gd name="connsiteX0" fmla="*/ 100926 w 919778"/>
              <a:gd name="connsiteY0" fmla="*/ 80837 h 874459"/>
              <a:gd name="connsiteX1" fmla="*/ 786099 w 919778"/>
              <a:gd name="connsiteY1" fmla="*/ 0 h 874459"/>
              <a:gd name="connsiteX2" fmla="*/ 905162 w 919778"/>
              <a:gd name="connsiteY2" fmla="*/ 169069 h 874459"/>
              <a:gd name="connsiteX3" fmla="*/ 647986 w 919778"/>
              <a:gd name="connsiteY3" fmla="*/ 766763 h 874459"/>
              <a:gd name="connsiteX4" fmla="*/ 414624 w 919778"/>
              <a:gd name="connsiteY4" fmla="*/ 673894 h 874459"/>
              <a:gd name="connsiteX5" fmla="*/ 212217 w 919778"/>
              <a:gd name="connsiteY5" fmla="*/ 352425 h 874459"/>
              <a:gd name="connsiteX6" fmla="*/ 100926 w 919778"/>
              <a:gd name="connsiteY6" fmla="*/ 80837 h 874459"/>
              <a:gd name="connsiteX0" fmla="*/ 100926 w 919778"/>
              <a:gd name="connsiteY0" fmla="*/ 80837 h 876757"/>
              <a:gd name="connsiteX1" fmla="*/ 786099 w 919778"/>
              <a:gd name="connsiteY1" fmla="*/ 0 h 876757"/>
              <a:gd name="connsiteX2" fmla="*/ 905162 w 919778"/>
              <a:gd name="connsiteY2" fmla="*/ 169069 h 876757"/>
              <a:gd name="connsiteX3" fmla="*/ 647986 w 919778"/>
              <a:gd name="connsiteY3" fmla="*/ 766763 h 876757"/>
              <a:gd name="connsiteX4" fmla="*/ 414624 w 919778"/>
              <a:gd name="connsiteY4" fmla="*/ 673894 h 876757"/>
              <a:gd name="connsiteX5" fmla="*/ 212217 w 919778"/>
              <a:gd name="connsiteY5" fmla="*/ 352425 h 876757"/>
              <a:gd name="connsiteX6" fmla="*/ 100926 w 919778"/>
              <a:gd name="connsiteY6" fmla="*/ 80837 h 876757"/>
              <a:gd name="connsiteX0" fmla="*/ 100926 w 919778"/>
              <a:gd name="connsiteY0" fmla="*/ 80837 h 876757"/>
              <a:gd name="connsiteX1" fmla="*/ 786099 w 919778"/>
              <a:gd name="connsiteY1" fmla="*/ 0 h 876757"/>
              <a:gd name="connsiteX2" fmla="*/ 905162 w 919778"/>
              <a:gd name="connsiteY2" fmla="*/ 169069 h 876757"/>
              <a:gd name="connsiteX3" fmla="*/ 647986 w 919778"/>
              <a:gd name="connsiteY3" fmla="*/ 766763 h 876757"/>
              <a:gd name="connsiteX4" fmla="*/ 414624 w 919778"/>
              <a:gd name="connsiteY4" fmla="*/ 673894 h 876757"/>
              <a:gd name="connsiteX5" fmla="*/ 212217 w 919778"/>
              <a:gd name="connsiteY5" fmla="*/ 352425 h 876757"/>
              <a:gd name="connsiteX6" fmla="*/ 100926 w 919778"/>
              <a:gd name="connsiteY6" fmla="*/ 80837 h 876757"/>
              <a:gd name="connsiteX0" fmla="*/ 100926 w 919778"/>
              <a:gd name="connsiteY0" fmla="*/ 80837 h 876757"/>
              <a:gd name="connsiteX1" fmla="*/ 786099 w 919778"/>
              <a:gd name="connsiteY1" fmla="*/ 0 h 876757"/>
              <a:gd name="connsiteX2" fmla="*/ 905162 w 919778"/>
              <a:gd name="connsiteY2" fmla="*/ 169069 h 876757"/>
              <a:gd name="connsiteX3" fmla="*/ 647986 w 919778"/>
              <a:gd name="connsiteY3" fmla="*/ 766763 h 876757"/>
              <a:gd name="connsiteX4" fmla="*/ 414624 w 919778"/>
              <a:gd name="connsiteY4" fmla="*/ 673894 h 876757"/>
              <a:gd name="connsiteX5" fmla="*/ 212217 w 919778"/>
              <a:gd name="connsiteY5" fmla="*/ 352425 h 876757"/>
              <a:gd name="connsiteX6" fmla="*/ 100926 w 919778"/>
              <a:gd name="connsiteY6" fmla="*/ 80837 h 876757"/>
              <a:gd name="connsiteX0" fmla="*/ 100926 w 919778"/>
              <a:gd name="connsiteY0" fmla="*/ 80837 h 875028"/>
              <a:gd name="connsiteX1" fmla="*/ 786099 w 919778"/>
              <a:gd name="connsiteY1" fmla="*/ 0 h 875028"/>
              <a:gd name="connsiteX2" fmla="*/ 905162 w 919778"/>
              <a:gd name="connsiteY2" fmla="*/ 169069 h 875028"/>
              <a:gd name="connsiteX3" fmla="*/ 647986 w 919778"/>
              <a:gd name="connsiteY3" fmla="*/ 766763 h 875028"/>
              <a:gd name="connsiteX4" fmla="*/ 414624 w 919778"/>
              <a:gd name="connsiteY4" fmla="*/ 673894 h 875028"/>
              <a:gd name="connsiteX5" fmla="*/ 212217 w 919778"/>
              <a:gd name="connsiteY5" fmla="*/ 352425 h 875028"/>
              <a:gd name="connsiteX6" fmla="*/ 100926 w 919778"/>
              <a:gd name="connsiteY6" fmla="*/ 80837 h 875028"/>
              <a:gd name="connsiteX0" fmla="*/ 100926 w 919778"/>
              <a:gd name="connsiteY0" fmla="*/ 80837 h 875028"/>
              <a:gd name="connsiteX1" fmla="*/ 786099 w 919778"/>
              <a:gd name="connsiteY1" fmla="*/ 0 h 875028"/>
              <a:gd name="connsiteX2" fmla="*/ 905162 w 919778"/>
              <a:gd name="connsiteY2" fmla="*/ 169069 h 875028"/>
              <a:gd name="connsiteX3" fmla="*/ 647986 w 919778"/>
              <a:gd name="connsiteY3" fmla="*/ 766763 h 875028"/>
              <a:gd name="connsiteX4" fmla="*/ 414624 w 919778"/>
              <a:gd name="connsiteY4" fmla="*/ 673894 h 875028"/>
              <a:gd name="connsiteX5" fmla="*/ 243175 w 919778"/>
              <a:gd name="connsiteY5" fmla="*/ 392907 h 875028"/>
              <a:gd name="connsiteX6" fmla="*/ 212217 w 919778"/>
              <a:gd name="connsiteY6" fmla="*/ 352425 h 875028"/>
              <a:gd name="connsiteX7" fmla="*/ 100926 w 919778"/>
              <a:gd name="connsiteY7" fmla="*/ 80837 h 875028"/>
              <a:gd name="connsiteX0" fmla="*/ 741195 w 1560047"/>
              <a:gd name="connsiteY0" fmla="*/ 80837 h 875028"/>
              <a:gd name="connsiteX1" fmla="*/ 1426368 w 1560047"/>
              <a:gd name="connsiteY1" fmla="*/ 0 h 875028"/>
              <a:gd name="connsiteX2" fmla="*/ 1545431 w 1560047"/>
              <a:gd name="connsiteY2" fmla="*/ 169069 h 875028"/>
              <a:gd name="connsiteX3" fmla="*/ 1288255 w 1560047"/>
              <a:gd name="connsiteY3" fmla="*/ 766763 h 875028"/>
              <a:gd name="connsiteX4" fmla="*/ 1054893 w 1560047"/>
              <a:gd name="connsiteY4" fmla="*/ 673894 h 875028"/>
              <a:gd name="connsiteX5" fmla="*/ 0 w 1560047"/>
              <a:gd name="connsiteY5" fmla="*/ 809626 h 875028"/>
              <a:gd name="connsiteX6" fmla="*/ 852486 w 1560047"/>
              <a:gd name="connsiteY6" fmla="*/ 352425 h 875028"/>
              <a:gd name="connsiteX7" fmla="*/ 741195 w 1560047"/>
              <a:gd name="connsiteY7" fmla="*/ 80837 h 875028"/>
              <a:gd name="connsiteX0" fmla="*/ 741195 w 1560047"/>
              <a:gd name="connsiteY0" fmla="*/ 80837 h 875028"/>
              <a:gd name="connsiteX1" fmla="*/ 1426368 w 1560047"/>
              <a:gd name="connsiteY1" fmla="*/ 0 h 875028"/>
              <a:gd name="connsiteX2" fmla="*/ 1545431 w 1560047"/>
              <a:gd name="connsiteY2" fmla="*/ 169069 h 875028"/>
              <a:gd name="connsiteX3" fmla="*/ 1288255 w 1560047"/>
              <a:gd name="connsiteY3" fmla="*/ 766763 h 875028"/>
              <a:gd name="connsiteX4" fmla="*/ 1054893 w 1560047"/>
              <a:gd name="connsiteY4" fmla="*/ 673894 h 875028"/>
              <a:gd name="connsiteX5" fmla="*/ 1000126 w 1560047"/>
              <a:gd name="connsiteY5" fmla="*/ 673894 h 875028"/>
              <a:gd name="connsiteX6" fmla="*/ 0 w 1560047"/>
              <a:gd name="connsiteY6" fmla="*/ 809626 h 875028"/>
              <a:gd name="connsiteX7" fmla="*/ 852486 w 1560047"/>
              <a:gd name="connsiteY7" fmla="*/ 352425 h 875028"/>
              <a:gd name="connsiteX8" fmla="*/ 741195 w 1560047"/>
              <a:gd name="connsiteY8" fmla="*/ 80837 h 875028"/>
              <a:gd name="connsiteX0" fmla="*/ 741195 w 1560047"/>
              <a:gd name="connsiteY0" fmla="*/ 80837 h 1114426"/>
              <a:gd name="connsiteX1" fmla="*/ 1426368 w 1560047"/>
              <a:gd name="connsiteY1" fmla="*/ 0 h 1114426"/>
              <a:gd name="connsiteX2" fmla="*/ 1545431 w 1560047"/>
              <a:gd name="connsiteY2" fmla="*/ 169069 h 1114426"/>
              <a:gd name="connsiteX3" fmla="*/ 1288255 w 1560047"/>
              <a:gd name="connsiteY3" fmla="*/ 766763 h 1114426"/>
              <a:gd name="connsiteX4" fmla="*/ 1054893 w 1560047"/>
              <a:gd name="connsiteY4" fmla="*/ 673894 h 1114426"/>
              <a:gd name="connsiteX5" fmla="*/ 185739 w 1560047"/>
              <a:gd name="connsiteY5" fmla="*/ 1114426 h 1114426"/>
              <a:gd name="connsiteX6" fmla="*/ 0 w 1560047"/>
              <a:gd name="connsiteY6" fmla="*/ 809626 h 1114426"/>
              <a:gd name="connsiteX7" fmla="*/ 852486 w 1560047"/>
              <a:gd name="connsiteY7" fmla="*/ 352425 h 1114426"/>
              <a:gd name="connsiteX8" fmla="*/ 741195 w 1560047"/>
              <a:gd name="connsiteY8" fmla="*/ 80837 h 1114426"/>
              <a:gd name="connsiteX0" fmla="*/ 1350793 w 2169645"/>
              <a:gd name="connsiteY0" fmla="*/ 80837 h 1443038"/>
              <a:gd name="connsiteX1" fmla="*/ 2035966 w 2169645"/>
              <a:gd name="connsiteY1" fmla="*/ 0 h 1443038"/>
              <a:gd name="connsiteX2" fmla="*/ 2155029 w 2169645"/>
              <a:gd name="connsiteY2" fmla="*/ 169069 h 1443038"/>
              <a:gd name="connsiteX3" fmla="*/ 1897853 w 2169645"/>
              <a:gd name="connsiteY3" fmla="*/ 766763 h 1443038"/>
              <a:gd name="connsiteX4" fmla="*/ 1664491 w 2169645"/>
              <a:gd name="connsiteY4" fmla="*/ 673894 h 1443038"/>
              <a:gd name="connsiteX5" fmla="*/ 0 w 2169645"/>
              <a:gd name="connsiteY5" fmla="*/ 1443038 h 1443038"/>
              <a:gd name="connsiteX6" fmla="*/ 609598 w 2169645"/>
              <a:gd name="connsiteY6" fmla="*/ 809626 h 1443038"/>
              <a:gd name="connsiteX7" fmla="*/ 1462084 w 2169645"/>
              <a:gd name="connsiteY7" fmla="*/ 352425 h 1443038"/>
              <a:gd name="connsiteX8" fmla="*/ 1350793 w 2169645"/>
              <a:gd name="connsiteY8" fmla="*/ 80837 h 1443038"/>
              <a:gd name="connsiteX0" fmla="*/ 1350793 w 2169645"/>
              <a:gd name="connsiteY0" fmla="*/ 80837 h 1443038"/>
              <a:gd name="connsiteX1" fmla="*/ 2035966 w 2169645"/>
              <a:gd name="connsiteY1" fmla="*/ 0 h 1443038"/>
              <a:gd name="connsiteX2" fmla="*/ 2155029 w 2169645"/>
              <a:gd name="connsiteY2" fmla="*/ 169069 h 1443038"/>
              <a:gd name="connsiteX3" fmla="*/ 1897853 w 2169645"/>
              <a:gd name="connsiteY3" fmla="*/ 766763 h 1443038"/>
              <a:gd name="connsiteX4" fmla="*/ 1664491 w 2169645"/>
              <a:gd name="connsiteY4" fmla="*/ 673894 h 1443038"/>
              <a:gd name="connsiteX5" fmla="*/ 0 w 2169645"/>
              <a:gd name="connsiteY5" fmla="*/ 1443038 h 1443038"/>
              <a:gd name="connsiteX6" fmla="*/ 88104 w 2169645"/>
              <a:gd name="connsiteY6" fmla="*/ 1031082 h 1443038"/>
              <a:gd name="connsiteX7" fmla="*/ 1462084 w 2169645"/>
              <a:gd name="connsiteY7" fmla="*/ 352425 h 1443038"/>
              <a:gd name="connsiteX8" fmla="*/ 1350793 w 2169645"/>
              <a:gd name="connsiteY8" fmla="*/ 80837 h 1443038"/>
              <a:gd name="connsiteX0" fmla="*/ 1386514 w 2205366"/>
              <a:gd name="connsiteY0" fmla="*/ 80837 h 1443038"/>
              <a:gd name="connsiteX1" fmla="*/ 2071687 w 2205366"/>
              <a:gd name="connsiteY1" fmla="*/ 0 h 1443038"/>
              <a:gd name="connsiteX2" fmla="*/ 2190750 w 2205366"/>
              <a:gd name="connsiteY2" fmla="*/ 169069 h 1443038"/>
              <a:gd name="connsiteX3" fmla="*/ 1933574 w 2205366"/>
              <a:gd name="connsiteY3" fmla="*/ 766763 h 1443038"/>
              <a:gd name="connsiteX4" fmla="*/ 1700212 w 2205366"/>
              <a:gd name="connsiteY4" fmla="*/ 673894 h 1443038"/>
              <a:gd name="connsiteX5" fmla="*/ 35721 w 2205366"/>
              <a:gd name="connsiteY5" fmla="*/ 1443038 h 1443038"/>
              <a:gd name="connsiteX6" fmla="*/ 0 w 2205366"/>
              <a:gd name="connsiteY6" fmla="*/ 1069182 h 1443038"/>
              <a:gd name="connsiteX7" fmla="*/ 1497805 w 2205366"/>
              <a:gd name="connsiteY7" fmla="*/ 352425 h 1443038"/>
              <a:gd name="connsiteX8" fmla="*/ 1386514 w 2205366"/>
              <a:gd name="connsiteY8" fmla="*/ 80837 h 1443038"/>
              <a:gd name="connsiteX0" fmla="*/ 1482984 w 2301836"/>
              <a:gd name="connsiteY0" fmla="*/ 80837 h 1443038"/>
              <a:gd name="connsiteX1" fmla="*/ 2168157 w 2301836"/>
              <a:gd name="connsiteY1" fmla="*/ 0 h 1443038"/>
              <a:gd name="connsiteX2" fmla="*/ 2287220 w 2301836"/>
              <a:gd name="connsiteY2" fmla="*/ 169069 h 1443038"/>
              <a:gd name="connsiteX3" fmla="*/ 2030044 w 2301836"/>
              <a:gd name="connsiteY3" fmla="*/ 766763 h 1443038"/>
              <a:gd name="connsiteX4" fmla="*/ 1796682 w 2301836"/>
              <a:gd name="connsiteY4" fmla="*/ 673894 h 1443038"/>
              <a:gd name="connsiteX5" fmla="*/ 132191 w 2301836"/>
              <a:gd name="connsiteY5" fmla="*/ 1443038 h 1443038"/>
              <a:gd name="connsiteX6" fmla="*/ 96470 w 2301836"/>
              <a:gd name="connsiteY6" fmla="*/ 1069182 h 1443038"/>
              <a:gd name="connsiteX7" fmla="*/ 1594275 w 2301836"/>
              <a:gd name="connsiteY7" fmla="*/ 352425 h 1443038"/>
              <a:gd name="connsiteX8" fmla="*/ 1482984 w 2301836"/>
              <a:gd name="connsiteY8" fmla="*/ 80837 h 1443038"/>
              <a:gd name="connsiteX0" fmla="*/ 1513501 w 2332353"/>
              <a:gd name="connsiteY0" fmla="*/ 80837 h 1443074"/>
              <a:gd name="connsiteX1" fmla="*/ 2198674 w 2332353"/>
              <a:gd name="connsiteY1" fmla="*/ 0 h 1443074"/>
              <a:gd name="connsiteX2" fmla="*/ 2317737 w 2332353"/>
              <a:gd name="connsiteY2" fmla="*/ 169069 h 1443074"/>
              <a:gd name="connsiteX3" fmla="*/ 2060561 w 2332353"/>
              <a:gd name="connsiteY3" fmla="*/ 766763 h 1443074"/>
              <a:gd name="connsiteX4" fmla="*/ 1827199 w 2332353"/>
              <a:gd name="connsiteY4" fmla="*/ 673894 h 1443074"/>
              <a:gd name="connsiteX5" fmla="*/ 162708 w 2332353"/>
              <a:gd name="connsiteY5" fmla="*/ 1443038 h 1443074"/>
              <a:gd name="connsiteX6" fmla="*/ 126987 w 2332353"/>
              <a:gd name="connsiteY6" fmla="*/ 1069182 h 1443074"/>
              <a:gd name="connsiteX7" fmla="*/ 1624792 w 2332353"/>
              <a:gd name="connsiteY7" fmla="*/ 352425 h 1443074"/>
              <a:gd name="connsiteX8" fmla="*/ 1513501 w 2332353"/>
              <a:gd name="connsiteY8" fmla="*/ 80837 h 1443074"/>
              <a:gd name="connsiteX0" fmla="*/ 1486860 w 2305712"/>
              <a:gd name="connsiteY0" fmla="*/ 80837 h 1397836"/>
              <a:gd name="connsiteX1" fmla="*/ 2172033 w 2305712"/>
              <a:gd name="connsiteY1" fmla="*/ 0 h 1397836"/>
              <a:gd name="connsiteX2" fmla="*/ 2291096 w 2305712"/>
              <a:gd name="connsiteY2" fmla="*/ 169069 h 1397836"/>
              <a:gd name="connsiteX3" fmla="*/ 2033920 w 2305712"/>
              <a:gd name="connsiteY3" fmla="*/ 766763 h 1397836"/>
              <a:gd name="connsiteX4" fmla="*/ 1800558 w 2305712"/>
              <a:gd name="connsiteY4" fmla="*/ 673894 h 1397836"/>
              <a:gd name="connsiteX5" fmla="*/ 228936 w 2305712"/>
              <a:gd name="connsiteY5" fmla="*/ 1397794 h 1397836"/>
              <a:gd name="connsiteX6" fmla="*/ 100346 w 2305712"/>
              <a:gd name="connsiteY6" fmla="*/ 1069182 h 1397836"/>
              <a:gd name="connsiteX7" fmla="*/ 1598151 w 2305712"/>
              <a:gd name="connsiteY7" fmla="*/ 352425 h 1397836"/>
              <a:gd name="connsiteX8" fmla="*/ 1486860 w 2305712"/>
              <a:gd name="connsiteY8" fmla="*/ 80837 h 1397836"/>
              <a:gd name="connsiteX0" fmla="*/ 1512654 w 2331506"/>
              <a:gd name="connsiteY0" fmla="*/ 80837 h 1429036"/>
              <a:gd name="connsiteX1" fmla="*/ 2197827 w 2331506"/>
              <a:gd name="connsiteY1" fmla="*/ 0 h 1429036"/>
              <a:gd name="connsiteX2" fmla="*/ 2316890 w 2331506"/>
              <a:gd name="connsiteY2" fmla="*/ 169069 h 1429036"/>
              <a:gd name="connsiteX3" fmla="*/ 2059714 w 2331506"/>
              <a:gd name="connsiteY3" fmla="*/ 766763 h 1429036"/>
              <a:gd name="connsiteX4" fmla="*/ 1826352 w 2331506"/>
              <a:gd name="connsiteY4" fmla="*/ 673894 h 1429036"/>
              <a:gd name="connsiteX5" fmla="*/ 254730 w 2331506"/>
              <a:gd name="connsiteY5" fmla="*/ 1397794 h 1429036"/>
              <a:gd name="connsiteX6" fmla="*/ 126140 w 2331506"/>
              <a:gd name="connsiteY6" fmla="*/ 1069182 h 1429036"/>
              <a:gd name="connsiteX7" fmla="*/ 1623945 w 2331506"/>
              <a:gd name="connsiteY7" fmla="*/ 352425 h 1429036"/>
              <a:gd name="connsiteX8" fmla="*/ 1512654 w 2331506"/>
              <a:gd name="connsiteY8" fmla="*/ 80837 h 1429036"/>
              <a:gd name="connsiteX0" fmla="*/ 1522052 w 2340904"/>
              <a:gd name="connsiteY0" fmla="*/ 80837 h 1429171"/>
              <a:gd name="connsiteX1" fmla="*/ 2207225 w 2340904"/>
              <a:gd name="connsiteY1" fmla="*/ 0 h 1429171"/>
              <a:gd name="connsiteX2" fmla="*/ 2326288 w 2340904"/>
              <a:gd name="connsiteY2" fmla="*/ 169069 h 1429171"/>
              <a:gd name="connsiteX3" fmla="*/ 2069112 w 2340904"/>
              <a:gd name="connsiteY3" fmla="*/ 766763 h 1429171"/>
              <a:gd name="connsiteX4" fmla="*/ 1835750 w 2340904"/>
              <a:gd name="connsiteY4" fmla="*/ 673894 h 1429171"/>
              <a:gd name="connsiteX5" fmla="*/ 264128 w 2340904"/>
              <a:gd name="connsiteY5" fmla="*/ 1397794 h 1429171"/>
              <a:gd name="connsiteX6" fmla="*/ 135538 w 2340904"/>
              <a:gd name="connsiteY6" fmla="*/ 1069182 h 1429171"/>
              <a:gd name="connsiteX7" fmla="*/ 1633343 w 2340904"/>
              <a:gd name="connsiteY7" fmla="*/ 352425 h 1429171"/>
              <a:gd name="connsiteX8" fmla="*/ 1522052 w 2340904"/>
              <a:gd name="connsiteY8" fmla="*/ 80837 h 1429171"/>
              <a:gd name="connsiteX0" fmla="*/ 1524365 w 2343217"/>
              <a:gd name="connsiteY0" fmla="*/ 80837 h 1426933"/>
              <a:gd name="connsiteX1" fmla="*/ 2209538 w 2343217"/>
              <a:gd name="connsiteY1" fmla="*/ 0 h 1426933"/>
              <a:gd name="connsiteX2" fmla="*/ 2328601 w 2343217"/>
              <a:gd name="connsiteY2" fmla="*/ 169069 h 1426933"/>
              <a:gd name="connsiteX3" fmla="*/ 2071425 w 2343217"/>
              <a:gd name="connsiteY3" fmla="*/ 766763 h 1426933"/>
              <a:gd name="connsiteX4" fmla="*/ 1838063 w 2343217"/>
              <a:gd name="connsiteY4" fmla="*/ 673894 h 1426933"/>
              <a:gd name="connsiteX5" fmla="*/ 259297 w 2343217"/>
              <a:gd name="connsiteY5" fmla="*/ 1395412 h 1426933"/>
              <a:gd name="connsiteX6" fmla="*/ 137851 w 2343217"/>
              <a:gd name="connsiteY6" fmla="*/ 1069182 h 1426933"/>
              <a:gd name="connsiteX7" fmla="*/ 1635656 w 2343217"/>
              <a:gd name="connsiteY7" fmla="*/ 352425 h 1426933"/>
              <a:gd name="connsiteX8" fmla="*/ 1524365 w 2343217"/>
              <a:gd name="connsiteY8" fmla="*/ 80837 h 1426933"/>
              <a:gd name="connsiteX0" fmla="*/ 1525149 w 2344001"/>
              <a:gd name="connsiteY0" fmla="*/ 80837 h 1420231"/>
              <a:gd name="connsiteX1" fmla="*/ 2210322 w 2344001"/>
              <a:gd name="connsiteY1" fmla="*/ 0 h 1420231"/>
              <a:gd name="connsiteX2" fmla="*/ 2329385 w 2344001"/>
              <a:gd name="connsiteY2" fmla="*/ 169069 h 1420231"/>
              <a:gd name="connsiteX3" fmla="*/ 2072209 w 2344001"/>
              <a:gd name="connsiteY3" fmla="*/ 766763 h 1420231"/>
              <a:gd name="connsiteX4" fmla="*/ 1838847 w 2344001"/>
              <a:gd name="connsiteY4" fmla="*/ 673894 h 1420231"/>
              <a:gd name="connsiteX5" fmla="*/ 257700 w 2344001"/>
              <a:gd name="connsiteY5" fmla="*/ 1388269 h 1420231"/>
              <a:gd name="connsiteX6" fmla="*/ 138635 w 2344001"/>
              <a:gd name="connsiteY6" fmla="*/ 1069182 h 1420231"/>
              <a:gd name="connsiteX7" fmla="*/ 1636440 w 2344001"/>
              <a:gd name="connsiteY7" fmla="*/ 352425 h 1420231"/>
              <a:gd name="connsiteX8" fmla="*/ 1525149 w 2344001"/>
              <a:gd name="connsiteY8" fmla="*/ 80837 h 1420231"/>
              <a:gd name="connsiteX0" fmla="*/ 1525149 w 2344001"/>
              <a:gd name="connsiteY0" fmla="*/ 80837 h 1420231"/>
              <a:gd name="connsiteX1" fmla="*/ 2210322 w 2344001"/>
              <a:gd name="connsiteY1" fmla="*/ 0 h 1420231"/>
              <a:gd name="connsiteX2" fmla="*/ 2329385 w 2344001"/>
              <a:gd name="connsiteY2" fmla="*/ 169069 h 1420231"/>
              <a:gd name="connsiteX3" fmla="*/ 2072209 w 2344001"/>
              <a:gd name="connsiteY3" fmla="*/ 766763 h 1420231"/>
              <a:gd name="connsiteX4" fmla="*/ 1838847 w 2344001"/>
              <a:gd name="connsiteY4" fmla="*/ 673894 h 1420231"/>
              <a:gd name="connsiteX5" fmla="*/ 257700 w 2344001"/>
              <a:gd name="connsiteY5" fmla="*/ 1388269 h 1420231"/>
              <a:gd name="connsiteX6" fmla="*/ 138635 w 2344001"/>
              <a:gd name="connsiteY6" fmla="*/ 1069182 h 1420231"/>
              <a:gd name="connsiteX7" fmla="*/ 1636440 w 2344001"/>
              <a:gd name="connsiteY7" fmla="*/ 352425 h 1420231"/>
              <a:gd name="connsiteX8" fmla="*/ 1525149 w 2344001"/>
              <a:gd name="connsiteY8" fmla="*/ 80837 h 1420231"/>
              <a:gd name="connsiteX0" fmla="*/ 1525149 w 2344001"/>
              <a:gd name="connsiteY0" fmla="*/ 80837 h 1420231"/>
              <a:gd name="connsiteX1" fmla="*/ 2210322 w 2344001"/>
              <a:gd name="connsiteY1" fmla="*/ 0 h 1420231"/>
              <a:gd name="connsiteX2" fmla="*/ 2329385 w 2344001"/>
              <a:gd name="connsiteY2" fmla="*/ 169069 h 1420231"/>
              <a:gd name="connsiteX3" fmla="*/ 2072209 w 2344001"/>
              <a:gd name="connsiteY3" fmla="*/ 766763 h 1420231"/>
              <a:gd name="connsiteX4" fmla="*/ 1838847 w 2344001"/>
              <a:gd name="connsiteY4" fmla="*/ 673894 h 1420231"/>
              <a:gd name="connsiteX5" fmla="*/ 257700 w 2344001"/>
              <a:gd name="connsiteY5" fmla="*/ 1388269 h 1420231"/>
              <a:gd name="connsiteX6" fmla="*/ 138635 w 2344001"/>
              <a:gd name="connsiteY6" fmla="*/ 1069182 h 1420231"/>
              <a:gd name="connsiteX7" fmla="*/ 1636440 w 2344001"/>
              <a:gd name="connsiteY7" fmla="*/ 352425 h 1420231"/>
              <a:gd name="connsiteX8" fmla="*/ 1525149 w 2344001"/>
              <a:gd name="connsiteY8" fmla="*/ 80837 h 1420231"/>
              <a:gd name="connsiteX0" fmla="*/ 1525149 w 2344001"/>
              <a:gd name="connsiteY0" fmla="*/ 80837 h 1420231"/>
              <a:gd name="connsiteX1" fmla="*/ 2210322 w 2344001"/>
              <a:gd name="connsiteY1" fmla="*/ 0 h 1420231"/>
              <a:gd name="connsiteX2" fmla="*/ 2329385 w 2344001"/>
              <a:gd name="connsiteY2" fmla="*/ 169069 h 1420231"/>
              <a:gd name="connsiteX3" fmla="*/ 2072209 w 2344001"/>
              <a:gd name="connsiteY3" fmla="*/ 766763 h 1420231"/>
              <a:gd name="connsiteX4" fmla="*/ 1838847 w 2344001"/>
              <a:gd name="connsiteY4" fmla="*/ 673894 h 1420231"/>
              <a:gd name="connsiteX5" fmla="*/ 257700 w 2344001"/>
              <a:gd name="connsiteY5" fmla="*/ 1388269 h 1420231"/>
              <a:gd name="connsiteX6" fmla="*/ 138635 w 2344001"/>
              <a:gd name="connsiteY6" fmla="*/ 1069182 h 1420231"/>
              <a:gd name="connsiteX7" fmla="*/ 1636440 w 2344001"/>
              <a:gd name="connsiteY7" fmla="*/ 352425 h 1420231"/>
              <a:gd name="connsiteX8" fmla="*/ 1525149 w 2344001"/>
              <a:gd name="connsiteY8" fmla="*/ 80837 h 1420231"/>
              <a:gd name="connsiteX0" fmla="*/ 1525149 w 2344001"/>
              <a:gd name="connsiteY0" fmla="*/ 80837 h 1420231"/>
              <a:gd name="connsiteX1" fmla="*/ 2210322 w 2344001"/>
              <a:gd name="connsiteY1" fmla="*/ 0 h 1420231"/>
              <a:gd name="connsiteX2" fmla="*/ 2329385 w 2344001"/>
              <a:gd name="connsiteY2" fmla="*/ 169069 h 1420231"/>
              <a:gd name="connsiteX3" fmla="*/ 2072209 w 2344001"/>
              <a:gd name="connsiteY3" fmla="*/ 766763 h 1420231"/>
              <a:gd name="connsiteX4" fmla="*/ 1838847 w 2344001"/>
              <a:gd name="connsiteY4" fmla="*/ 673894 h 1420231"/>
              <a:gd name="connsiteX5" fmla="*/ 257700 w 2344001"/>
              <a:gd name="connsiteY5" fmla="*/ 1388269 h 1420231"/>
              <a:gd name="connsiteX6" fmla="*/ 138635 w 2344001"/>
              <a:gd name="connsiteY6" fmla="*/ 1069182 h 1420231"/>
              <a:gd name="connsiteX7" fmla="*/ 1636440 w 2344001"/>
              <a:gd name="connsiteY7" fmla="*/ 352425 h 1420231"/>
              <a:gd name="connsiteX8" fmla="*/ 1525149 w 2344001"/>
              <a:gd name="connsiteY8" fmla="*/ 80837 h 1420231"/>
              <a:gd name="connsiteX0" fmla="*/ 1532283 w 2351135"/>
              <a:gd name="connsiteY0" fmla="*/ 80837 h 1404748"/>
              <a:gd name="connsiteX1" fmla="*/ 2217456 w 2351135"/>
              <a:gd name="connsiteY1" fmla="*/ 0 h 1404748"/>
              <a:gd name="connsiteX2" fmla="*/ 2336519 w 2351135"/>
              <a:gd name="connsiteY2" fmla="*/ 169069 h 1404748"/>
              <a:gd name="connsiteX3" fmla="*/ 2079343 w 2351135"/>
              <a:gd name="connsiteY3" fmla="*/ 766763 h 1404748"/>
              <a:gd name="connsiteX4" fmla="*/ 1845981 w 2351135"/>
              <a:gd name="connsiteY4" fmla="*/ 673894 h 1404748"/>
              <a:gd name="connsiteX5" fmla="*/ 264834 w 2351135"/>
              <a:gd name="connsiteY5" fmla="*/ 1388269 h 1404748"/>
              <a:gd name="connsiteX6" fmla="*/ 145769 w 2351135"/>
              <a:gd name="connsiteY6" fmla="*/ 1069182 h 1404748"/>
              <a:gd name="connsiteX7" fmla="*/ 1643574 w 2351135"/>
              <a:gd name="connsiteY7" fmla="*/ 352425 h 1404748"/>
              <a:gd name="connsiteX8" fmla="*/ 1532283 w 2351135"/>
              <a:gd name="connsiteY8" fmla="*/ 80837 h 1404748"/>
              <a:gd name="connsiteX0" fmla="*/ 1532283 w 2351135"/>
              <a:gd name="connsiteY0" fmla="*/ 80837 h 1404748"/>
              <a:gd name="connsiteX1" fmla="*/ 2217456 w 2351135"/>
              <a:gd name="connsiteY1" fmla="*/ 0 h 1404748"/>
              <a:gd name="connsiteX2" fmla="*/ 2336519 w 2351135"/>
              <a:gd name="connsiteY2" fmla="*/ 169069 h 1404748"/>
              <a:gd name="connsiteX3" fmla="*/ 2101568 w 2351135"/>
              <a:gd name="connsiteY3" fmla="*/ 769938 h 1404748"/>
              <a:gd name="connsiteX4" fmla="*/ 1845981 w 2351135"/>
              <a:gd name="connsiteY4" fmla="*/ 673894 h 1404748"/>
              <a:gd name="connsiteX5" fmla="*/ 264834 w 2351135"/>
              <a:gd name="connsiteY5" fmla="*/ 1388269 h 1404748"/>
              <a:gd name="connsiteX6" fmla="*/ 145769 w 2351135"/>
              <a:gd name="connsiteY6" fmla="*/ 1069182 h 1404748"/>
              <a:gd name="connsiteX7" fmla="*/ 1643574 w 2351135"/>
              <a:gd name="connsiteY7" fmla="*/ 352425 h 1404748"/>
              <a:gd name="connsiteX8" fmla="*/ 1532283 w 2351135"/>
              <a:gd name="connsiteY8" fmla="*/ 80837 h 1404748"/>
              <a:gd name="connsiteX0" fmla="*/ 1532283 w 2351135"/>
              <a:gd name="connsiteY0" fmla="*/ 80837 h 1404748"/>
              <a:gd name="connsiteX1" fmla="*/ 2217456 w 2351135"/>
              <a:gd name="connsiteY1" fmla="*/ 0 h 1404748"/>
              <a:gd name="connsiteX2" fmla="*/ 2336519 w 2351135"/>
              <a:gd name="connsiteY2" fmla="*/ 169069 h 1404748"/>
              <a:gd name="connsiteX3" fmla="*/ 2101568 w 2351135"/>
              <a:gd name="connsiteY3" fmla="*/ 769938 h 1404748"/>
              <a:gd name="connsiteX4" fmla="*/ 1845981 w 2351135"/>
              <a:gd name="connsiteY4" fmla="*/ 673894 h 1404748"/>
              <a:gd name="connsiteX5" fmla="*/ 264834 w 2351135"/>
              <a:gd name="connsiteY5" fmla="*/ 1388269 h 1404748"/>
              <a:gd name="connsiteX6" fmla="*/ 145769 w 2351135"/>
              <a:gd name="connsiteY6" fmla="*/ 1069182 h 1404748"/>
              <a:gd name="connsiteX7" fmla="*/ 1643574 w 2351135"/>
              <a:gd name="connsiteY7" fmla="*/ 352425 h 1404748"/>
              <a:gd name="connsiteX8" fmla="*/ 1532283 w 2351135"/>
              <a:gd name="connsiteY8" fmla="*/ 80837 h 1404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1135" h="1404748">
                <a:moveTo>
                  <a:pt x="1532283" y="80837"/>
                </a:moveTo>
                <a:lnTo>
                  <a:pt x="2217456" y="0"/>
                </a:lnTo>
                <a:cubicBezTo>
                  <a:pt x="2285719" y="1587"/>
                  <a:pt x="2389700" y="17463"/>
                  <a:pt x="2336519" y="169069"/>
                </a:cubicBezTo>
                <a:cubicBezTo>
                  <a:pt x="2286512" y="315119"/>
                  <a:pt x="2155146" y="639764"/>
                  <a:pt x="2101568" y="769938"/>
                </a:cubicBezTo>
                <a:cubicBezTo>
                  <a:pt x="1986474" y="966787"/>
                  <a:pt x="1780497" y="823912"/>
                  <a:pt x="1845981" y="673894"/>
                </a:cubicBezTo>
                <a:cubicBezTo>
                  <a:pt x="1318932" y="912019"/>
                  <a:pt x="944283" y="1207294"/>
                  <a:pt x="264834" y="1388269"/>
                </a:cubicBezTo>
                <a:cubicBezTo>
                  <a:pt x="-8216" y="1484313"/>
                  <a:pt x="-106642" y="1131888"/>
                  <a:pt x="145769" y="1069182"/>
                </a:cubicBezTo>
                <a:cubicBezTo>
                  <a:pt x="791087" y="874713"/>
                  <a:pt x="1160181" y="613569"/>
                  <a:pt x="1643574" y="352425"/>
                </a:cubicBezTo>
                <a:cubicBezTo>
                  <a:pt x="1342159" y="308726"/>
                  <a:pt x="1416980" y="100723"/>
                  <a:pt x="1532283" y="80837"/>
                </a:cubicBezTo>
                <a:close/>
              </a:path>
            </a:pathLst>
          </a:custGeom>
          <a:solidFill>
            <a:schemeClr val="tx2"/>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91"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0" name="Rectangle 5">
            <a:extLst>
              <a:ext uri="{FF2B5EF4-FFF2-40B4-BE49-F238E27FC236}">
                <a16:creationId xmlns:a16="http://schemas.microsoft.com/office/drawing/2014/main" id="{227B65CF-7253-FC15-039F-366D24536FA5}"/>
              </a:ext>
            </a:extLst>
          </p:cNvPr>
          <p:cNvSpPr/>
          <p:nvPr/>
        </p:nvSpPr>
        <p:spPr>
          <a:xfrm>
            <a:off x="3327996" y="2923052"/>
            <a:ext cx="1404637" cy="839237"/>
          </a:xfrm>
          <a:custGeom>
            <a:avLst/>
            <a:gdLst>
              <a:gd name="connsiteX0" fmla="*/ 0 w 934453"/>
              <a:gd name="connsiteY0" fmla="*/ 0 h 862264"/>
              <a:gd name="connsiteX1" fmla="*/ 934453 w 934453"/>
              <a:gd name="connsiteY1" fmla="*/ 0 h 862264"/>
              <a:gd name="connsiteX2" fmla="*/ 934453 w 934453"/>
              <a:gd name="connsiteY2" fmla="*/ 862264 h 862264"/>
              <a:gd name="connsiteX3" fmla="*/ 0 w 934453"/>
              <a:gd name="connsiteY3" fmla="*/ 862264 h 862264"/>
              <a:gd name="connsiteX4" fmla="*/ 0 w 934453"/>
              <a:gd name="connsiteY4" fmla="*/ 0 h 862264"/>
              <a:gd name="connsiteX0" fmla="*/ 0 w 934453"/>
              <a:gd name="connsiteY0" fmla="*/ 2255 h 864519"/>
              <a:gd name="connsiteX1" fmla="*/ 787567 w 934453"/>
              <a:gd name="connsiteY1" fmla="*/ 0 h 864519"/>
              <a:gd name="connsiteX2" fmla="*/ 934453 w 934453"/>
              <a:gd name="connsiteY2" fmla="*/ 2255 h 864519"/>
              <a:gd name="connsiteX3" fmla="*/ 934453 w 934453"/>
              <a:gd name="connsiteY3" fmla="*/ 864519 h 864519"/>
              <a:gd name="connsiteX4" fmla="*/ 0 w 934453"/>
              <a:gd name="connsiteY4" fmla="*/ 864519 h 864519"/>
              <a:gd name="connsiteX5" fmla="*/ 0 w 934453"/>
              <a:gd name="connsiteY5" fmla="*/ 2255 h 864519"/>
              <a:gd name="connsiteX0" fmla="*/ 0 w 934453"/>
              <a:gd name="connsiteY0" fmla="*/ 2255 h 864519"/>
              <a:gd name="connsiteX1" fmla="*/ 787567 w 934453"/>
              <a:gd name="connsiteY1" fmla="*/ 0 h 864519"/>
              <a:gd name="connsiteX2" fmla="*/ 934453 w 934453"/>
              <a:gd name="connsiteY2" fmla="*/ 2255 h 864519"/>
              <a:gd name="connsiteX3" fmla="*/ 932823 w 934453"/>
              <a:gd name="connsiteY3" fmla="*/ 121444 h 864519"/>
              <a:gd name="connsiteX4" fmla="*/ 934453 w 934453"/>
              <a:gd name="connsiteY4" fmla="*/ 864519 h 864519"/>
              <a:gd name="connsiteX5" fmla="*/ 0 w 934453"/>
              <a:gd name="connsiteY5" fmla="*/ 864519 h 864519"/>
              <a:gd name="connsiteX6" fmla="*/ 0 w 934453"/>
              <a:gd name="connsiteY6" fmla="*/ 2255 h 864519"/>
              <a:gd name="connsiteX0" fmla="*/ 0 w 934453"/>
              <a:gd name="connsiteY0" fmla="*/ 2255 h 864519"/>
              <a:gd name="connsiteX1" fmla="*/ 106530 w 934453"/>
              <a:gd name="connsiteY1" fmla="*/ 2382 h 864519"/>
              <a:gd name="connsiteX2" fmla="*/ 787567 w 934453"/>
              <a:gd name="connsiteY2" fmla="*/ 0 h 864519"/>
              <a:gd name="connsiteX3" fmla="*/ 934453 w 934453"/>
              <a:gd name="connsiteY3" fmla="*/ 2255 h 864519"/>
              <a:gd name="connsiteX4" fmla="*/ 932823 w 934453"/>
              <a:gd name="connsiteY4" fmla="*/ 121444 h 864519"/>
              <a:gd name="connsiteX5" fmla="*/ 934453 w 934453"/>
              <a:gd name="connsiteY5" fmla="*/ 864519 h 864519"/>
              <a:gd name="connsiteX6" fmla="*/ 0 w 934453"/>
              <a:gd name="connsiteY6" fmla="*/ 864519 h 864519"/>
              <a:gd name="connsiteX7" fmla="*/ 0 w 934453"/>
              <a:gd name="connsiteY7" fmla="*/ 2255 h 864519"/>
              <a:gd name="connsiteX0" fmla="*/ 627 w 935080"/>
              <a:gd name="connsiteY0" fmla="*/ 2255 h 864519"/>
              <a:gd name="connsiteX1" fmla="*/ 107157 w 935080"/>
              <a:gd name="connsiteY1" fmla="*/ 2382 h 864519"/>
              <a:gd name="connsiteX2" fmla="*/ 788194 w 935080"/>
              <a:gd name="connsiteY2" fmla="*/ 0 h 864519"/>
              <a:gd name="connsiteX3" fmla="*/ 935080 w 935080"/>
              <a:gd name="connsiteY3" fmla="*/ 2255 h 864519"/>
              <a:gd name="connsiteX4" fmla="*/ 933450 w 935080"/>
              <a:gd name="connsiteY4" fmla="*/ 121444 h 864519"/>
              <a:gd name="connsiteX5" fmla="*/ 935080 w 935080"/>
              <a:gd name="connsiteY5" fmla="*/ 864519 h 864519"/>
              <a:gd name="connsiteX6" fmla="*/ 627 w 935080"/>
              <a:gd name="connsiteY6" fmla="*/ 864519 h 864519"/>
              <a:gd name="connsiteX7" fmla="*/ 0 w 935080"/>
              <a:gd name="connsiteY7" fmla="*/ 138113 h 864519"/>
              <a:gd name="connsiteX8" fmla="*/ 627 w 935080"/>
              <a:gd name="connsiteY8" fmla="*/ 2255 h 864519"/>
              <a:gd name="connsiteX0" fmla="*/ 627 w 935080"/>
              <a:gd name="connsiteY0" fmla="*/ 2255 h 864519"/>
              <a:gd name="connsiteX1" fmla="*/ 107157 w 935080"/>
              <a:gd name="connsiteY1" fmla="*/ 2382 h 864519"/>
              <a:gd name="connsiteX2" fmla="*/ 788194 w 935080"/>
              <a:gd name="connsiteY2" fmla="*/ 0 h 864519"/>
              <a:gd name="connsiteX3" fmla="*/ 935080 w 935080"/>
              <a:gd name="connsiteY3" fmla="*/ 2255 h 864519"/>
              <a:gd name="connsiteX4" fmla="*/ 933450 w 935080"/>
              <a:gd name="connsiteY4" fmla="*/ 121444 h 864519"/>
              <a:gd name="connsiteX5" fmla="*/ 935080 w 935080"/>
              <a:gd name="connsiteY5" fmla="*/ 864519 h 864519"/>
              <a:gd name="connsiteX6" fmla="*/ 428625 w 935080"/>
              <a:gd name="connsiteY6" fmla="*/ 864394 h 864519"/>
              <a:gd name="connsiteX7" fmla="*/ 627 w 935080"/>
              <a:gd name="connsiteY7" fmla="*/ 864519 h 864519"/>
              <a:gd name="connsiteX8" fmla="*/ 0 w 935080"/>
              <a:gd name="connsiteY8" fmla="*/ 138113 h 864519"/>
              <a:gd name="connsiteX9" fmla="*/ 627 w 935080"/>
              <a:gd name="connsiteY9" fmla="*/ 2255 h 864519"/>
              <a:gd name="connsiteX0" fmla="*/ 627 w 935080"/>
              <a:gd name="connsiteY0" fmla="*/ 2255 h 864519"/>
              <a:gd name="connsiteX1" fmla="*/ 107157 w 935080"/>
              <a:gd name="connsiteY1" fmla="*/ 2382 h 864519"/>
              <a:gd name="connsiteX2" fmla="*/ 788194 w 935080"/>
              <a:gd name="connsiteY2" fmla="*/ 0 h 864519"/>
              <a:gd name="connsiteX3" fmla="*/ 935080 w 935080"/>
              <a:gd name="connsiteY3" fmla="*/ 2255 h 864519"/>
              <a:gd name="connsiteX4" fmla="*/ 933450 w 935080"/>
              <a:gd name="connsiteY4" fmla="*/ 121444 h 864519"/>
              <a:gd name="connsiteX5" fmla="*/ 935080 w 935080"/>
              <a:gd name="connsiteY5" fmla="*/ 864519 h 864519"/>
              <a:gd name="connsiteX6" fmla="*/ 616744 w 935080"/>
              <a:gd name="connsiteY6" fmla="*/ 862013 h 864519"/>
              <a:gd name="connsiteX7" fmla="*/ 428625 w 935080"/>
              <a:gd name="connsiteY7" fmla="*/ 864394 h 864519"/>
              <a:gd name="connsiteX8" fmla="*/ 627 w 935080"/>
              <a:gd name="connsiteY8" fmla="*/ 864519 h 864519"/>
              <a:gd name="connsiteX9" fmla="*/ 0 w 935080"/>
              <a:gd name="connsiteY9" fmla="*/ 138113 h 864519"/>
              <a:gd name="connsiteX10" fmla="*/ 627 w 935080"/>
              <a:gd name="connsiteY10" fmla="*/ 2255 h 864519"/>
              <a:gd name="connsiteX0" fmla="*/ 627 w 935080"/>
              <a:gd name="connsiteY0" fmla="*/ 2255 h 864519"/>
              <a:gd name="connsiteX1" fmla="*/ 107157 w 935080"/>
              <a:gd name="connsiteY1" fmla="*/ 2382 h 864519"/>
              <a:gd name="connsiteX2" fmla="*/ 788194 w 935080"/>
              <a:gd name="connsiteY2" fmla="*/ 0 h 864519"/>
              <a:gd name="connsiteX3" fmla="*/ 935080 w 935080"/>
              <a:gd name="connsiteY3" fmla="*/ 2255 h 864519"/>
              <a:gd name="connsiteX4" fmla="*/ 933450 w 935080"/>
              <a:gd name="connsiteY4" fmla="*/ 121444 h 864519"/>
              <a:gd name="connsiteX5" fmla="*/ 935080 w 935080"/>
              <a:gd name="connsiteY5" fmla="*/ 864519 h 864519"/>
              <a:gd name="connsiteX6" fmla="*/ 616744 w 935080"/>
              <a:gd name="connsiteY6" fmla="*/ 862013 h 864519"/>
              <a:gd name="connsiteX7" fmla="*/ 428625 w 935080"/>
              <a:gd name="connsiteY7" fmla="*/ 864394 h 864519"/>
              <a:gd name="connsiteX8" fmla="*/ 0 w 935080"/>
              <a:gd name="connsiteY8" fmla="*/ 138113 h 864519"/>
              <a:gd name="connsiteX9" fmla="*/ 627 w 935080"/>
              <a:gd name="connsiteY9" fmla="*/ 2255 h 864519"/>
              <a:gd name="connsiteX0" fmla="*/ 0 w 934453"/>
              <a:gd name="connsiteY0" fmla="*/ 2255 h 864519"/>
              <a:gd name="connsiteX1" fmla="*/ 106530 w 934453"/>
              <a:gd name="connsiteY1" fmla="*/ 2382 h 864519"/>
              <a:gd name="connsiteX2" fmla="*/ 787567 w 934453"/>
              <a:gd name="connsiteY2" fmla="*/ 0 h 864519"/>
              <a:gd name="connsiteX3" fmla="*/ 934453 w 934453"/>
              <a:gd name="connsiteY3" fmla="*/ 2255 h 864519"/>
              <a:gd name="connsiteX4" fmla="*/ 932823 w 934453"/>
              <a:gd name="connsiteY4" fmla="*/ 121444 h 864519"/>
              <a:gd name="connsiteX5" fmla="*/ 934453 w 934453"/>
              <a:gd name="connsiteY5" fmla="*/ 864519 h 864519"/>
              <a:gd name="connsiteX6" fmla="*/ 616117 w 934453"/>
              <a:gd name="connsiteY6" fmla="*/ 862013 h 864519"/>
              <a:gd name="connsiteX7" fmla="*/ 427998 w 934453"/>
              <a:gd name="connsiteY7" fmla="*/ 864394 h 864519"/>
              <a:gd name="connsiteX8" fmla="*/ 99385 w 934453"/>
              <a:gd name="connsiteY8" fmla="*/ 307181 h 864519"/>
              <a:gd name="connsiteX9" fmla="*/ 0 w 934453"/>
              <a:gd name="connsiteY9" fmla="*/ 2255 h 864519"/>
              <a:gd name="connsiteX0" fmla="*/ 0 w 889209"/>
              <a:gd name="connsiteY0" fmla="*/ 133224 h 864519"/>
              <a:gd name="connsiteX1" fmla="*/ 61286 w 889209"/>
              <a:gd name="connsiteY1" fmla="*/ 2382 h 864519"/>
              <a:gd name="connsiteX2" fmla="*/ 742323 w 889209"/>
              <a:gd name="connsiteY2" fmla="*/ 0 h 864519"/>
              <a:gd name="connsiteX3" fmla="*/ 889209 w 889209"/>
              <a:gd name="connsiteY3" fmla="*/ 2255 h 864519"/>
              <a:gd name="connsiteX4" fmla="*/ 887579 w 889209"/>
              <a:gd name="connsiteY4" fmla="*/ 121444 h 864519"/>
              <a:gd name="connsiteX5" fmla="*/ 889209 w 889209"/>
              <a:gd name="connsiteY5" fmla="*/ 864519 h 864519"/>
              <a:gd name="connsiteX6" fmla="*/ 570873 w 889209"/>
              <a:gd name="connsiteY6" fmla="*/ 862013 h 864519"/>
              <a:gd name="connsiteX7" fmla="*/ 382754 w 889209"/>
              <a:gd name="connsiteY7" fmla="*/ 864394 h 864519"/>
              <a:gd name="connsiteX8" fmla="*/ 54141 w 889209"/>
              <a:gd name="connsiteY8" fmla="*/ 307181 h 864519"/>
              <a:gd name="connsiteX9" fmla="*/ 0 w 889209"/>
              <a:gd name="connsiteY9" fmla="*/ 133224 h 864519"/>
              <a:gd name="connsiteX0" fmla="*/ 42943 w 932152"/>
              <a:gd name="connsiteY0" fmla="*/ 133224 h 864519"/>
              <a:gd name="connsiteX1" fmla="*/ 104229 w 932152"/>
              <a:gd name="connsiteY1" fmla="*/ 2382 h 864519"/>
              <a:gd name="connsiteX2" fmla="*/ 785266 w 932152"/>
              <a:gd name="connsiteY2" fmla="*/ 0 h 864519"/>
              <a:gd name="connsiteX3" fmla="*/ 932152 w 932152"/>
              <a:gd name="connsiteY3" fmla="*/ 2255 h 864519"/>
              <a:gd name="connsiteX4" fmla="*/ 930522 w 932152"/>
              <a:gd name="connsiteY4" fmla="*/ 121444 h 864519"/>
              <a:gd name="connsiteX5" fmla="*/ 932152 w 932152"/>
              <a:gd name="connsiteY5" fmla="*/ 864519 h 864519"/>
              <a:gd name="connsiteX6" fmla="*/ 613816 w 932152"/>
              <a:gd name="connsiteY6" fmla="*/ 862013 h 864519"/>
              <a:gd name="connsiteX7" fmla="*/ 425697 w 932152"/>
              <a:gd name="connsiteY7" fmla="*/ 864394 h 864519"/>
              <a:gd name="connsiteX8" fmla="*/ 97084 w 932152"/>
              <a:gd name="connsiteY8" fmla="*/ 307181 h 864519"/>
              <a:gd name="connsiteX9" fmla="*/ 42943 w 932152"/>
              <a:gd name="connsiteY9" fmla="*/ 133224 h 864519"/>
              <a:gd name="connsiteX0" fmla="*/ 50330 w 939539"/>
              <a:gd name="connsiteY0" fmla="*/ 133224 h 864519"/>
              <a:gd name="connsiteX1" fmla="*/ 111616 w 939539"/>
              <a:gd name="connsiteY1" fmla="*/ 2382 h 864519"/>
              <a:gd name="connsiteX2" fmla="*/ 792653 w 939539"/>
              <a:gd name="connsiteY2" fmla="*/ 0 h 864519"/>
              <a:gd name="connsiteX3" fmla="*/ 939539 w 939539"/>
              <a:gd name="connsiteY3" fmla="*/ 2255 h 864519"/>
              <a:gd name="connsiteX4" fmla="*/ 937909 w 939539"/>
              <a:gd name="connsiteY4" fmla="*/ 121444 h 864519"/>
              <a:gd name="connsiteX5" fmla="*/ 939539 w 939539"/>
              <a:gd name="connsiteY5" fmla="*/ 864519 h 864519"/>
              <a:gd name="connsiteX6" fmla="*/ 621203 w 939539"/>
              <a:gd name="connsiteY6" fmla="*/ 862013 h 864519"/>
              <a:gd name="connsiteX7" fmla="*/ 433084 w 939539"/>
              <a:gd name="connsiteY7" fmla="*/ 864394 h 864519"/>
              <a:gd name="connsiteX8" fmla="*/ 104471 w 939539"/>
              <a:gd name="connsiteY8" fmla="*/ 307181 h 864519"/>
              <a:gd name="connsiteX9" fmla="*/ 50330 w 939539"/>
              <a:gd name="connsiteY9" fmla="*/ 133224 h 864519"/>
              <a:gd name="connsiteX0" fmla="*/ 50330 w 939539"/>
              <a:gd name="connsiteY0" fmla="*/ 133224 h 864519"/>
              <a:gd name="connsiteX1" fmla="*/ 792653 w 939539"/>
              <a:gd name="connsiteY1" fmla="*/ 0 h 864519"/>
              <a:gd name="connsiteX2" fmla="*/ 939539 w 939539"/>
              <a:gd name="connsiteY2" fmla="*/ 2255 h 864519"/>
              <a:gd name="connsiteX3" fmla="*/ 937909 w 939539"/>
              <a:gd name="connsiteY3" fmla="*/ 121444 h 864519"/>
              <a:gd name="connsiteX4" fmla="*/ 939539 w 939539"/>
              <a:gd name="connsiteY4" fmla="*/ 864519 h 864519"/>
              <a:gd name="connsiteX5" fmla="*/ 621203 w 939539"/>
              <a:gd name="connsiteY5" fmla="*/ 862013 h 864519"/>
              <a:gd name="connsiteX6" fmla="*/ 433084 w 939539"/>
              <a:gd name="connsiteY6" fmla="*/ 864394 h 864519"/>
              <a:gd name="connsiteX7" fmla="*/ 104471 w 939539"/>
              <a:gd name="connsiteY7" fmla="*/ 307181 h 864519"/>
              <a:gd name="connsiteX8" fmla="*/ 50330 w 939539"/>
              <a:gd name="connsiteY8" fmla="*/ 133224 h 864519"/>
              <a:gd name="connsiteX0" fmla="*/ 68023 w 900082"/>
              <a:gd name="connsiteY0" fmla="*/ 80837 h 864519"/>
              <a:gd name="connsiteX1" fmla="*/ 753196 w 900082"/>
              <a:gd name="connsiteY1" fmla="*/ 0 h 864519"/>
              <a:gd name="connsiteX2" fmla="*/ 900082 w 900082"/>
              <a:gd name="connsiteY2" fmla="*/ 2255 h 864519"/>
              <a:gd name="connsiteX3" fmla="*/ 898452 w 900082"/>
              <a:gd name="connsiteY3" fmla="*/ 121444 h 864519"/>
              <a:gd name="connsiteX4" fmla="*/ 900082 w 900082"/>
              <a:gd name="connsiteY4" fmla="*/ 864519 h 864519"/>
              <a:gd name="connsiteX5" fmla="*/ 581746 w 900082"/>
              <a:gd name="connsiteY5" fmla="*/ 862013 h 864519"/>
              <a:gd name="connsiteX6" fmla="*/ 393627 w 900082"/>
              <a:gd name="connsiteY6" fmla="*/ 864394 h 864519"/>
              <a:gd name="connsiteX7" fmla="*/ 65014 w 900082"/>
              <a:gd name="connsiteY7" fmla="*/ 307181 h 864519"/>
              <a:gd name="connsiteX8" fmla="*/ 68023 w 900082"/>
              <a:gd name="connsiteY8" fmla="*/ 80837 h 864519"/>
              <a:gd name="connsiteX0" fmla="*/ 91590 w 923649"/>
              <a:gd name="connsiteY0" fmla="*/ 80837 h 864519"/>
              <a:gd name="connsiteX1" fmla="*/ 776763 w 923649"/>
              <a:gd name="connsiteY1" fmla="*/ 0 h 864519"/>
              <a:gd name="connsiteX2" fmla="*/ 923649 w 923649"/>
              <a:gd name="connsiteY2" fmla="*/ 2255 h 864519"/>
              <a:gd name="connsiteX3" fmla="*/ 922019 w 923649"/>
              <a:gd name="connsiteY3" fmla="*/ 121444 h 864519"/>
              <a:gd name="connsiteX4" fmla="*/ 923649 w 923649"/>
              <a:gd name="connsiteY4" fmla="*/ 864519 h 864519"/>
              <a:gd name="connsiteX5" fmla="*/ 605313 w 923649"/>
              <a:gd name="connsiteY5" fmla="*/ 862013 h 864519"/>
              <a:gd name="connsiteX6" fmla="*/ 417194 w 923649"/>
              <a:gd name="connsiteY6" fmla="*/ 864394 h 864519"/>
              <a:gd name="connsiteX7" fmla="*/ 40956 w 923649"/>
              <a:gd name="connsiteY7" fmla="*/ 280987 h 864519"/>
              <a:gd name="connsiteX8" fmla="*/ 91590 w 923649"/>
              <a:gd name="connsiteY8" fmla="*/ 80837 h 864519"/>
              <a:gd name="connsiteX0" fmla="*/ 39499 w 871558"/>
              <a:gd name="connsiteY0" fmla="*/ 80837 h 864519"/>
              <a:gd name="connsiteX1" fmla="*/ 724672 w 871558"/>
              <a:gd name="connsiteY1" fmla="*/ 0 h 864519"/>
              <a:gd name="connsiteX2" fmla="*/ 871558 w 871558"/>
              <a:gd name="connsiteY2" fmla="*/ 2255 h 864519"/>
              <a:gd name="connsiteX3" fmla="*/ 869928 w 871558"/>
              <a:gd name="connsiteY3" fmla="*/ 121444 h 864519"/>
              <a:gd name="connsiteX4" fmla="*/ 871558 w 871558"/>
              <a:gd name="connsiteY4" fmla="*/ 864519 h 864519"/>
              <a:gd name="connsiteX5" fmla="*/ 553222 w 871558"/>
              <a:gd name="connsiteY5" fmla="*/ 862013 h 864519"/>
              <a:gd name="connsiteX6" fmla="*/ 365103 w 871558"/>
              <a:gd name="connsiteY6" fmla="*/ 864394 h 864519"/>
              <a:gd name="connsiteX7" fmla="*/ 150790 w 871558"/>
              <a:gd name="connsiteY7" fmla="*/ 352425 h 864519"/>
              <a:gd name="connsiteX8" fmla="*/ 39499 w 871558"/>
              <a:gd name="connsiteY8" fmla="*/ 80837 h 864519"/>
              <a:gd name="connsiteX0" fmla="*/ 100076 w 932135"/>
              <a:gd name="connsiteY0" fmla="*/ 80837 h 864519"/>
              <a:gd name="connsiteX1" fmla="*/ 785249 w 932135"/>
              <a:gd name="connsiteY1" fmla="*/ 0 h 864519"/>
              <a:gd name="connsiteX2" fmla="*/ 932135 w 932135"/>
              <a:gd name="connsiteY2" fmla="*/ 2255 h 864519"/>
              <a:gd name="connsiteX3" fmla="*/ 930505 w 932135"/>
              <a:gd name="connsiteY3" fmla="*/ 121444 h 864519"/>
              <a:gd name="connsiteX4" fmla="*/ 932135 w 932135"/>
              <a:gd name="connsiteY4" fmla="*/ 864519 h 864519"/>
              <a:gd name="connsiteX5" fmla="*/ 613799 w 932135"/>
              <a:gd name="connsiteY5" fmla="*/ 862013 h 864519"/>
              <a:gd name="connsiteX6" fmla="*/ 425680 w 932135"/>
              <a:gd name="connsiteY6" fmla="*/ 864394 h 864519"/>
              <a:gd name="connsiteX7" fmla="*/ 211367 w 932135"/>
              <a:gd name="connsiteY7" fmla="*/ 352425 h 864519"/>
              <a:gd name="connsiteX8" fmla="*/ 100076 w 932135"/>
              <a:gd name="connsiteY8" fmla="*/ 80837 h 864519"/>
              <a:gd name="connsiteX0" fmla="*/ 100926 w 932985"/>
              <a:gd name="connsiteY0" fmla="*/ 80837 h 864519"/>
              <a:gd name="connsiteX1" fmla="*/ 786099 w 932985"/>
              <a:gd name="connsiteY1" fmla="*/ 0 h 864519"/>
              <a:gd name="connsiteX2" fmla="*/ 932985 w 932985"/>
              <a:gd name="connsiteY2" fmla="*/ 2255 h 864519"/>
              <a:gd name="connsiteX3" fmla="*/ 931355 w 932985"/>
              <a:gd name="connsiteY3" fmla="*/ 121444 h 864519"/>
              <a:gd name="connsiteX4" fmla="*/ 932985 w 932985"/>
              <a:gd name="connsiteY4" fmla="*/ 864519 h 864519"/>
              <a:gd name="connsiteX5" fmla="*/ 614649 w 932985"/>
              <a:gd name="connsiteY5" fmla="*/ 862013 h 864519"/>
              <a:gd name="connsiteX6" fmla="*/ 426530 w 932985"/>
              <a:gd name="connsiteY6" fmla="*/ 864394 h 864519"/>
              <a:gd name="connsiteX7" fmla="*/ 212217 w 932985"/>
              <a:gd name="connsiteY7" fmla="*/ 352425 h 864519"/>
              <a:gd name="connsiteX8" fmla="*/ 100926 w 932985"/>
              <a:gd name="connsiteY8" fmla="*/ 80837 h 864519"/>
              <a:gd name="connsiteX0" fmla="*/ 100926 w 932985"/>
              <a:gd name="connsiteY0" fmla="*/ 80837 h 864519"/>
              <a:gd name="connsiteX1" fmla="*/ 786099 w 932985"/>
              <a:gd name="connsiteY1" fmla="*/ 0 h 864519"/>
              <a:gd name="connsiteX2" fmla="*/ 931355 w 932985"/>
              <a:gd name="connsiteY2" fmla="*/ 121444 h 864519"/>
              <a:gd name="connsiteX3" fmla="*/ 932985 w 932985"/>
              <a:gd name="connsiteY3" fmla="*/ 864519 h 864519"/>
              <a:gd name="connsiteX4" fmla="*/ 614649 w 932985"/>
              <a:gd name="connsiteY4" fmla="*/ 862013 h 864519"/>
              <a:gd name="connsiteX5" fmla="*/ 426530 w 932985"/>
              <a:gd name="connsiteY5" fmla="*/ 864394 h 864519"/>
              <a:gd name="connsiteX6" fmla="*/ 212217 w 932985"/>
              <a:gd name="connsiteY6" fmla="*/ 352425 h 864519"/>
              <a:gd name="connsiteX7" fmla="*/ 100926 w 932985"/>
              <a:gd name="connsiteY7" fmla="*/ 80837 h 864519"/>
              <a:gd name="connsiteX0" fmla="*/ 100926 w 932985"/>
              <a:gd name="connsiteY0" fmla="*/ 80837 h 864519"/>
              <a:gd name="connsiteX1" fmla="*/ 786099 w 932985"/>
              <a:gd name="connsiteY1" fmla="*/ 0 h 864519"/>
              <a:gd name="connsiteX2" fmla="*/ 905162 w 932985"/>
              <a:gd name="connsiteY2" fmla="*/ 169069 h 864519"/>
              <a:gd name="connsiteX3" fmla="*/ 932985 w 932985"/>
              <a:gd name="connsiteY3" fmla="*/ 864519 h 864519"/>
              <a:gd name="connsiteX4" fmla="*/ 614649 w 932985"/>
              <a:gd name="connsiteY4" fmla="*/ 862013 h 864519"/>
              <a:gd name="connsiteX5" fmla="*/ 426530 w 932985"/>
              <a:gd name="connsiteY5" fmla="*/ 864394 h 864519"/>
              <a:gd name="connsiteX6" fmla="*/ 212217 w 932985"/>
              <a:gd name="connsiteY6" fmla="*/ 352425 h 864519"/>
              <a:gd name="connsiteX7" fmla="*/ 100926 w 932985"/>
              <a:gd name="connsiteY7" fmla="*/ 80837 h 864519"/>
              <a:gd name="connsiteX0" fmla="*/ 100926 w 932985"/>
              <a:gd name="connsiteY0" fmla="*/ 80837 h 864519"/>
              <a:gd name="connsiteX1" fmla="*/ 786099 w 932985"/>
              <a:gd name="connsiteY1" fmla="*/ 0 h 864519"/>
              <a:gd name="connsiteX2" fmla="*/ 905162 w 932985"/>
              <a:gd name="connsiteY2" fmla="*/ 169069 h 864519"/>
              <a:gd name="connsiteX3" fmla="*/ 932985 w 932985"/>
              <a:gd name="connsiteY3" fmla="*/ 864519 h 864519"/>
              <a:gd name="connsiteX4" fmla="*/ 614649 w 932985"/>
              <a:gd name="connsiteY4" fmla="*/ 862013 h 864519"/>
              <a:gd name="connsiteX5" fmla="*/ 426530 w 932985"/>
              <a:gd name="connsiteY5" fmla="*/ 864394 h 864519"/>
              <a:gd name="connsiteX6" fmla="*/ 212217 w 932985"/>
              <a:gd name="connsiteY6" fmla="*/ 352425 h 864519"/>
              <a:gd name="connsiteX7" fmla="*/ 100926 w 932985"/>
              <a:gd name="connsiteY7" fmla="*/ 80837 h 864519"/>
              <a:gd name="connsiteX0" fmla="*/ 100926 w 932985"/>
              <a:gd name="connsiteY0" fmla="*/ 80837 h 864519"/>
              <a:gd name="connsiteX1" fmla="*/ 786099 w 932985"/>
              <a:gd name="connsiteY1" fmla="*/ 0 h 864519"/>
              <a:gd name="connsiteX2" fmla="*/ 905162 w 932985"/>
              <a:gd name="connsiteY2" fmla="*/ 169069 h 864519"/>
              <a:gd name="connsiteX3" fmla="*/ 932985 w 932985"/>
              <a:gd name="connsiteY3" fmla="*/ 864519 h 864519"/>
              <a:gd name="connsiteX4" fmla="*/ 614649 w 932985"/>
              <a:gd name="connsiteY4" fmla="*/ 862013 h 864519"/>
              <a:gd name="connsiteX5" fmla="*/ 426530 w 932985"/>
              <a:gd name="connsiteY5" fmla="*/ 864394 h 864519"/>
              <a:gd name="connsiteX6" fmla="*/ 212217 w 932985"/>
              <a:gd name="connsiteY6" fmla="*/ 352425 h 864519"/>
              <a:gd name="connsiteX7" fmla="*/ 100926 w 932985"/>
              <a:gd name="connsiteY7" fmla="*/ 80837 h 864519"/>
              <a:gd name="connsiteX0" fmla="*/ 100926 w 919778"/>
              <a:gd name="connsiteY0" fmla="*/ 80837 h 864394"/>
              <a:gd name="connsiteX1" fmla="*/ 786099 w 919778"/>
              <a:gd name="connsiteY1" fmla="*/ 0 h 864394"/>
              <a:gd name="connsiteX2" fmla="*/ 905162 w 919778"/>
              <a:gd name="connsiteY2" fmla="*/ 169069 h 864394"/>
              <a:gd name="connsiteX3" fmla="*/ 614649 w 919778"/>
              <a:gd name="connsiteY3" fmla="*/ 862013 h 864394"/>
              <a:gd name="connsiteX4" fmla="*/ 426530 w 919778"/>
              <a:gd name="connsiteY4" fmla="*/ 864394 h 864394"/>
              <a:gd name="connsiteX5" fmla="*/ 212217 w 919778"/>
              <a:gd name="connsiteY5" fmla="*/ 352425 h 864394"/>
              <a:gd name="connsiteX6" fmla="*/ 100926 w 919778"/>
              <a:gd name="connsiteY6" fmla="*/ 80837 h 864394"/>
              <a:gd name="connsiteX0" fmla="*/ 100926 w 919778"/>
              <a:gd name="connsiteY0" fmla="*/ 80837 h 862013"/>
              <a:gd name="connsiteX1" fmla="*/ 786099 w 919778"/>
              <a:gd name="connsiteY1" fmla="*/ 0 h 862013"/>
              <a:gd name="connsiteX2" fmla="*/ 905162 w 919778"/>
              <a:gd name="connsiteY2" fmla="*/ 169069 h 862013"/>
              <a:gd name="connsiteX3" fmla="*/ 614649 w 919778"/>
              <a:gd name="connsiteY3" fmla="*/ 862013 h 862013"/>
              <a:gd name="connsiteX4" fmla="*/ 414624 w 919778"/>
              <a:gd name="connsiteY4" fmla="*/ 673894 h 862013"/>
              <a:gd name="connsiteX5" fmla="*/ 212217 w 919778"/>
              <a:gd name="connsiteY5" fmla="*/ 352425 h 862013"/>
              <a:gd name="connsiteX6" fmla="*/ 100926 w 919778"/>
              <a:gd name="connsiteY6" fmla="*/ 80837 h 862013"/>
              <a:gd name="connsiteX0" fmla="*/ 100926 w 919778"/>
              <a:gd name="connsiteY0" fmla="*/ 80837 h 766763"/>
              <a:gd name="connsiteX1" fmla="*/ 786099 w 919778"/>
              <a:gd name="connsiteY1" fmla="*/ 0 h 766763"/>
              <a:gd name="connsiteX2" fmla="*/ 905162 w 919778"/>
              <a:gd name="connsiteY2" fmla="*/ 169069 h 766763"/>
              <a:gd name="connsiteX3" fmla="*/ 647986 w 919778"/>
              <a:gd name="connsiteY3" fmla="*/ 766763 h 766763"/>
              <a:gd name="connsiteX4" fmla="*/ 414624 w 919778"/>
              <a:gd name="connsiteY4" fmla="*/ 673894 h 766763"/>
              <a:gd name="connsiteX5" fmla="*/ 212217 w 919778"/>
              <a:gd name="connsiteY5" fmla="*/ 352425 h 766763"/>
              <a:gd name="connsiteX6" fmla="*/ 100926 w 919778"/>
              <a:gd name="connsiteY6" fmla="*/ 80837 h 766763"/>
              <a:gd name="connsiteX0" fmla="*/ 100926 w 919778"/>
              <a:gd name="connsiteY0" fmla="*/ 80837 h 879256"/>
              <a:gd name="connsiteX1" fmla="*/ 786099 w 919778"/>
              <a:gd name="connsiteY1" fmla="*/ 0 h 879256"/>
              <a:gd name="connsiteX2" fmla="*/ 905162 w 919778"/>
              <a:gd name="connsiteY2" fmla="*/ 169069 h 879256"/>
              <a:gd name="connsiteX3" fmla="*/ 647986 w 919778"/>
              <a:gd name="connsiteY3" fmla="*/ 766763 h 879256"/>
              <a:gd name="connsiteX4" fmla="*/ 481300 w 919778"/>
              <a:gd name="connsiteY4" fmla="*/ 878683 h 879256"/>
              <a:gd name="connsiteX5" fmla="*/ 414624 w 919778"/>
              <a:gd name="connsiteY5" fmla="*/ 673894 h 879256"/>
              <a:gd name="connsiteX6" fmla="*/ 212217 w 919778"/>
              <a:gd name="connsiteY6" fmla="*/ 352425 h 879256"/>
              <a:gd name="connsiteX7" fmla="*/ 100926 w 919778"/>
              <a:gd name="connsiteY7" fmla="*/ 80837 h 879256"/>
              <a:gd name="connsiteX0" fmla="*/ 100926 w 919778"/>
              <a:gd name="connsiteY0" fmla="*/ 80837 h 797494"/>
              <a:gd name="connsiteX1" fmla="*/ 786099 w 919778"/>
              <a:gd name="connsiteY1" fmla="*/ 0 h 797494"/>
              <a:gd name="connsiteX2" fmla="*/ 905162 w 919778"/>
              <a:gd name="connsiteY2" fmla="*/ 169069 h 797494"/>
              <a:gd name="connsiteX3" fmla="*/ 647986 w 919778"/>
              <a:gd name="connsiteY3" fmla="*/ 766763 h 797494"/>
              <a:gd name="connsiteX4" fmla="*/ 414624 w 919778"/>
              <a:gd name="connsiteY4" fmla="*/ 673894 h 797494"/>
              <a:gd name="connsiteX5" fmla="*/ 212217 w 919778"/>
              <a:gd name="connsiteY5" fmla="*/ 352425 h 797494"/>
              <a:gd name="connsiteX6" fmla="*/ 100926 w 919778"/>
              <a:gd name="connsiteY6" fmla="*/ 80837 h 797494"/>
              <a:gd name="connsiteX0" fmla="*/ 100926 w 919778"/>
              <a:gd name="connsiteY0" fmla="*/ 80837 h 857767"/>
              <a:gd name="connsiteX1" fmla="*/ 786099 w 919778"/>
              <a:gd name="connsiteY1" fmla="*/ 0 h 857767"/>
              <a:gd name="connsiteX2" fmla="*/ 905162 w 919778"/>
              <a:gd name="connsiteY2" fmla="*/ 169069 h 857767"/>
              <a:gd name="connsiteX3" fmla="*/ 647986 w 919778"/>
              <a:gd name="connsiteY3" fmla="*/ 766763 h 857767"/>
              <a:gd name="connsiteX4" fmla="*/ 414624 w 919778"/>
              <a:gd name="connsiteY4" fmla="*/ 673894 h 857767"/>
              <a:gd name="connsiteX5" fmla="*/ 212217 w 919778"/>
              <a:gd name="connsiteY5" fmla="*/ 352425 h 857767"/>
              <a:gd name="connsiteX6" fmla="*/ 100926 w 919778"/>
              <a:gd name="connsiteY6" fmla="*/ 80837 h 857767"/>
              <a:gd name="connsiteX0" fmla="*/ 100926 w 919778"/>
              <a:gd name="connsiteY0" fmla="*/ 80837 h 874459"/>
              <a:gd name="connsiteX1" fmla="*/ 786099 w 919778"/>
              <a:gd name="connsiteY1" fmla="*/ 0 h 874459"/>
              <a:gd name="connsiteX2" fmla="*/ 905162 w 919778"/>
              <a:gd name="connsiteY2" fmla="*/ 169069 h 874459"/>
              <a:gd name="connsiteX3" fmla="*/ 647986 w 919778"/>
              <a:gd name="connsiteY3" fmla="*/ 766763 h 874459"/>
              <a:gd name="connsiteX4" fmla="*/ 414624 w 919778"/>
              <a:gd name="connsiteY4" fmla="*/ 673894 h 874459"/>
              <a:gd name="connsiteX5" fmla="*/ 212217 w 919778"/>
              <a:gd name="connsiteY5" fmla="*/ 352425 h 874459"/>
              <a:gd name="connsiteX6" fmla="*/ 100926 w 919778"/>
              <a:gd name="connsiteY6" fmla="*/ 80837 h 874459"/>
              <a:gd name="connsiteX0" fmla="*/ 100926 w 919778"/>
              <a:gd name="connsiteY0" fmla="*/ 80837 h 876757"/>
              <a:gd name="connsiteX1" fmla="*/ 786099 w 919778"/>
              <a:gd name="connsiteY1" fmla="*/ 0 h 876757"/>
              <a:gd name="connsiteX2" fmla="*/ 905162 w 919778"/>
              <a:gd name="connsiteY2" fmla="*/ 169069 h 876757"/>
              <a:gd name="connsiteX3" fmla="*/ 647986 w 919778"/>
              <a:gd name="connsiteY3" fmla="*/ 766763 h 876757"/>
              <a:gd name="connsiteX4" fmla="*/ 414624 w 919778"/>
              <a:gd name="connsiteY4" fmla="*/ 673894 h 876757"/>
              <a:gd name="connsiteX5" fmla="*/ 212217 w 919778"/>
              <a:gd name="connsiteY5" fmla="*/ 352425 h 876757"/>
              <a:gd name="connsiteX6" fmla="*/ 100926 w 919778"/>
              <a:gd name="connsiteY6" fmla="*/ 80837 h 876757"/>
              <a:gd name="connsiteX0" fmla="*/ 100926 w 919778"/>
              <a:gd name="connsiteY0" fmla="*/ 80837 h 876757"/>
              <a:gd name="connsiteX1" fmla="*/ 786099 w 919778"/>
              <a:gd name="connsiteY1" fmla="*/ 0 h 876757"/>
              <a:gd name="connsiteX2" fmla="*/ 905162 w 919778"/>
              <a:gd name="connsiteY2" fmla="*/ 169069 h 876757"/>
              <a:gd name="connsiteX3" fmla="*/ 647986 w 919778"/>
              <a:gd name="connsiteY3" fmla="*/ 766763 h 876757"/>
              <a:gd name="connsiteX4" fmla="*/ 414624 w 919778"/>
              <a:gd name="connsiteY4" fmla="*/ 673894 h 876757"/>
              <a:gd name="connsiteX5" fmla="*/ 212217 w 919778"/>
              <a:gd name="connsiteY5" fmla="*/ 352425 h 876757"/>
              <a:gd name="connsiteX6" fmla="*/ 100926 w 919778"/>
              <a:gd name="connsiteY6" fmla="*/ 80837 h 876757"/>
              <a:gd name="connsiteX0" fmla="*/ 100926 w 919778"/>
              <a:gd name="connsiteY0" fmla="*/ 80837 h 876757"/>
              <a:gd name="connsiteX1" fmla="*/ 786099 w 919778"/>
              <a:gd name="connsiteY1" fmla="*/ 0 h 876757"/>
              <a:gd name="connsiteX2" fmla="*/ 905162 w 919778"/>
              <a:gd name="connsiteY2" fmla="*/ 169069 h 876757"/>
              <a:gd name="connsiteX3" fmla="*/ 647986 w 919778"/>
              <a:gd name="connsiteY3" fmla="*/ 766763 h 876757"/>
              <a:gd name="connsiteX4" fmla="*/ 414624 w 919778"/>
              <a:gd name="connsiteY4" fmla="*/ 673894 h 876757"/>
              <a:gd name="connsiteX5" fmla="*/ 212217 w 919778"/>
              <a:gd name="connsiteY5" fmla="*/ 352425 h 876757"/>
              <a:gd name="connsiteX6" fmla="*/ 100926 w 919778"/>
              <a:gd name="connsiteY6" fmla="*/ 80837 h 876757"/>
              <a:gd name="connsiteX0" fmla="*/ 100926 w 919778"/>
              <a:gd name="connsiteY0" fmla="*/ 80837 h 875028"/>
              <a:gd name="connsiteX1" fmla="*/ 786099 w 919778"/>
              <a:gd name="connsiteY1" fmla="*/ 0 h 875028"/>
              <a:gd name="connsiteX2" fmla="*/ 905162 w 919778"/>
              <a:gd name="connsiteY2" fmla="*/ 169069 h 875028"/>
              <a:gd name="connsiteX3" fmla="*/ 647986 w 919778"/>
              <a:gd name="connsiteY3" fmla="*/ 766763 h 875028"/>
              <a:gd name="connsiteX4" fmla="*/ 414624 w 919778"/>
              <a:gd name="connsiteY4" fmla="*/ 673894 h 875028"/>
              <a:gd name="connsiteX5" fmla="*/ 212217 w 919778"/>
              <a:gd name="connsiteY5" fmla="*/ 352425 h 875028"/>
              <a:gd name="connsiteX6" fmla="*/ 100926 w 919778"/>
              <a:gd name="connsiteY6" fmla="*/ 80837 h 875028"/>
              <a:gd name="connsiteX0" fmla="*/ 100926 w 919778"/>
              <a:gd name="connsiteY0" fmla="*/ 80837 h 875028"/>
              <a:gd name="connsiteX1" fmla="*/ 786099 w 919778"/>
              <a:gd name="connsiteY1" fmla="*/ 0 h 875028"/>
              <a:gd name="connsiteX2" fmla="*/ 905162 w 919778"/>
              <a:gd name="connsiteY2" fmla="*/ 169069 h 875028"/>
              <a:gd name="connsiteX3" fmla="*/ 647986 w 919778"/>
              <a:gd name="connsiteY3" fmla="*/ 766763 h 875028"/>
              <a:gd name="connsiteX4" fmla="*/ 414624 w 919778"/>
              <a:gd name="connsiteY4" fmla="*/ 673894 h 875028"/>
              <a:gd name="connsiteX5" fmla="*/ 243175 w 919778"/>
              <a:gd name="connsiteY5" fmla="*/ 392907 h 875028"/>
              <a:gd name="connsiteX6" fmla="*/ 212217 w 919778"/>
              <a:gd name="connsiteY6" fmla="*/ 352425 h 875028"/>
              <a:gd name="connsiteX7" fmla="*/ 100926 w 919778"/>
              <a:gd name="connsiteY7" fmla="*/ 80837 h 875028"/>
              <a:gd name="connsiteX0" fmla="*/ 741195 w 1560047"/>
              <a:gd name="connsiteY0" fmla="*/ 80837 h 875028"/>
              <a:gd name="connsiteX1" fmla="*/ 1426368 w 1560047"/>
              <a:gd name="connsiteY1" fmla="*/ 0 h 875028"/>
              <a:gd name="connsiteX2" fmla="*/ 1545431 w 1560047"/>
              <a:gd name="connsiteY2" fmla="*/ 169069 h 875028"/>
              <a:gd name="connsiteX3" fmla="*/ 1288255 w 1560047"/>
              <a:gd name="connsiteY3" fmla="*/ 766763 h 875028"/>
              <a:gd name="connsiteX4" fmla="*/ 1054893 w 1560047"/>
              <a:gd name="connsiteY4" fmla="*/ 673894 h 875028"/>
              <a:gd name="connsiteX5" fmla="*/ 0 w 1560047"/>
              <a:gd name="connsiteY5" fmla="*/ 809626 h 875028"/>
              <a:gd name="connsiteX6" fmla="*/ 852486 w 1560047"/>
              <a:gd name="connsiteY6" fmla="*/ 352425 h 875028"/>
              <a:gd name="connsiteX7" fmla="*/ 741195 w 1560047"/>
              <a:gd name="connsiteY7" fmla="*/ 80837 h 875028"/>
              <a:gd name="connsiteX0" fmla="*/ 741195 w 1560047"/>
              <a:gd name="connsiteY0" fmla="*/ 80837 h 875028"/>
              <a:gd name="connsiteX1" fmla="*/ 1426368 w 1560047"/>
              <a:gd name="connsiteY1" fmla="*/ 0 h 875028"/>
              <a:gd name="connsiteX2" fmla="*/ 1545431 w 1560047"/>
              <a:gd name="connsiteY2" fmla="*/ 169069 h 875028"/>
              <a:gd name="connsiteX3" fmla="*/ 1288255 w 1560047"/>
              <a:gd name="connsiteY3" fmla="*/ 766763 h 875028"/>
              <a:gd name="connsiteX4" fmla="*/ 1054893 w 1560047"/>
              <a:gd name="connsiteY4" fmla="*/ 673894 h 875028"/>
              <a:gd name="connsiteX5" fmla="*/ 1000126 w 1560047"/>
              <a:gd name="connsiteY5" fmla="*/ 673894 h 875028"/>
              <a:gd name="connsiteX6" fmla="*/ 0 w 1560047"/>
              <a:gd name="connsiteY6" fmla="*/ 809626 h 875028"/>
              <a:gd name="connsiteX7" fmla="*/ 852486 w 1560047"/>
              <a:gd name="connsiteY7" fmla="*/ 352425 h 875028"/>
              <a:gd name="connsiteX8" fmla="*/ 741195 w 1560047"/>
              <a:gd name="connsiteY8" fmla="*/ 80837 h 875028"/>
              <a:gd name="connsiteX0" fmla="*/ 741195 w 1560047"/>
              <a:gd name="connsiteY0" fmla="*/ 80837 h 1114426"/>
              <a:gd name="connsiteX1" fmla="*/ 1426368 w 1560047"/>
              <a:gd name="connsiteY1" fmla="*/ 0 h 1114426"/>
              <a:gd name="connsiteX2" fmla="*/ 1545431 w 1560047"/>
              <a:gd name="connsiteY2" fmla="*/ 169069 h 1114426"/>
              <a:gd name="connsiteX3" fmla="*/ 1288255 w 1560047"/>
              <a:gd name="connsiteY3" fmla="*/ 766763 h 1114426"/>
              <a:gd name="connsiteX4" fmla="*/ 1054893 w 1560047"/>
              <a:gd name="connsiteY4" fmla="*/ 673894 h 1114426"/>
              <a:gd name="connsiteX5" fmla="*/ 185739 w 1560047"/>
              <a:gd name="connsiteY5" fmla="*/ 1114426 h 1114426"/>
              <a:gd name="connsiteX6" fmla="*/ 0 w 1560047"/>
              <a:gd name="connsiteY6" fmla="*/ 809626 h 1114426"/>
              <a:gd name="connsiteX7" fmla="*/ 852486 w 1560047"/>
              <a:gd name="connsiteY7" fmla="*/ 352425 h 1114426"/>
              <a:gd name="connsiteX8" fmla="*/ 741195 w 1560047"/>
              <a:gd name="connsiteY8" fmla="*/ 80837 h 1114426"/>
              <a:gd name="connsiteX0" fmla="*/ 1350793 w 2169645"/>
              <a:gd name="connsiteY0" fmla="*/ 80837 h 1443038"/>
              <a:gd name="connsiteX1" fmla="*/ 2035966 w 2169645"/>
              <a:gd name="connsiteY1" fmla="*/ 0 h 1443038"/>
              <a:gd name="connsiteX2" fmla="*/ 2155029 w 2169645"/>
              <a:gd name="connsiteY2" fmla="*/ 169069 h 1443038"/>
              <a:gd name="connsiteX3" fmla="*/ 1897853 w 2169645"/>
              <a:gd name="connsiteY3" fmla="*/ 766763 h 1443038"/>
              <a:gd name="connsiteX4" fmla="*/ 1664491 w 2169645"/>
              <a:gd name="connsiteY4" fmla="*/ 673894 h 1443038"/>
              <a:gd name="connsiteX5" fmla="*/ 0 w 2169645"/>
              <a:gd name="connsiteY5" fmla="*/ 1443038 h 1443038"/>
              <a:gd name="connsiteX6" fmla="*/ 609598 w 2169645"/>
              <a:gd name="connsiteY6" fmla="*/ 809626 h 1443038"/>
              <a:gd name="connsiteX7" fmla="*/ 1462084 w 2169645"/>
              <a:gd name="connsiteY7" fmla="*/ 352425 h 1443038"/>
              <a:gd name="connsiteX8" fmla="*/ 1350793 w 2169645"/>
              <a:gd name="connsiteY8" fmla="*/ 80837 h 1443038"/>
              <a:gd name="connsiteX0" fmla="*/ 1350793 w 2169645"/>
              <a:gd name="connsiteY0" fmla="*/ 80837 h 1443038"/>
              <a:gd name="connsiteX1" fmla="*/ 2035966 w 2169645"/>
              <a:gd name="connsiteY1" fmla="*/ 0 h 1443038"/>
              <a:gd name="connsiteX2" fmla="*/ 2155029 w 2169645"/>
              <a:gd name="connsiteY2" fmla="*/ 169069 h 1443038"/>
              <a:gd name="connsiteX3" fmla="*/ 1897853 w 2169645"/>
              <a:gd name="connsiteY3" fmla="*/ 766763 h 1443038"/>
              <a:gd name="connsiteX4" fmla="*/ 1664491 w 2169645"/>
              <a:gd name="connsiteY4" fmla="*/ 673894 h 1443038"/>
              <a:gd name="connsiteX5" fmla="*/ 0 w 2169645"/>
              <a:gd name="connsiteY5" fmla="*/ 1443038 h 1443038"/>
              <a:gd name="connsiteX6" fmla="*/ 88104 w 2169645"/>
              <a:gd name="connsiteY6" fmla="*/ 1031082 h 1443038"/>
              <a:gd name="connsiteX7" fmla="*/ 1462084 w 2169645"/>
              <a:gd name="connsiteY7" fmla="*/ 352425 h 1443038"/>
              <a:gd name="connsiteX8" fmla="*/ 1350793 w 2169645"/>
              <a:gd name="connsiteY8" fmla="*/ 80837 h 1443038"/>
              <a:gd name="connsiteX0" fmla="*/ 1386514 w 2205366"/>
              <a:gd name="connsiteY0" fmla="*/ 80837 h 1443038"/>
              <a:gd name="connsiteX1" fmla="*/ 2071687 w 2205366"/>
              <a:gd name="connsiteY1" fmla="*/ 0 h 1443038"/>
              <a:gd name="connsiteX2" fmla="*/ 2190750 w 2205366"/>
              <a:gd name="connsiteY2" fmla="*/ 169069 h 1443038"/>
              <a:gd name="connsiteX3" fmla="*/ 1933574 w 2205366"/>
              <a:gd name="connsiteY3" fmla="*/ 766763 h 1443038"/>
              <a:gd name="connsiteX4" fmla="*/ 1700212 w 2205366"/>
              <a:gd name="connsiteY4" fmla="*/ 673894 h 1443038"/>
              <a:gd name="connsiteX5" fmla="*/ 35721 w 2205366"/>
              <a:gd name="connsiteY5" fmla="*/ 1443038 h 1443038"/>
              <a:gd name="connsiteX6" fmla="*/ 0 w 2205366"/>
              <a:gd name="connsiteY6" fmla="*/ 1069182 h 1443038"/>
              <a:gd name="connsiteX7" fmla="*/ 1497805 w 2205366"/>
              <a:gd name="connsiteY7" fmla="*/ 352425 h 1443038"/>
              <a:gd name="connsiteX8" fmla="*/ 1386514 w 2205366"/>
              <a:gd name="connsiteY8" fmla="*/ 80837 h 1443038"/>
              <a:gd name="connsiteX0" fmla="*/ 1482984 w 2301836"/>
              <a:gd name="connsiteY0" fmla="*/ 80837 h 1443038"/>
              <a:gd name="connsiteX1" fmla="*/ 2168157 w 2301836"/>
              <a:gd name="connsiteY1" fmla="*/ 0 h 1443038"/>
              <a:gd name="connsiteX2" fmla="*/ 2287220 w 2301836"/>
              <a:gd name="connsiteY2" fmla="*/ 169069 h 1443038"/>
              <a:gd name="connsiteX3" fmla="*/ 2030044 w 2301836"/>
              <a:gd name="connsiteY3" fmla="*/ 766763 h 1443038"/>
              <a:gd name="connsiteX4" fmla="*/ 1796682 w 2301836"/>
              <a:gd name="connsiteY4" fmla="*/ 673894 h 1443038"/>
              <a:gd name="connsiteX5" fmla="*/ 132191 w 2301836"/>
              <a:gd name="connsiteY5" fmla="*/ 1443038 h 1443038"/>
              <a:gd name="connsiteX6" fmla="*/ 96470 w 2301836"/>
              <a:gd name="connsiteY6" fmla="*/ 1069182 h 1443038"/>
              <a:gd name="connsiteX7" fmla="*/ 1594275 w 2301836"/>
              <a:gd name="connsiteY7" fmla="*/ 352425 h 1443038"/>
              <a:gd name="connsiteX8" fmla="*/ 1482984 w 2301836"/>
              <a:gd name="connsiteY8" fmla="*/ 80837 h 1443038"/>
              <a:gd name="connsiteX0" fmla="*/ 1513501 w 2332353"/>
              <a:gd name="connsiteY0" fmla="*/ 80837 h 1443074"/>
              <a:gd name="connsiteX1" fmla="*/ 2198674 w 2332353"/>
              <a:gd name="connsiteY1" fmla="*/ 0 h 1443074"/>
              <a:gd name="connsiteX2" fmla="*/ 2317737 w 2332353"/>
              <a:gd name="connsiteY2" fmla="*/ 169069 h 1443074"/>
              <a:gd name="connsiteX3" fmla="*/ 2060561 w 2332353"/>
              <a:gd name="connsiteY3" fmla="*/ 766763 h 1443074"/>
              <a:gd name="connsiteX4" fmla="*/ 1827199 w 2332353"/>
              <a:gd name="connsiteY4" fmla="*/ 673894 h 1443074"/>
              <a:gd name="connsiteX5" fmla="*/ 162708 w 2332353"/>
              <a:gd name="connsiteY5" fmla="*/ 1443038 h 1443074"/>
              <a:gd name="connsiteX6" fmla="*/ 126987 w 2332353"/>
              <a:gd name="connsiteY6" fmla="*/ 1069182 h 1443074"/>
              <a:gd name="connsiteX7" fmla="*/ 1624792 w 2332353"/>
              <a:gd name="connsiteY7" fmla="*/ 352425 h 1443074"/>
              <a:gd name="connsiteX8" fmla="*/ 1513501 w 2332353"/>
              <a:gd name="connsiteY8" fmla="*/ 80837 h 1443074"/>
              <a:gd name="connsiteX0" fmla="*/ 1486860 w 2305712"/>
              <a:gd name="connsiteY0" fmla="*/ 80837 h 1397836"/>
              <a:gd name="connsiteX1" fmla="*/ 2172033 w 2305712"/>
              <a:gd name="connsiteY1" fmla="*/ 0 h 1397836"/>
              <a:gd name="connsiteX2" fmla="*/ 2291096 w 2305712"/>
              <a:gd name="connsiteY2" fmla="*/ 169069 h 1397836"/>
              <a:gd name="connsiteX3" fmla="*/ 2033920 w 2305712"/>
              <a:gd name="connsiteY3" fmla="*/ 766763 h 1397836"/>
              <a:gd name="connsiteX4" fmla="*/ 1800558 w 2305712"/>
              <a:gd name="connsiteY4" fmla="*/ 673894 h 1397836"/>
              <a:gd name="connsiteX5" fmla="*/ 228936 w 2305712"/>
              <a:gd name="connsiteY5" fmla="*/ 1397794 h 1397836"/>
              <a:gd name="connsiteX6" fmla="*/ 100346 w 2305712"/>
              <a:gd name="connsiteY6" fmla="*/ 1069182 h 1397836"/>
              <a:gd name="connsiteX7" fmla="*/ 1598151 w 2305712"/>
              <a:gd name="connsiteY7" fmla="*/ 352425 h 1397836"/>
              <a:gd name="connsiteX8" fmla="*/ 1486860 w 2305712"/>
              <a:gd name="connsiteY8" fmla="*/ 80837 h 1397836"/>
              <a:gd name="connsiteX0" fmla="*/ 1512654 w 2331506"/>
              <a:gd name="connsiteY0" fmla="*/ 80837 h 1429036"/>
              <a:gd name="connsiteX1" fmla="*/ 2197827 w 2331506"/>
              <a:gd name="connsiteY1" fmla="*/ 0 h 1429036"/>
              <a:gd name="connsiteX2" fmla="*/ 2316890 w 2331506"/>
              <a:gd name="connsiteY2" fmla="*/ 169069 h 1429036"/>
              <a:gd name="connsiteX3" fmla="*/ 2059714 w 2331506"/>
              <a:gd name="connsiteY3" fmla="*/ 766763 h 1429036"/>
              <a:gd name="connsiteX4" fmla="*/ 1826352 w 2331506"/>
              <a:gd name="connsiteY4" fmla="*/ 673894 h 1429036"/>
              <a:gd name="connsiteX5" fmla="*/ 254730 w 2331506"/>
              <a:gd name="connsiteY5" fmla="*/ 1397794 h 1429036"/>
              <a:gd name="connsiteX6" fmla="*/ 126140 w 2331506"/>
              <a:gd name="connsiteY6" fmla="*/ 1069182 h 1429036"/>
              <a:gd name="connsiteX7" fmla="*/ 1623945 w 2331506"/>
              <a:gd name="connsiteY7" fmla="*/ 352425 h 1429036"/>
              <a:gd name="connsiteX8" fmla="*/ 1512654 w 2331506"/>
              <a:gd name="connsiteY8" fmla="*/ 80837 h 1429036"/>
              <a:gd name="connsiteX0" fmla="*/ 1522052 w 2340904"/>
              <a:gd name="connsiteY0" fmla="*/ 80837 h 1429171"/>
              <a:gd name="connsiteX1" fmla="*/ 2207225 w 2340904"/>
              <a:gd name="connsiteY1" fmla="*/ 0 h 1429171"/>
              <a:gd name="connsiteX2" fmla="*/ 2326288 w 2340904"/>
              <a:gd name="connsiteY2" fmla="*/ 169069 h 1429171"/>
              <a:gd name="connsiteX3" fmla="*/ 2069112 w 2340904"/>
              <a:gd name="connsiteY3" fmla="*/ 766763 h 1429171"/>
              <a:gd name="connsiteX4" fmla="*/ 1835750 w 2340904"/>
              <a:gd name="connsiteY4" fmla="*/ 673894 h 1429171"/>
              <a:gd name="connsiteX5" fmla="*/ 264128 w 2340904"/>
              <a:gd name="connsiteY5" fmla="*/ 1397794 h 1429171"/>
              <a:gd name="connsiteX6" fmla="*/ 135538 w 2340904"/>
              <a:gd name="connsiteY6" fmla="*/ 1069182 h 1429171"/>
              <a:gd name="connsiteX7" fmla="*/ 1633343 w 2340904"/>
              <a:gd name="connsiteY7" fmla="*/ 352425 h 1429171"/>
              <a:gd name="connsiteX8" fmla="*/ 1522052 w 2340904"/>
              <a:gd name="connsiteY8" fmla="*/ 80837 h 1429171"/>
              <a:gd name="connsiteX0" fmla="*/ 1524365 w 2343217"/>
              <a:gd name="connsiteY0" fmla="*/ 80837 h 1426933"/>
              <a:gd name="connsiteX1" fmla="*/ 2209538 w 2343217"/>
              <a:gd name="connsiteY1" fmla="*/ 0 h 1426933"/>
              <a:gd name="connsiteX2" fmla="*/ 2328601 w 2343217"/>
              <a:gd name="connsiteY2" fmla="*/ 169069 h 1426933"/>
              <a:gd name="connsiteX3" fmla="*/ 2071425 w 2343217"/>
              <a:gd name="connsiteY3" fmla="*/ 766763 h 1426933"/>
              <a:gd name="connsiteX4" fmla="*/ 1838063 w 2343217"/>
              <a:gd name="connsiteY4" fmla="*/ 673894 h 1426933"/>
              <a:gd name="connsiteX5" fmla="*/ 259297 w 2343217"/>
              <a:gd name="connsiteY5" fmla="*/ 1395412 h 1426933"/>
              <a:gd name="connsiteX6" fmla="*/ 137851 w 2343217"/>
              <a:gd name="connsiteY6" fmla="*/ 1069182 h 1426933"/>
              <a:gd name="connsiteX7" fmla="*/ 1635656 w 2343217"/>
              <a:gd name="connsiteY7" fmla="*/ 352425 h 1426933"/>
              <a:gd name="connsiteX8" fmla="*/ 1524365 w 2343217"/>
              <a:gd name="connsiteY8" fmla="*/ 80837 h 1426933"/>
              <a:gd name="connsiteX0" fmla="*/ 1525149 w 2344001"/>
              <a:gd name="connsiteY0" fmla="*/ 80837 h 1420231"/>
              <a:gd name="connsiteX1" fmla="*/ 2210322 w 2344001"/>
              <a:gd name="connsiteY1" fmla="*/ 0 h 1420231"/>
              <a:gd name="connsiteX2" fmla="*/ 2329385 w 2344001"/>
              <a:gd name="connsiteY2" fmla="*/ 169069 h 1420231"/>
              <a:gd name="connsiteX3" fmla="*/ 2072209 w 2344001"/>
              <a:gd name="connsiteY3" fmla="*/ 766763 h 1420231"/>
              <a:gd name="connsiteX4" fmla="*/ 1838847 w 2344001"/>
              <a:gd name="connsiteY4" fmla="*/ 673894 h 1420231"/>
              <a:gd name="connsiteX5" fmla="*/ 257700 w 2344001"/>
              <a:gd name="connsiteY5" fmla="*/ 1388269 h 1420231"/>
              <a:gd name="connsiteX6" fmla="*/ 138635 w 2344001"/>
              <a:gd name="connsiteY6" fmla="*/ 1069182 h 1420231"/>
              <a:gd name="connsiteX7" fmla="*/ 1636440 w 2344001"/>
              <a:gd name="connsiteY7" fmla="*/ 352425 h 1420231"/>
              <a:gd name="connsiteX8" fmla="*/ 1525149 w 2344001"/>
              <a:gd name="connsiteY8" fmla="*/ 80837 h 1420231"/>
              <a:gd name="connsiteX0" fmla="*/ 1525149 w 2344001"/>
              <a:gd name="connsiteY0" fmla="*/ 80837 h 1420231"/>
              <a:gd name="connsiteX1" fmla="*/ 2210322 w 2344001"/>
              <a:gd name="connsiteY1" fmla="*/ 0 h 1420231"/>
              <a:gd name="connsiteX2" fmla="*/ 2329385 w 2344001"/>
              <a:gd name="connsiteY2" fmla="*/ 169069 h 1420231"/>
              <a:gd name="connsiteX3" fmla="*/ 2072209 w 2344001"/>
              <a:gd name="connsiteY3" fmla="*/ 766763 h 1420231"/>
              <a:gd name="connsiteX4" fmla="*/ 1838847 w 2344001"/>
              <a:gd name="connsiteY4" fmla="*/ 673894 h 1420231"/>
              <a:gd name="connsiteX5" fmla="*/ 257700 w 2344001"/>
              <a:gd name="connsiteY5" fmla="*/ 1388269 h 1420231"/>
              <a:gd name="connsiteX6" fmla="*/ 138635 w 2344001"/>
              <a:gd name="connsiteY6" fmla="*/ 1069182 h 1420231"/>
              <a:gd name="connsiteX7" fmla="*/ 1636440 w 2344001"/>
              <a:gd name="connsiteY7" fmla="*/ 352425 h 1420231"/>
              <a:gd name="connsiteX8" fmla="*/ 1525149 w 2344001"/>
              <a:gd name="connsiteY8" fmla="*/ 80837 h 1420231"/>
              <a:gd name="connsiteX0" fmla="*/ 1525149 w 2344001"/>
              <a:gd name="connsiteY0" fmla="*/ 80837 h 1420231"/>
              <a:gd name="connsiteX1" fmla="*/ 2210322 w 2344001"/>
              <a:gd name="connsiteY1" fmla="*/ 0 h 1420231"/>
              <a:gd name="connsiteX2" fmla="*/ 2329385 w 2344001"/>
              <a:gd name="connsiteY2" fmla="*/ 169069 h 1420231"/>
              <a:gd name="connsiteX3" fmla="*/ 2072209 w 2344001"/>
              <a:gd name="connsiteY3" fmla="*/ 766763 h 1420231"/>
              <a:gd name="connsiteX4" fmla="*/ 1838847 w 2344001"/>
              <a:gd name="connsiteY4" fmla="*/ 673894 h 1420231"/>
              <a:gd name="connsiteX5" fmla="*/ 257700 w 2344001"/>
              <a:gd name="connsiteY5" fmla="*/ 1388269 h 1420231"/>
              <a:gd name="connsiteX6" fmla="*/ 138635 w 2344001"/>
              <a:gd name="connsiteY6" fmla="*/ 1069182 h 1420231"/>
              <a:gd name="connsiteX7" fmla="*/ 1636440 w 2344001"/>
              <a:gd name="connsiteY7" fmla="*/ 352425 h 1420231"/>
              <a:gd name="connsiteX8" fmla="*/ 1525149 w 2344001"/>
              <a:gd name="connsiteY8" fmla="*/ 80837 h 1420231"/>
              <a:gd name="connsiteX0" fmla="*/ 1525149 w 2344001"/>
              <a:gd name="connsiteY0" fmla="*/ 80837 h 1420231"/>
              <a:gd name="connsiteX1" fmla="*/ 2210322 w 2344001"/>
              <a:gd name="connsiteY1" fmla="*/ 0 h 1420231"/>
              <a:gd name="connsiteX2" fmla="*/ 2329385 w 2344001"/>
              <a:gd name="connsiteY2" fmla="*/ 169069 h 1420231"/>
              <a:gd name="connsiteX3" fmla="*/ 2072209 w 2344001"/>
              <a:gd name="connsiteY3" fmla="*/ 766763 h 1420231"/>
              <a:gd name="connsiteX4" fmla="*/ 1838847 w 2344001"/>
              <a:gd name="connsiteY4" fmla="*/ 673894 h 1420231"/>
              <a:gd name="connsiteX5" fmla="*/ 257700 w 2344001"/>
              <a:gd name="connsiteY5" fmla="*/ 1388269 h 1420231"/>
              <a:gd name="connsiteX6" fmla="*/ 138635 w 2344001"/>
              <a:gd name="connsiteY6" fmla="*/ 1069182 h 1420231"/>
              <a:gd name="connsiteX7" fmla="*/ 1636440 w 2344001"/>
              <a:gd name="connsiteY7" fmla="*/ 352425 h 1420231"/>
              <a:gd name="connsiteX8" fmla="*/ 1525149 w 2344001"/>
              <a:gd name="connsiteY8" fmla="*/ 80837 h 1420231"/>
              <a:gd name="connsiteX0" fmla="*/ 1525149 w 2344001"/>
              <a:gd name="connsiteY0" fmla="*/ 80837 h 1420231"/>
              <a:gd name="connsiteX1" fmla="*/ 2210322 w 2344001"/>
              <a:gd name="connsiteY1" fmla="*/ 0 h 1420231"/>
              <a:gd name="connsiteX2" fmla="*/ 2329385 w 2344001"/>
              <a:gd name="connsiteY2" fmla="*/ 169069 h 1420231"/>
              <a:gd name="connsiteX3" fmla="*/ 2072209 w 2344001"/>
              <a:gd name="connsiteY3" fmla="*/ 766763 h 1420231"/>
              <a:gd name="connsiteX4" fmla="*/ 1838847 w 2344001"/>
              <a:gd name="connsiteY4" fmla="*/ 673894 h 1420231"/>
              <a:gd name="connsiteX5" fmla="*/ 257700 w 2344001"/>
              <a:gd name="connsiteY5" fmla="*/ 1388269 h 1420231"/>
              <a:gd name="connsiteX6" fmla="*/ 138635 w 2344001"/>
              <a:gd name="connsiteY6" fmla="*/ 1069182 h 1420231"/>
              <a:gd name="connsiteX7" fmla="*/ 1636440 w 2344001"/>
              <a:gd name="connsiteY7" fmla="*/ 352425 h 1420231"/>
              <a:gd name="connsiteX8" fmla="*/ 1525149 w 2344001"/>
              <a:gd name="connsiteY8" fmla="*/ 80837 h 1420231"/>
              <a:gd name="connsiteX0" fmla="*/ 1532283 w 2351135"/>
              <a:gd name="connsiteY0" fmla="*/ 80837 h 1404748"/>
              <a:gd name="connsiteX1" fmla="*/ 2217456 w 2351135"/>
              <a:gd name="connsiteY1" fmla="*/ 0 h 1404748"/>
              <a:gd name="connsiteX2" fmla="*/ 2336519 w 2351135"/>
              <a:gd name="connsiteY2" fmla="*/ 169069 h 1404748"/>
              <a:gd name="connsiteX3" fmla="*/ 2079343 w 2351135"/>
              <a:gd name="connsiteY3" fmla="*/ 766763 h 1404748"/>
              <a:gd name="connsiteX4" fmla="*/ 1845981 w 2351135"/>
              <a:gd name="connsiteY4" fmla="*/ 673894 h 1404748"/>
              <a:gd name="connsiteX5" fmla="*/ 264834 w 2351135"/>
              <a:gd name="connsiteY5" fmla="*/ 1388269 h 1404748"/>
              <a:gd name="connsiteX6" fmla="*/ 145769 w 2351135"/>
              <a:gd name="connsiteY6" fmla="*/ 1069182 h 1404748"/>
              <a:gd name="connsiteX7" fmla="*/ 1643574 w 2351135"/>
              <a:gd name="connsiteY7" fmla="*/ 352425 h 1404748"/>
              <a:gd name="connsiteX8" fmla="*/ 1532283 w 2351135"/>
              <a:gd name="connsiteY8" fmla="*/ 80837 h 1404748"/>
              <a:gd name="connsiteX0" fmla="*/ 1532283 w 2351135"/>
              <a:gd name="connsiteY0" fmla="*/ 80837 h 1404748"/>
              <a:gd name="connsiteX1" fmla="*/ 2217456 w 2351135"/>
              <a:gd name="connsiteY1" fmla="*/ 0 h 1404748"/>
              <a:gd name="connsiteX2" fmla="*/ 2336519 w 2351135"/>
              <a:gd name="connsiteY2" fmla="*/ 169069 h 1404748"/>
              <a:gd name="connsiteX3" fmla="*/ 2101568 w 2351135"/>
              <a:gd name="connsiteY3" fmla="*/ 769938 h 1404748"/>
              <a:gd name="connsiteX4" fmla="*/ 1845981 w 2351135"/>
              <a:gd name="connsiteY4" fmla="*/ 673894 h 1404748"/>
              <a:gd name="connsiteX5" fmla="*/ 264834 w 2351135"/>
              <a:gd name="connsiteY5" fmla="*/ 1388269 h 1404748"/>
              <a:gd name="connsiteX6" fmla="*/ 145769 w 2351135"/>
              <a:gd name="connsiteY6" fmla="*/ 1069182 h 1404748"/>
              <a:gd name="connsiteX7" fmla="*/ 1643574 w 2351135"/>
              <a:gd name="connsiteY7" fmla="*/ 352425 h 1404748"/>
              <a:gd name="connsiteX8" fmla="*/ 1532283 w 2351135"/>
              <a:gd name="connsiteY8" fmla="*/ 80837 h 1404748"/>
              <a:gd name="connsiteX0" fmla="*/ 1532283 w 2351135"/>
              <a:gd name="connsiteY0" fmla="*/ 80837 h 1404748"/>
              <a:gd name="connsiteX1" fmla="*/ 2217456 w 2351135"/>
              <a:gd name="connsiteY1" fmla="*/ 0 h 1404748"/>
              <a:gd name="connsiteX2" fmla="*/ 2336519 w 2351135"/>
              <a:gd name="connsiteY2" fmla="*/ 169069 h 1404748"/>
              <a:gd name="connsiteX3" fmla="*/ 2101568 w 2351135"/>
              <a:gd name="connsiteY3" fmla="*/ 769938 h 1404748"/>
              <a:gd name="connsiteX4" fmla="*/ 1845981 w 2351135"/>
              <a:gd name="connsiteY4" fmla="*/ 673894 h 1404748"/>
              <a:gd name="connsiteX5" fmla="*/ 264834 w 2351135"/>
              <a:gd name="connsiteY5" fmla="*/ 1388269 h 1404748"/>
              <a:gd name="connsiteX6" fmla="*/ 145769 w 2351135"/>
              <a:gd name="connsiteY6" fmla="*/ 1069182 h 1404748"/>
              <a:gd name="connsiteX7" fmla="*/ 1643574 w 2351135"/>
              <a:gd name="connsiteY7" fmla="*/ 352425 h 1404748"/>
              <a:gd name="connsiteX8" fmla="*/ 1532283 w 2351135"/>
              <a:gd name="connsiteY8" fmla="*/ 80837 h 1404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1135" h="1404748">
                <a:moveTo>
                  <a:pt x="1532283" y="80837"/>
                </a:moveTo>
                <a:lnTo>
                  <a:pt x="2217456" y="0"/>
                </a:lnTo>
                <a:cubicBezTo>
                  <a:pt x="2285719" y="1587"/>
                  <a:pt x="2389700" y="17463"/>
                  <a:pt x="2336519" y="169069"/>
                </a:cubicBezTo>
                <a:cubicBezTo>
                  <a:pt x="2286512" y="315119"/>
                  <a:pt x="2155146" y="639764"/>
                  <a:pt x="2101568" y="769938"/>
                </a:cubicBezTo>
                <a:cubicBezTo>
                  <a:pt x="1986474" y="966787"/>
                  <a:pt x="1780497" y="823912"/>
                  <a:pt x="1845981" y="673894"/>
                </a:cubicBezTo>
                <a:cubicBezTo>
                  <a:pt x="1318932" y="912019"/>
                  <a:pt x="944283" y="1207294"/>
                  <a:pt x="264834" y="1388269"/>
                </a:cubicBezTo>
                <a:cubicBezTo>
                  <a:pt x="-8216" y="1484313"/>
                  <a:pt x="-106642" y="1131888"/>
                  <a:pt x="145769" y="1069182"/>
                </a:cubicBezTo>
                <a:cubicBezTo>
                  <a:pt x="791087" y="874713"/>
                  <a:pt x="1160181" y="613569"/>
                  <a:pt x="1643574" y="352425"/>
                </a:cubicBezTo>
                <a:cubicBezTo>
                  <a:pt x="1342159" y="308726"/>
                  <a:pt x="1416980" y="100723"/>
                  <a:pt x="1532283" y="80837"/>
                </a:cubicBezTo>
                <a:close/>
              </a:path>
            </a:pathLst>
          </a:custGeom>
          <a:solidFill>
            <a:schemeClr val="tx2"/>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91" b="0" i="0" u="none" strike="noStrike" kern="1200" cap="none" spc="0" normalizeH="0" baseline="0" noProof="0">
              <a:ln>
                <a:noFill/>
              </a:ln>
              <a:solidFill>
                <a:srgbClr val="006580"/>
              </a:solidFill>
              <a:effectLst/>
              <a:uLnTx/>
              <a:uFillTx/>
              <a:latin typeface="Arial" panose="020B0604020202020204" pitchFamily="34" charset="0"/>
              <a:ea typeface="+mn-ea"/>
              <a:cs typeface="Arial" panose="020B0604020202020204" pitchFamily="34" charset="0"/>
            </a:endParaRPr>
          </a:p>
        </p:txBody>
      </p:sp>
      <p:sp>
        <p:nvSpPr>
          <p:cNvPr id="66" name="Rectangle 5">
            <a:extLst>
              <a:ext uri="{FF2B5EF4-FFF2-40B4-BE49-F238E27FC236}">
                <a16:creationId xmlns:a16="http://schemas.microsoft.com/office/drawing/2014/main" id="{6897ED9B-AF2E-7CCD-A902-96DB6E59797B}"/>
              </a:ext>
            </a:extLst>
          </p:cNvPr>
          <p:cNvSpPr/>
          <p:nvPr/>
        </p:nvSpPr>
        <p:spPr>
          <a:xfrm>
            <a:off x="5032105" y="2083815"/>
            <a:ext cx="1404637" cy="839237"/>
          </a:xfrm>
          <a:custGeom>
            <a:avLst/>
            <a:gdLst>
              <a:gd name="connsiteX0" fmla="*/ 0 w 934453"/>
              <a:gd name="connsiteY0" fmla="*/ 0 h 862264"/>
              <a:gd name="connsiteX1" fmla="*/ 934453 w 934453"/>
              <a:gd name="connsiteY1" fmla="*/ 0 h 862264"/>
              <a:gd name="connsiteX2" fmla="*/ 934453 w 934453"/>
              <a:gd name="connsiteY2" fmla="*/ 862264 h 862264"/>
              <a:gd name="connsiteX3" fmla="*/ 0 w 934453"/>
              <a:gd name="connsiteY3" fmla="*/ 862264 h 862264"/>
              <a:gd name="connsiteX4" fmla="*/ 0 w 934453"/>
              <a:gd name="connsiteY4" fmla="*/ 0 h 862264"/>
              <a:gd name="connsiteX0" fmla="*/ 0 w 934453"/>
              <a:gd name="connsiteY0" fmla="*/ 2255 h 864519"/>
              <a:gd name="connsiteX1" fmla="*/ 787567 w 934453"/>
              <a:gd name="connsiteY1" fmla="*/ 0 h 864519"/>
              <a:gd name="connsiteX2" fmla="*/ 934453 w 934453"/>
              <a:gd name="connsiteY2" fmla="*/ 2255 h 864519"/>
              <a:gd name="connsiteX3" fmla="*/ 934453 w 934453"/>
              <a:gd name="connsiteY3" fmla="*/ 864519 h 864519"/>
              <a:gd name="connsiteX4" fmla="*/ 0 w 934453"/>
              <a:gd name="connsiteY4" fmla="*/ 864519 h 864519"/>
              <a:gd name="connsiteX5" fmla="*/ 0 w 934453"/>
              <a:gd name="connsiteY5" fmla="*/ 2255 h 864519"/>
              <a:gd name="connsiteX0" fmla="*/ 0 w 934453"/>
              <a:gd name="connsiteY0" fmla="*/ 2255 h 864519"/>
              <a:gd name="connsiteX1" fmla="*/ 787567 w 934453"/>
              <a:gd name="connsiteY1" fmla="*/ 0 h 864519"/>
              <a:gd name="connsiteX2" fmla="*/ 934453 w 934453"/>
              <a:gd name="connsiteY2" fmla="*/ 2255 h 864519"/>
              <a:gd name="connsiteX3" fmla="*/ 932823 w 934453"/>
              <a:gd name="connsiteY3" fmla="*/ 121444 h 864519"/>
              <a:gd name="connsiteX4" fmla="*/ 934453 w 934453"/>
              <a:gd name="connsiteY4" fmla="*/ 864519 h 864519"/>
              <a:gd name="connsiteX5" fmla="*/ 0 w 934453"/>
              <a:gd name="connsiteY5" fmla="*/ 864519 h 864519"/>
              <a:gd name="connsiteX6" fmla="*/ 0 w 934453"/>
              <a:gd name="connsiteY6" fmla="*/ 2255 h 864519"/>
              <a:gd name="connsiteX0" fmla="*/ 0 w 934453"/>
              <a:gd name="connsiteY0" fmla="*/ 2255 h 864519"/>
              <a:gd name="connsiteX1" fmla="*/ 106530 w 934453"/>
              <a:gd name="connsiteY1" fmla="*/ 2382 h 864519"/>
              <a:gd name="connsiteX2" fmla="*/ 787567 w 934453"/>
              <a:gd name="connsiteY2" fmla="*/ 0 h 864519"/>
              <a:gd name="connsiteX3" fmla="*/ 934453 w 934453"/>
              <a:gd name="connsiteY3" fmla="*/ 2255 h 864519"/>
              <a:gd name="connsiteX4" fmla="*/ 932823 w 934453"/>
              <a:gd name="connsiteY4" fmla="*/ 121444 h 864519"/>
              <a:gd name="connsiteX5" fmla="*/ 934453 w 934453"/>
              <a:gd name="connsiteY5" fmla="*/ 864519 h 864519"/>
              <a:gd name="connsiteX6" fmla="*/ 0 w 934453"/>
              <a:gd name="connsiteY6" fmla="*/ 864519 h 864519"/>
              <a:gd name="connsiteX7" fmla="*/ 0 w 934453"/>
              <a:gd name="connsiteY7" fmla="*/ 2255 h 864519"/>
              <a:gd name="connsiteX0" fmla="*/ 627 w 935080"/>
              <a:gd name="connsiteY0" fmla="*/ 2255 h 864519"/>
              <a:gd name="connsiteX1" fmla="*/ 107157 w 935080"/>
              <a:gd name="connsiteY1" fmla="*/ 2382 h 864519"/>
              <a:gd name="connsiteX2" fmla="*/ 788194 w 935080"/>
              <a:gd name="connsiteY2" fmla="*/ 0 h 864519"/>
              <a:gd name="connsiteX3" fmla="*/ 935080 w 935080"/>
              <a:gd name="connsiteY3" fmla="*/ 2255 h 864519"/>
              <a:gd name="connsiteX4" fmla="*/ 933450 w 935080"/>
              <a:gd name="connsiteY4" fmla="*/ 121444 h 864519"/>
              <a:gd name="connsiteX5" fmla="*/ 935080 w 935080"/>
              <a:gd name="connsiteY5" fmla="*/ 864519 h 864519"/>
              <a:gd name="connsiteX6" fmla="*/ 627 w 935080"/>
              <a:gd name="connsiteY6" fmla="*/ 864519 h 864519"/>
              <a:gd name="connsiteX7" fmla="*/ 0 w 935080"/>
              <a:gd name="connsiteY7" fmla="*/ 138113 h 864519"/>
              <a:gd name="connsiteX8" fmla="*/ 627 w 935080"/>
              <a:gd name="connsiteY8" fmla="*/ 2255 h 864519"/>
              <a:gd name="connsiteX0" fmla="*/ 627 w 935080"/>
              <a:gd name="connsiteY0" fmla="*/ 2255 h 864519"/>
              <a:gd name="connsiteX1" fmla="*/ 107157 w 935080"/>
              <a:gd name="connsiteY1" fmla="*/ 2382 h 864519"/>
              <a:gd name="connsiteX2" fmla="*/ 788194 w 935080"/>
              <a:gd name="connsiteY2" fmla="*/ 0 h 864519"/>
              <a:gd name="connsiteX3" fmla="*/ 935080 w 935080"/>
              <a:gd name="connsiteY3" fmla="*/ 2255 h 864519"/>
              <a:gd name="connsiteX4" fmla="*/ 933450 w 935080"/>
              <a:gd name="connsiteY4" fmla="*/ 121444 h 864519"/>
              <a:gd name="connsiteX5" fmla="*/ 935080 w 935080"/>
              <a:gd name="connsiteY5" fmla="*/ 864519 h 864519"/>
              <a:gd name="connsiteX6" fmla="*/ 428625 w 935080"/>
              <a:gd name="connsiteY6" fmla="*/ 864394 h 864519"/>
              <a:gd name="connsiteX7" fmla="*/ 627 w 935080"/>
              <a:gd name="connsiteY7" fmla="*/ 864519 h 864519"/>
              <a:gd name="connsiteX8" fmla="*/ 0 w 935080"/>
              <a:gd name="connsiteY8" fmla="*/ 138113 h 864519"/>
              <a:gd name="connsiteX9" fmla="*/ 627 w 935080"/>
              <a:gd name="connsiteY9" fmla="*/ 2255 h 864519"/>
              <a:gd name="connsiteX0" fmla="*/ 627 w 935080"/>
              <a:gd name="connsiteY0" fmla="*/ 2255 h 864519"/>
              <a:gd name="connsiteX1" fmla="*/ 107157 w 935080"/>
              <a:gd name="connsiteY1" fmla="*/ 2382 h 864519"/>
              <a:gd name="connsiteX2" fmla="*/ 788194 w 935080"/>
              <a:gd name="connsiteY2" fmla="*/ 0 h 864519"/>
              <a:gd name="connsiteX3" fmla="*/ 935080 w 935080"/>
              <a:gd name="connsiteY3" fmla="*/ 2255 h 864519"/>
              <a:gd name="connsiteX4" fmla="*/ 933450 w 935080"/>
              <a:gd name="connsiteY4" fmla="*/ 121444 h 864519"/>
              <a:gd name="connsiteX5" fmla="*/ 935080 w 935080"/>
              <a:gd name="connsiteY5" fmla="*/ 864519 h 864519"/>
              <a:gd name="connsiteX6" fmla="*/ 616744 w 935080"/>
              <a:gd name="connsiteY6" fmla="*/ 862013 h 864519"/>
              <a:gd name="connsiteX7" fmla="*/ 428625 w 935080"/>
              <a:gd name="connsiteY7" fmla="*/ 864394 h 864519"/>
              <a:gd name="connsiteX8" fmla="*/ 627 w 935080"/>
              <a:gd name="connsiteY8" fmla="*/ 864519 h 864519"/>
              <a:gd name="connsiteX9" fmla="*/ 0 w 935080"/>
              <a:gd name="connsiteY9" fmla="*/ 138113 h 864519"/>
              <a:gd name="connsiteX10" fmla="*/ 627 w 935080"/>
              <a:gd name="connsiteY10" fmla="*/ 2255 h 864519"/>
              <a:gd name="connsiteX0" fmla="*/ 627 w 935080"/>
              <a:gd name="connsiteY0" fmla="*/ 2255 h 864519"/>
              <a:gd name="connsiteX1" fmla="*/ 107157 w 935080"/>
              <a:gd name="connsiteY1" fmla="*/ 2382 h 864519"/>
              <a:gd name="connsiteX2" fmla="*/ 788194 w 935080"/>
              <a:gd name="connsiteY2" fmla="*/ 0 h 864519"/>
              <a:gd name="connsiteX3" fmla="*/ 935080 w 935080"/>
              <a:gd name="connsiteY3" fmla="*/ 2255 h 864519"/>
              <a:gd name="connsiteX4" fmla="*/ 933450 w 935080"/>
              <a:gd name="connsiteY4" fmla="*/ 121444 h 864519"/>
              <a:gd name="connsiteX5" fmla="*/ 935080 w 935080"/>
              <a:gd name="connsiteY5" fmla="*/ 864519 h 864519"/>
              <a:gd name="connsiteX6" fmla="*/ 616744 w 935080"/>
              <a:gd name="connsiteY6" fmla="*/ 862013 h 864519"/>
              <a:gd name="connsiteX7" fmla="*/ 428625 w 935080"/>
              <a:gd name="connsiteY7" fmla="*/ 864394 h 864519"/>
              <a:gd name="connsiteX8" fmla="*/ 0 w 935080"/>
              <a:gd name="connsiteY8" fmla="*/ 138113 h 864519"/>
              <a:gd name="connsiteX9" fmla="*/ 627 w 935080"/>
              <a:gd name="connsiteY9" fmla="*/ 2255 h 864519"/>
              <a:gd name="connsiteX0" fmla="*/ 0 w 934453"/>
              <a:gd name="connsiteY0" fmla="*/ 2255 h 864519"/>
              <a:gd name="connsiteX1" fmla="*/ 106530 w 934453"/>
              <a:gd name="connsiteY1" fmla="*/ 2382 h 864519"/>
              <a:gd name="connsiteX2" fmla="*/ 787567 w 934453"/>
              <a:gd name="connsiteY2" fmla="*/ 0 h 864519"/>
              <a:gd name="connsiteX3" fmla="*/ 934453 w 934453"/>
              <a:gd name="connsiteY3" fmla="*/ 2255 h 864519"/>
              <a:gd name="connsiteX4" fmla="*/ 932823 w 934453"/>
              <a:gd name="connsiteY4" fmla="*/ 121444 h 864519"/>
              <a:gd name="connsiteX5" fmla="*/ 934453 w 934453"/>
              <a:gd name="connsiteY5" fmla="*/ 864519 h 864519"/>
              <a:gd name="connsiteX6" fmla="*/ 616117 w 934453"/>
              <a:gd name="connsiteY6" fmla="*/ 862013 h 864519"/>
              <a:gd name="connsiteX7" fmla="*/ 427998 w 934453"/>
              <a:gd name="connsiteY7" fmla="*/ 864394 h 864519"/>
              <a:gd name="connsiteX8" fmla="*/ 99385 w 934453"/>
              <a:gd name="connsiteY8" fmla="*/ 307181 h 864519"/>
              <a:gd name="connsiteX9" fmla="*/ 0 w 934453"/>
              <a:gd name="connsiteY9" fmla="*/ 2255 h 864519"/>
              <a:gd name="connsiteX0" fmla="*/ 0 w 889209"/>
              <a:gd name="connsiteY0" fmla="*/ 133224 h 864519"/>
              <a:gd name="connsiteX1" fmla="*/ 61286 w 889209"/>
              <a:gd name="connsiteY1" fmla="*/ 2382 h 864519"/>
              <a:gd name="connsiteX2" fmla="*/ 742323 w 889209"/>
              <a:gd name="connsiteY2" fmla="*/ 0 h 864519"/>
              <a:gd name="connsiteX3" fmla="*/ 889209 w 889209"/>
              <a:gd name="connsiteY3" fmla="*/ 2255 h 864519"/>
              <a:gd name="connsiteX4" fmla="*/ 887579 w 889209"/>
              <a:gd name="connsiteY4" fmla="*/ 121444 h 864519"/>
              <a:gd name="connsiteX5" fmla="*/ 889209 w 889209"/>
              <a:gd name="connsiteY5" fmla="*/ 864519 h 864519"/>
              <a:gd name="connsiteX6" fmla="*/ 570873 w 889209"/>
              <a:gd name="connsiteY6" fmla="*/ 862013 h 864519"/>
              <a:gd name="connsiteX7" fmla="*/ 382754 w 889209"/>
              <a:gd name="connsiteY7" fmla="*/ 864394 h 864519"/>
              <a:gd name="connsiteX8" fmla="*/ 54141 w 889209"/>
              <a:gd name="connsiteY8" fmla="*/ 307181 h 864519"/>
              <a:gd name="connsiteX9" fmla="*/ 0 w 889209"/>
              <a:gd name="connsiteY9" fmla="*/ 133224 h 864519"/>
              <a:gd name="connsiteX0" fmla="*/ 42943 w 932152"/>
              <a:gd name="connsiteY0" fmla="*/ 133224 h 864519"/>
              <a:gd name="connsiteX1" fmla="*/ 104229 w 932152"/>
              <a:gd name="connsiteY1" fmla="*/ 2382 h 864519"/>
              <a:gd name="connsiteX2" fmla="*/ 785266 w 932152"/>
              <a:gd name="connsiteY2" fmla="*/ 0 h 864519"/>
              <a:gd name="connsiteX3" fmla="*/ 932152 w 932152"/>
              <a:gd name="connsiteY3" fmla="*/ 2255 h 864519"/>
              <a:gd name="connsiteX4" fmla="*/ 930522 w 932152"/>
              <a:gd name="connsiteY4" fmla="*/ 121444 h 864519"/>
              <a:gd name="connsiteX5" fmla="*/ 932152 w 932152"/>
              <a:gd name="connsiteY5" fmla="*/ 864519 h 864519"/>
              <a:gd name="connsiteX6" fmla="*/ 613816 w 932152"/>
              <a:gd name="connsiteY6" fmla="*/ 862013 h 864519"/>
              <a:gd name="connsiteX7" fmla="*/ 425697 w 932152"/>
              <a:gd name="connsiteY7" fmla="*/ 864394 h 864519"/>
              <a:gd name="connsiteX8" fmla="*/ 97084 w 932152"/>
              <a:gd name="connsiteY8" fmla="*/ 307181 h 864519"/>
              <a:gd name="connsiteX9" fmla="*/ 42943 w 932152"/>
              <a:gd name="connsiteY9" fmla="*/ 133224 h 864519"/>
              <a:gd name="connsiteX0" fmla="*/ 50330 w 939539"/>
              <a:gd name="connsiteY0" fmla="*/ 133224 h 864519"/>
              <a:gd name="connsiteX1" fmla="*/ 111616 w 939539"/>
              <a:gd name="connsiteY1" fmla="*/ 2382 h 864519"/>
              <a:gd name="connsiteX2" fmla="*/ 792653 w 939539"/>
              <a:gd name="connsiteY2" fmla="*/ 0 h 864519"/>
              <a:gd name="connsiteX3" fmla="*/ 939539 w 939539"/>
              <a:gd name="connsiteY3" fmla="*/ 2255 h 864519"/>
              <a:gd name="connsiteX4" fmla="*/ 937909 w 939539"/>
              <a:gd name="connsiteY4" fmla="*/ 121444 h 864519"/>
              <a:gd name="connsiteX5" fmla="*/ 939539 w 939539"/>
              <a:gd name="connsiteY5" fmla="*/ 864519 h 864519"/>
              <a:gd name="connsiteX6" fmla="*/ 621203 w 939539"/>
              <a:gd name="connsiteY6" fmla="*/ 862013 h 864519"/>
              <a:gd name="connsiteX7" fmla="*/ 433084 w 939539"/>
              <a:gd name="connsiteY7" fmla="*/ 864394 h 864519"/>
              <a:gd name="connsiteX8" fmla="*/ 104471 w 939539"/>
              <a:gd name="connsiteY8" fmla="*/ 307181 h 864519"/>
              <a:gd name="connsiteX9" fmla="*/ 50330 w 939539"/>
              <a:gd name="connsiteY9" fmla="*/ 133224 h 864519"/>
              <a:gd name="connsiteX0" fmla="*/ 50330 w 939539"/>
              <a:gd name="connsiteY0" fmla="*/ 133224 h 864519"/>
              <a:gd name="connsiteX1" fmla="*/ 792653 w 939539"/>
              <a:gd name="connsiteY1" fmla="*/ 0 h 864519"/>
              <a:gd name="connsiteX2" fmla="*/ 939539 w 939539"/>
              <a:gd name="connsiteY2" fmla="*/ 2255 h 864519"/>
              <a:gd name="connsiteX3" fmla="*/ 937909 w 939539"/>
              <a:gd name="connsiteY3" fmla="*/ 121444 h 864519"/>
              <a:gd name="connsiteX4" fmla="*/ 939539 w 939539"/>
              <a:gd name="connsiteY4" fmla="*/ 864519 h 864519"/>
              <a:gd name="connsiteX5" fmla="*/ 621203 w 939539"/>
              <a:gd name="connsiteY5" fmla="*/ 862013 h 864519"/>
              <a:gd name="connsiteX6" fmla="*/ 433084 w 939539"/>
              <a:gd name="connsiteY6" fmla="*/ 864394 h 864519"/>
              <a:gd name="connsiteX7" fmla="*/ 104471 w 939539"/>
              <a:gd name="connsiteY7" fmla="*/ 307181 h 864519"/>
              <a:gd name="connsiteX8" fmla="*/ 50330 w 939539"/>
              <a:gd name="connsiteY8" fmla="*/ 133224 h 864519"/>
              <a:gd name="connsiteX0" fmla="*/ 68023 w 900082"/>
              <a:gd name="connsiteY0" fmla="*/ 80837 h 864519"/>
              <a:gd name="connsiteX1" fmla="*/ 753196 w 900082"/>
              <a:gd name="connsiteY1" fmla="*/ 0 h 864519"/>
              <a:gd name="connsiteX2" fmla="*/ 900082 w 900082"/>
              <a:gd name="connsiteY2" fmla="*/ 2255 h 864519"/>
              <a:gd name="connsiteX3" fmla="*/ 898452 w 900082"/>
              <a:gd name="connsiteY3" fmla="*/ 121444 h 864519"/>
              <a:gd name="connsiteX4" fmla="*/ 900082 w 900082"/>
              <a:gd name="connsiteY4" fmla="*/ 864519 h 864519"/>
              <a:gd name="connsiteX5" fmla="*/ 581746 w 900082"/>
              <a:gd name="connsiteY5" fmla="*/ 862013 h 864519"/>
              <a:gd name="connsiteX6" fmla="*/ 393627 w 900082"/>
              <a:gd name="connsiteY6" fmla="*/ 864394 h 864519"/>
              <a:gd name="connsiteX7" fmla="*/ 65014 w 900082"/>
              <a:gd name="connsiteY7" fmla="*/ 307181 h 864519"/>
              <a:gd name="connsiteX8" fmla="*/ 68023 w 900082"/>
              <a:gd name="connsiteY8" fmla="*/ 80837 h 864519"/>
              <a:gd name="connsiteX0" fmla="*/ 91590 w 923649"/>
              <a:gd name="connsiteY0" fmla="*/ 80837 h 864519"/>
              <a:gd name="connsiteX1" fmla="*/ 776763 w 923649"/>
              <a:gd name="connsiteY1" fmla="*/ 0 h 864519"/>
              <a:gd name="connsiteX2" fmla="*/ 923649 w 923649"/>
              <a:gd name="connsiteY2" fmla="*/ 2255 h 864519"/>
              <a:gd name="connsiteX3" fmla="*/ 922019 w 923649"/>
              <a:gd name="connsiteY3" fmla="*/ 121444 h 864519"/>
              <a:gd name="connsiteX4" fmla="*/ 923649 w 923649"/>
              <a:gd name="connsiteY4" fmla="*/ 864519 h 864519"/>
              <a:gd name="connsiteX5" fmla="*/ 605313 w 923649"/>
              <a:gd name="connsiteY5" fmla="*/ 862013 h 864519"/>
              <a:gd name="connsiteX6" fmla="*/ 417194 w 923649"/>
              <a:gd name="connsiteY6" fmla="*/ 864394 h 864519"/>
              <a:gd name="connsiteX7" fmla="*/ 40956 w 923649"/>
              <a:gd name="connsiteY7" fmla="*/ 280987 h 864519"/>
              <a:gd name="connsiteX8" fmla="*/ 91590 w 923649"/>
              <a:gd name="connsiteY8" fmla="*/ 80837 h 864519"/>
              <a:gd name="connsiteX0" fmla="*/ 39499 w 871558"/>
              <a:gd name="connsiteY0" fmla="*/ 80837 h 864519"/>
              <a:gd name="connsiteX1" fmla="*/ 724672 w 871558"/>
              <a:gd name="connsiteY1" fmla="*/ 0 h 864519"/>
              <a:gd name="connsiteX2" fmla="*/ 871558 w 871558"/>
              <a:gd name="connsiteY2" fmla="*/ 2255 h 864519"/>
              <a:gd name="connsiteX3" fmla="*/ 869928 w 871558"/>
              <a:gd name="connsiteY3" fmla="*/ 121444 h 864519"/>
              <a:gd name="connsiteX4" fmla="*/ 871558 w 871558"/>
              <a:gd name="connsiteY4" fmla="*/ 864519 h 864519"/>
              <a:gd name="connsiteX5" fmla="*/ 553222 w 871558"/>
              <a:gd name="connsiteY5" fmla="*/ 862013 h 864519"/>
              <a:gd name="connsiteX6" fmla="*/ 365103 w 871558"/>
              <a:gd name="connsiteY6" fmla="*/ 864394 h 864519"/>
              <a:gd name="connsiteX7" fmla="*/ 150790 w 871558"/>
              <a:gd name="connsiteY7" fmla="*/ 352425 h 864519"/>
              <a:gd name="connsiteX8" fmla="*/ 39499 w 871558"/>
              <a:gd name="connsiteY8" fmla="*/ 80837 h 864519"/>
              <a:gd name="connsiteX0" fmla="*/ 100076 w 932135"/>
              <a:gd name="connsiteY0" fmla="*/ 80837 h 864519"/>
              <a:gd name="connsiteX1" fmla="*/ 785249 w 932135"/>
              <a:gd name="connsiteY1" fmla="*/ 0 h 864519"/>
              <a:gd name="connsiteX2" fmla="*/ 932135 w 932135"/>
              <a:gd name="connsiteY2" fmla="*/ 2255 h 864519"/>
              <a:gd name="connsiteX3" fmla="*/ 930505 w 932135"/>
              <a:gd name="connsiteY3" fmla="*/ 121444 h 864519"/>
              <a:gd name="connsiteX4" fmla="*/ 932135 w 932135"/>
              <a:gd name="connsiteY4" fmla="*/ 864519 h 864519"/>
              <a:gd name="connsiteX5" fmla="*/ 613799 w 932135"/>
              <a:gd name="connsiteY5" fmla="*/ 862013 h 864519"/>
              <a:gd name="connsiteX6" fmla="*/ 425680 w 932135"/>
              <a:gd name="connsiteY6" fmla="*/ 864394 h 864519"/>
              <a:gd name="connsiteX7" fmla="*/ 211367 w 932135"/>
              <a:gd name="connsiteY7" fmla="*/ 352425 h 864519"/>
              <a:gd name="connsiteX8" fmla="*/ 100076 w 932135"/>
              <a:gd name="connsiteY8" fmla="*/ 80837 h 864519"/>
              <a:gd name="connsiteX0" fmla="*/ 100926 w 932985"/>
              <a:gd name="connsiteY0" fmla="*/ 80837 h 864519"/>
              <a:gd name="connsiteX1" fmla="*/ 786099 w 932985"/>
              <a:gd name="connsiteY1" fmla="*/ 0 h 864519"/>
              <a:gd name="connsiteX2" fmla="*/ 932985 w 932985"/>
              <a:gd name="connsiteY2" fmla="*/ 2255 h 864519"/>
              <a:gd name="connsiteX3" fmla="*/ 931355 w 932985"/>
              <a:gd name="connsiteY3" fmla="*/ 121444 h 864519"/>
              <a:gd name="connsiteX4" fmla="*/ 932985 w 932985"/>
              <a:gd name="connsiteY4" fmla="*/ 864519 h 864519"/>
              <a:gd name="connsiteX5" fmla="*/ 614649 w 932985"/>
              <a:gd name="connsiteY5" fmla="*/ 862013 h 864519"/>
              <a:gd name="connsiteX6" fmla="*/ 426530 w 932985"/>
              <a:gd name="connsiteY6" fmla="*/ 864394 h 864519"/>
              <a:gd name="connsiteX7" fmla="*/ 212217 w 932985"/>
              <a:gd name="connsiteY7" fmla="*/ 352425 h 864519"/>
              <a:gd name="connsiteX8" fmla="*/ 100926 w 932985"/>
              <a:gd name="connsiteY8" fmla="*/ 80837 h 864519"/>
              <a:gd name="connsiteX0" fmla="*/ 100926 w 932985"/>
              <a:gd name="connsiteY0" fmla="*/ 80837 h 864519"/>
              <a:gd name="connsiteX1" fmla="*/ 786099 w 932985"/>
              <a:gd name="connsiteY1" fmla="*/ 0 h 864519"/>
              <a:gd name="connsiteX2" fmla="*/ 931355 w 932985"/>
              <a:gd name="connsiteY2" fmla="*/ 121444 h 864519"/>
              <a:gd name="connsiteX3" fmla="*/ 932985 w 932985"/>
              <a:gd name="connsiteY3" fmla="*/ 864519 h 864519"/>
              <a:gd name="connsiteX4" fmla="*/ 614649 w 932985"/>
              <a:gd name="connsiteY4" fmla="*/ 862013 h 864519"/>
              <a:gd name="connsiteX5" fmla="*/ 426530 w 932985"/>
              <a:gd name="connsiteY5" fmla="*/ 864394 h 864519"/>
              <a:gd name="connsiteX6" fmla="*/ 212217 w 932985"/>
              <a:gd name="connsiteY6" fmla="*/ 352425 h 864519"/>
              <a:gd name="connsiteX7" fmla="*/ 100926 w 932985"/>
              <a:gd name="connsiteY7" fmla="*/ 80837 h 864519"/>
              <a:gd name="connsiteX0" fmla="*/ 100926 w 932985"/>
              <a:gd name="connsiteY0" fmla="*/ 80837 h 864519"/>
              <a:gd name="connsiteX1" fmla="*/ 786099 w 932985"/>
              <a:gd name="connsiteY1" fmla="*/ 0 h 864519"/>
              <a:gd name="connsiteX2" fmla="*/ 905162 w 932985"/>
              <a:gd name="connsiteY2" fmla="*/ 169069 h 864519"/>
              <a:gd name="connsiteX3" fmla="*/ 932985 w 932985"/>
              <a:gd name="connsiteY3" fmla="*/ 864519 h 864519"/>
              <a:gd name="connsiteX4" fmla="*/ 614649 w 932985"/>
              <a:gd name="connsiteY4" fmla="*/ 862013 h 864519"/>
              <a:gd name="connsiteX5" fmla="*/ 426530 w 932985"/>
              <a:gd name="connsiteY5" fmla="*/ 864394 h 864519"/>
              <a:gd name="connsiteX6" fmla="*/ 212217 w 932985"/>
              <a:gd name="connsiteY6" fmla="*/ 352425 h 864519"/>
              <a:gd name="connsiteX7" fmla="*/ 100926 w 932985"/>
              <a:gd name="connsiteY7" fmla="*/ 80837 h 864519"/>
              <a:gd name="connsiteX0" fmla="*/ 100926 w 932985"/>
              <a:gd name="connsiteY0" fmla="*/ 80837 h 864519"/>
              <a:gd name="connsiteX1" fmla="*/ 786099 w 932985"/>
              <a:gd name="connsiteY1" fmla="*/ 0 h 864519"/>
              <a:gd name="connsiteX2" fmla="*/ 905162 w 932985"/>
              <a:gd name="connsiteY2" fmla="*/ 169069 h 864519"/>
              <a:gd name="connsiteX3" fmla="*/ 932985 w 932985"/>
              <a:gd name="connsiteY3" fmla="*/ 864519 h 864519"/>
              <a:gd name="connsiteX4" fmla="*/ 614649 w 932985"/>
              <a:gd name="connsiteY4" fmla="*/ 862013 h 864519"/>
              <a:gd name="connsiteX5" fmla="*/ 426530 w 932985"/>
              <a:gd name="connsiteY5" fmla="*/ 864394 h 864519"/>
              <a:gd name="connsiteX6" fmla="*/ 212217 w 932985"/>
              <a:gd name="connsiteY6" fmla="*/ 352425 h 864519"/>
              <a:gd name="connsiteX7" fmla="*/ 100926 w 932985"/>
              <a:gd name="connsiteY7" fmla="*/ 80837 h 864519"/>
              <a:gd name="connsiteX0" fmla="*/ 100926 w 932985"/>
              <a:gd name="connsiteY0" fmla="*/ 80837 h 864519"/>
              <a:gd name="connsiteX1" fmla="*/ 786099 w 932985"/>
              <a:gd name="connsiteY1" fmla="*/ 0 h 864519"/>
              <a:gd name="connsiteX2" fmla="*/ 905162 w 932985"/>
              <a:gd name="connsiteY2" fmla="*/ 169069 h 864519"/>
              <a:gd name="connsiteX3" fmla="*/ 932985 w 932985"/>
              <a:gd name="connsiteY3" fmla="*/ 864519 h 864519"/>
              <a:gd name="connsiteX4" fmla="*/ 614649 w 932985"/>
              <a:gd name="connsiteY4" fmla="*/ 862013 h 864519"/>
              <a:gd name="connsiteX5" fmla="*/ 426530 w 932985"/>
              <a:gd name="connsiteY5" fmla="*/ 864394 h 864519"/>
              <a:gd name="connsiteX6" fmla="*/ 212217 w 932985"/>
              <a:gd name="connsiteY6" fmla="*/ 352425 h 864519"/>
              <a:gd name="connsiteX7" fmla="*/ 100926 w 932985"/>
              <a:gd name="connsiteY7" fmla="*/ 80837 h 864519"/>
              <a:gd name="connsiteX0" fmla="*/ 100926 w 919778"/>
              <a:gd name="connsiteY0" fmla="*/ 80837 h 864394"/>
              <a:gd name="connsiteX1" fmla="*/ 786099 w 919778"/>
              <a:gd name="connsiteY1" fmla="*/ 0 h 864394"/>
              <a:gd name="connsiteX2" fmla="*/ 905162 w 919778"/>
              <a:gd name="connsiteY2" fmla="*/ 169069 h 864394"/>
              <a:gd name="connsiteX3" fmla="*/ 614649 w 919778"/>
              <a:gd name="connsiteY3" fmla="*/ 862013 h 864394"/>
              <a:gd name="connsiteX4" fmla="*/ 426530 w 919778"/>
              <a:gd name="connsiteY4" fmla="*/ 864394 h 864394"/>
              <a:gd name="connsiteX5" fmla="*/ 212217 w 919778"/>
              <a:gd name="connsiteY5" fmla="*/ 352425 h 864394"/>
              <a:gd name="connsiteX6" fmla="*/ 100926 w 919778"/>
              <a:gd name="connsiteY6" fmla="*/ 80837 h 864394"/>
              <a:gd name="connsiteX0" fmla="*/ 100926 w 919778"/>
              <a:gd name="connsiteY0" fmla="*/ 80837 h 862013"/>
              <a:gd name="connsiteX1" fmla="*/ 786099 w 919778"/>
              <a:gd name="connsiteY1" fmla="*/ 0 h 862013"/>
              <a:gd name="connsiteX2" fmla="*/ 905162 w 919778"/>
              <a:gd name="connsiteY2" fmla="*/ 169069 h 862013"/>
              <a:gd name="connsiteX3" fmla="*/ 614649 w 919778"/>
              <a:gd name="connsiteY3" fmla="*/ 862013 h 862013"/>
              <a:gd name="connsiteX4" fmla="*/ 414624 w 919778"/>
              <a:gd name="connsiteY4" fmla="*/ 673894 h 862013"/>
              <a:gd name="connsiteX5" fmla="*/ 212217 w 919778"/>
              <a:gd name="connsiteY5" fmla="*/ 352425 h 862013"/>
              <a:gd name="connsiteX6" fmla="*/ 100926 w 919778"/>
              <a:gd name="connsiteY6" fmla="*/ 80837 h 862013"/>
              <a:gd name="connsiteX0" fmla="*/ 100926 w 919778"/>
              <a:gd name="connsiteY0" fmla="*/ 80837 h 766763"/>
              <a:gd name="connsiteX1" fmla="*/ 786099 w 919778"/>
              <a:gd name="connsiteY1" fmla="*/ 0 h 766763"/>
              <a:gd name="connsiteX2" fmla="*/ 905162 w 919778"/>
              <a:gd name="connsiteY2" fmla="*/ 169069 h 766763"/>
              <a:gd name="connsiteX3" fmla="*/ 647986 w 919778"/>
              <a:gd name="connsiteY3" fmla="*/ 766763 h 766763"/>
              <a:gd name="connsiteX4" fmla="*/ 414624 w 919778"/>
              <a:gd name="connsiteY4" fmla="*/ 673894 h 766763"/>
              <a:gd name="connsiteX5" fmla="*/ 212217 w 919778"/>
              <a:gd name="connsiteY5" fmla="*/ 352425 h 766763"/>
              <a:gd name="connsiteX6" fmla="*/ 100926 w 919778"/>
              <a:gd name="connsiteY6" fmla="*/ 80837 h 766763"/>
              <a:gd name="connsiteX0" fmla="*/ 100926 w 919778"/>
              <a:gd name="connsiteY0" fmla="*/ 80837 h 879256"/>
              <a:gd name="connsiteX1" fmla="*/ 786099 w 919778"/>
              <a:gd name="connsiteY1" fmla="*/ 0 h 879256"/>
              <a:gd name="connsiteX2" fmla="*/ 905162 w 919778"/>
              <a:gd name="connsiteY2" fmla="*/ 169069 h 879256"/>
              <a:gd name="connsiteX3" fmla="*/ 647986 w 919778"/>
              <a:gd name="connsiteY3" fmla="*/ 766763 h 879256"/>
              <a:gd name="connsiteX4" fmla="*/ 481300 w 919778"/>
              <a:gd name="connsiteY4" fmla="*/ 878683 h 879256"/>
              <a:gd name="connsiteX5" fmla="*/ 414624 w 919778"/>
              <a:gd name="connsiteY5" fmla="*/ 673894 h 879256"/>
              <a:gd name="connsiteX6" fmla="*/ 212217 w 919778"/>
              <a:gd name="connsiteY6" fmla="*/ 352425 h 879256"/>
              <a:gd name="connsiteX7" fmla="*/ 100926 w 919778"/>
              <a:gd name="connsiteY7" fmla="*/ 80837 h 879256"/>
              <a:gd name="connsiteX0" fmla="*/ 100926 w 919778"/>
              <a:gd name="connsiteY0" fmla="*/ 80837 h 797494"/>
              <a:gd name="connsiteX1" fmla="*/ 786099 w 919778"/>
              <a:gd name="connsiteY1" fmla="*/ 0 h 797494"/>
              <a:gd name="connsiteX2" fmla="*/ 905162 w 919778"/>
              <a:gd name="connsiteY2" fmla="*/ 169069 h 797494"/>
              <a:gd name="connsiteX3" fmla="*/ 647986 w 919778"/>
              <a:gd name="connsiteY3" fmla="*/ 766763 h 797494"/>
              <a:gd name="connsiteX4" fmla="*/ 414624 w 919778"/>
              <a:gd name="connsiteY4" fmla="*/ 673894 h 797494"/>
              <a:gd name="connsiteX5" fmla="*/ 212217 w 919778"/>
              <a:gd name="connsiteY5" fmla="*/ 352425 h 797494"/>
              <a:gd name="connsiteX6" fmla="*/ 100926 w 919778"/>
              <a:gd name="connsiteY6" fmla="*/ 80837 h 797494"/>
              <a:gd name="connsiteX0" fmla="*/ 100926 w 919778"/>
              <a:gd name="connsiteY0" fmla="*/ 80837 h 857767"/>
              <a:gd name="connsiteX1" fmla="*/ 786099 w 919778"/>
              <a:gd name="connsiteY1" fmla="*/ 0 h 857767"/>
              <a:gd name="connsiteX2" fmla="*/ 905162 w 919778"/>
              <a:gd name="connsiteY2" fmla="*/ 169069 h 857767"/>
              <a:gd name="connsiteX3" fmla="*/ 647986 w 919778"/>
              <a:gd name="connsiteY3" fmla="*/ 766763 h 857767"/>
              <a:gd name="connsiteX4" fmla="*/ 414624 w 919778"/>
              <a:gd name="connsiteY4" fmla="*/ 673894 h 857767"/>
              <a:gd name="connsiteX5" fmla="*/ 212217 w 919778"/>
              <a:gd name="connsiteY5" fmla="*/ 352425 h 857767"/>
              <a:gd name="connsiteX6" fmla="*/ 100926 w 919778"/>
              <a:gd name="connsiteY6" fmla="*/ 80837 h 857767"/>
              <a:gd name="connsiteX0" fmla="*/ 100926 w 919778"/>
              <a:gd name="connsiteY0" fmla="*/ 80837 h 874459"/>
              <a:gd name="connsiteX1" fmla="*/ 786099 w 919778"/>
              <a:gd name="connsiteY1" fmla="*/ 0 h 874459"/>
              <a:gd name="connsiteX2" fmla="*/ 905162 w 919778"/>
              <a:gd name="connsiteY2" fmla="*/ 169069 h 874459"/>
              <a:gd name="connsiteX3" fmla="*/ 647986 w 919778"/>
              <a:gd name="connsiteY3" fmla="*/ 766763 h 874459"/>
              <a:gd name="connsiteX4" fmla="*/ 414624 w 919778"/>
              <a:gd name="connsiteY4" fmla="*/ 673894 h 874459"/>
              <a:gd name="connsiteX5" fmla="*/ 212217 w 919778"/>
              <a:gd name="connsiteY5" fmla="*/ 352425 h 874459"/>
              <a:gd name="connsiteX6" fmla="*/ 100926 w 919778"/>
              <a:gd name="connsiteY6" fmla="*/ 80837 h 874459"/>
              <a:gd name="connsiteX0" fmla="*/ 100926 w 919778"/>
              <a:gd name="connsiteY0" fmla="*/ 80837 h 876757"/>
              <a:gd name="connsiteX1" fmla="*/ 786099 w 919778"/>
              <a:gd name="connsiteY1" fmla="*/ 0 h 876757"/>
              <a:gd name="connsiteX2" fmla="*/ 905162 w 919778"/>
              <a:gd name="connsiteY2" fmla="*/ 169069 h 876757"/>
              <a:gd name="connsiteX3" fmla="*/ 647986 w 919778"/>
              <a:gd name="connsiteY3" fmla="*/ 766763 h 876757"/>
              <a:gd name="connsiteX4" fmla="*/ 414624 w 919778"/>
              <a:gd name="connsiteY4" fmla="*/ 673894 h 876757"/>
              <a:gd name="connsiteX5" fmla="*/ 212217 w 919778"/>
              <a:gd name="connsiteY5" fmla="*/ 352425 h 876757"/>
              <a:gd name="connsiteX6" fmla="*/ 100926 w 919778"/>
              <a:gd name="connsiteY6" fmla="*/ 80837 h 876757"/>
              <a:gd name="connsiteX0" fmla="*/ 100926 w 919778"/>
              <a:gd name="connsiteY0" fmla="*/ 80837 h 876757"/>
              <a:gd name="connsiteX1" fmla="*/ 786099 w 919778"/>
              <a:gd name="connsiteY1" fmla="*/ 0 h 876757"/>
              <a:gd name="connsiteX2" fmla="*/ 905162 w 919778"/>
              <a:gd name="connsiteY2" fmla="*/ 169069 h 876757"/>
              <a:gd name="connsiteX3" fmla="*/ 647986 w 919778"/>
              <a:gd name="connsiteY3" fmla="*/ 766763 h 876757"/>
              <a:gd name="connsiteX4" fmla="*/ 414624 w 919778"/>
              <a:gd name="connsiteY4" fmla="*/ 673894 h 876757"/>
              <a:gd name="connsiteX5" fmla="*/ 212217 w 919778"/>
              <a:gd name="connsiteY5" fmla="*/ 352425 h 876757"/>
              <a:gd name="connsiteX6" fmla="*/ 100926 w 919778"/>
              <a:gd name="connsiteY6" fmla="*/ 80837 h 876757"/>
              <a:gd name="connsiteX0" fmla="*/ 100926 w 919778"/>
              <a:gd name="connsiteY0" fmla="*/ 80837 h 876757"/>
              <a:gd name="connsiteX1" fmla="*/ 786099 w 919778"/>
              <a:gd name="connsiteY1" fmla="*/ 0 h 876757"/>
              <a:gd name="connsiteX2" fmla="*/ 905162 w 919778"/>
              <a:gd name="connsiteY2" fmla="*/ 169069 h 876757"/>
              <a:gd name="connsiteX3" fmla="*/ 647986 w 919778"/>
              <a:gd name="connsiteY3" fmla="*/ 766763 h 876757"/>
              <a:gd name="connsiteX4" fmla="*/ 414624 w 919778"/>
              <a:gd name="connsiteY4" fmla="*/ 673894 h 876757"/>
              <a:gd name="connsiteX5" fmla="*/ 212217 w 919778"/>
              <a:gd name="connsiteY5" fmla="*/ 352425 h 876757"/>
              <a:gd name="connsiteX6" fmla="*/ 100926 w 919778"/>
              <a:gd name="connsiteY6" fmla="*/ 80837 h 876757"/>
              <a:gd name="connsiteX0" fmla="*/ 100926 w 919778"/>
              <a:gd name="connsiteY0" fmla="*/ 80837 h 875028"/>
              <a:gd name="connsiteX1" fmla="*/ 786099 w 919778"/>
              <a:gd name="connsiteY1" fmla="*/ 0 h 875028"/>
              <a:gd name="connsiteX2" fmla="*/ 905162 w 919778"/>
              <a:gd name="connsiteY2" fmla="*/ 169069 h 875028"/>
              <a:gd name="connsiteX3" fmla="*/ 647986 w 919778"/>
              <a:gd name="connsiteY3" fmla="*/ 766763 h 875028"/>
              <a:gd name="connsiteX4" fmla="*/ 414624 w 919778"/>
              <a:gd name="connsiteY4" fmla="*/ 673894 h 875028"/>
              <a:gd name="connsiteX5" fmla="*/ 212217 w 919778"/>
              <a:gd name="connsiteY5" fmla="*/ 352425 h 875028"/>
              <a:gd name="connsiteX6" fmla="*/ 100926 w 919778"/>
              <a:gd name="connsiteY6" fmla="*/ 80837 h 875028"/>
              <a:gd name="connsiteX0" fmla="*/ 100926 w 919778"/>
              <a:gd name="connsiteY0" fmla="*/ 80837 h 875028"/>
              <a:gd name="connsiteX1" fmla="*/ 786099 w 919778"/>
              <a:gd name="connsiteY1" fmla="*/ 0 h 875028"/>
              <a:gd name="connsiteX2" fmla="*/ 905162 w 919778"/>
              <a:gd name="connsiteY2" fmla="*/ 169069 h 875028"/>
              <a:gd name="connsiteX3" fmla="*/ 647986 w 919778"/>
              <a:gd name="connsiteY3" fmla="*/ 766763 h 875028"/>
              <a:gd name="connsiteX4" fmla="*/ 414624 w 919778"/>
              <a:gd name="connsiteY4" fmla="*/ 673894 h 875028"/>
              <a:gd name="connsiteX5" fmla="*/ 243175 w 919778"/>
              <a:gd name="connsiteY5" fmla="*/ 392907 h 875028"/>
              <a:gd name="connsiteX6" fmla="*/ 212217 w 919778"/>
              <a:gd name="connsiteY6" fmla="*/ 352425 h 875028"/>
              <a:gd name="connsiteX7" fmla="*/ 100926 w 919778"/>
              <a:gd name="connsiteY7" fmla="*/ 80837 h 875028"/>
              <a:gd name="connsiteX0" fmla="*/ 741195 w 1560047"/>
              <a:gd name="connsiteY0" fmla="*/ 80837 h 875028"/>
              <a:gd name="connsiteX1" fmla="*/ 1426368 w 1560047"/>
              <a:gd name="connsiteY1" fmla="*/ 0 h 875028"/>
              <a:gd name="connsiteX2" fmla="*/ 1545431 w 1560047"/>
              <a:gd name="connsiteY2" fmla="*/ 169069 h 875028"/>
              <a:gd name="connsiteX3" fmla="*/ 1288255 w 1560047"/>
              <a:gd name="connsiteY3" fmla="*/ 766763 h 875028"/>
              <a:gd name="connsiteX4" fmla="*/ 1054893 w 1560047"/>
              <a:gd name="connsiteY4" fmla="*/ 673894 h 875028"/>
              <a:gd name="connsiteX5" fmla="*/ 0 w 1560047"/>
              <a:gd name="connsiteY5" fmla="*/ 809626 h 875028"/>
              <a:gd name="connsiteX6" fmla="*/ 852486 w 1560047"/>
              <a:gd name="connsiteY6" fmla="*/ 352425 h 875028"/>
              <a:gd name="connsiteX7" fmla="*/ 741195 w 1560047"/>
              <a:gd name="connsiteY7" fmla="*/ 80837 h 875028"/>
              <a:gd name="connsiteX0" fmla="*/ 741195 w 1560047"/>
              <a:gd name="connsiteY0" fmla="*/ 80837 h 875028"/>
              <a:gd name="connsiteX1" fmla="*/ 1426368 w 1560047"/>
              <a:gd name="connsiteY1" fmla="*/ 0 h 875028"/>
              <a:gd name="connsiteX2" fmla="*/ 1545431 w 1560047"/>
              <a:gd name="connsiteY2" fmla="*/ 169069 h 875028"/>
              <a:gd name="connsiteX3" fmla="*/ 1288255 w 1560047"/>
              <a:gd name="connsiteY3" fmla="*/ 766763 h 875028"/>
              <a:gd name="connsiteX4" fmla="*/ 1054893 w 1560047"/>
              <a:gd name="connsiteY4" fmla="*/ 673894 h 875028"/>
              <a:gd name="connsiteX5" fmla="*/ 1000126 w 1560047"/>
              <a:gd name="connsiteY5" fmla="*/ 673894 h 875028"/>
              <a:gd name="connsiteX6" fmla="*/ 0 w 1560047"/>
              <a:gd name="connsiteY6" fmla="*/ 809626 h 875028"/>
              <a:gd name="connsiteX7" fmla="*/ 852486 w 1560047"/>
              <a:gd name="connsiteY7" fmla="*/ 352425 h 875028"/>
              <a:gd name="connsiteX8" fmla="*/ 741195 w 1560047"/>
              <a:gd name="connsiteY8" fmla="*/ 80837 h 875028"/>
              <a:gd name="connsiteX0" fmla="*/ 741195 w 1560047"/>
              <a:gd name="connsiteY0" fmla="*/ 80837 h 1114426"/>
              <a:gd name="connsiteX1" fmla="*/ 1426368 w 1560047"/>
              <a:gd name="connsiteY1" fmla="*/ 0 h 1114426"/>
              <a:gd name="connsiteX2" fmla="*/ 1545431 w 1560047"/>
              <a:gd name="connsiteY2" fmla="*/ 169069 h 1114426"/>
              <a:gd name="connsiteX3" fmla="*/ 1288255 w 1560047"/>
              <a:gd name="connsiteY3" fmla="*/ 766763 h 1114426"/>
              <a:gd name="connsiteX4" fmla="*/ 1054893 w 1560047"/>
              <a:gd name="connsiteY4" fmla="*/ 673894 h 1114426"/>
              <a:gd name="connsiteX5" fmla="*/ 185739 w 1560047"/>
              <a:gd name="connsiteY5" fmla="*/ 1114426 h 1114426"/>
              <a:gd name="connsiteX6" fmla="*/ 0 w 1560047"/>
              <a:gd name="connsiteY6" fmla="*/ 809626 h 1114426"/>
              <a:gd name="connsiteX7" fmla="*/ 852486 w 1560047"/>
              <a:gd name="connsiteY7" fmla="*/ 352425 h 1114426"/>
              <a:gd name="connsiteX8" fmla="*/ 741195 w 1560047"/>
              <a:gd name="connsiteY8" fmla="*/ 80837 h 1114426"/>
              <a:gd name="connsiteX0" fmla="*/ 1350793 w 2169645"/>
              <a:gd name="connsiteY0" fmla="*/ 80837 h 1443038"/>
              <a:gd name="connsiteX1" fmla="*/ 2035966 w 2169645"/>
              <a:gd name="connsiteY1" fmla="*/ 0 h 1443038"/>
              <a:gd name="connsiteX2" fmla="*/ 2155029 w 2169645"/>
              <a:gd name="connsiteY2" fmla="*/ 169069 h 1443038"/>
              <a:gd name="connsiteX3" fmla="*/ 1897853 w 2169645"/>
              <a:gd name="connsiteY3" fmla="*/ 766763 h 1443038"/>
              <a:gd name="connsiteX4" fmla="*/ 1664491 w 2169645"/>
              <a:gd name="connsiteY4" fmla="*/ 673894 h 1443038"/>
              <a:gd name="connsiteX5" fmla="*/ 0 w 2169645"/>
              <a:gd name="connsiteY5" fmla="*/ 1443038 h 1443038"/>
              <a:gd name="connsiteX6" fmla="*/ 609598 w 2169645"/>
              <a:gd name="connsiteY6" fmla="*/ 809626 h 1443038"/>
              <a:gd name="connsiteX7" fmla="*/ 1462084 w 2169645"/>
              <a:gd name="connsiteY7" fmla="*/ 352425 h 1443038"/>
              <a:gd name="connsiteX8" fmla="*/ 1350793 w 2169645"/>
              <a:gd name="connsiteY8" fmla="*/ 80837 h 1443038"/>
              <a:gd name="connsiteX0" fmla="*/ 1350793 w 2169645"/>
              <a:gd name="connsiteY0" fmla="*/ 80837 h 1443038"/>
              <a:gd name="connsiteX1" fmla="*/ 2035966 w 2169645"/>
              <a:gd name="connsiteY1" fmla="*/ 0 h 1443038"/>
              <a:gd name="connsiteX2" fmla="*/ 2155029 w 2169645"/>
              <a:gd name="connsiteY2" fmla="*/ 169069 h 1443038"/>
              <a:gd name="connsiteX3" fmla="*/ 1897853 w 2169645"/>
              <a:gd name="connsiteY3" fmla="*/ 766763 h 1443038"/>
              <a:gd name="connsiteX4" fmla="*/ 1664491 w 2169645"/>
              <a:gd name="connsiteY4" fmla="*/ 673894 h 1443038"/>
              <a:gd name="connsiteX5" fmla="*/ 0 w 2169645"/>
              <a:gd name="connsiteY5" fmla="*/ 1443038 h 1443038"/>
              <a:gd name="connsiteX6" fmla="*/ 88104 w 2169645"/>
              <a:gd name="connsiteY6" fmla="*/ 1031082 h 1443038"/>
              <a:gd name="connsiteX7" fmla="*/ 1462084 w 2169645"/>
              <a:gd name="connsiteY7" fmla="*/ 352425 h 1443038"/>
              <a:gd name="connsiteX8" fmla="*/ 1350793 w 2169645"/>
              <a:gd name="connsiteY8" fmla="*/ 80837 h 1443038"/>
              <a:gd name="connsiteX0" fmla="*/ 1386514 w 2205366"/>
              <a:gd name="connsiteY0" fmla="*/ 80837 h 1443038"/>
              <a:gd name="connsiteX1" fmla="*/ 2071687 w 2205366"/>
              <a:gd name="connsiteY1" fmla="*/ 0 h 1443038"/>
              <a:gd name="connsiteX2" fmla="*/ 2190750 w 2205366"/>
              <a:gd name="connsiteY2" fmla="*/ 169069 h 1443038"/>
              <a:gd name="connsiteX3" fmla="*/ 1933574 w 2205366"/>
              <a:gd name="connsiteY3" fmla="*/ 766763 h 1443038"/>
              <a:gd name="connsiteX4" fmla="*/ 1700212 w 2205366"/>
              <a:gd name="connsiteY4" fmla="*/ 673894 h 1443038"/>
              <a:gd name="connsiteX5" fmla="*/ 35721 w 2205366"/>
              <a:gd name="connsiteY5" fmla="*/ 1443038 h 1443038"/>
              <a:gd name="connsiteX6" fmla="*/ 0 w 2205366"/>
              <a:gd name="connsiteY6" fmla="*/ 1069182 h 1443038"/>
              <a:gd name="connsiteX7" fmla="*/ 1497805 w 2205366"/>
              <a:gd name="connsiteY7" fmla="*/ 352425 h 1443038"/>
              <a:gd name="connsiteX8" fmla="*/ 1386514 w 2205366"/>
              <a:gd name="connsiteY8" fmla="*/ 80837 h 1443038"/>
              <a:gd name="connsiteX0" fmla="*/ 1482984 w 2301836"/>
              <a:gd name="connsiteY0" fmla="*/ 80837 h 1443038"/>
              <a:gd name="connsiteX1" fmla="*/ 2168157 w 2301836"/>
              <a:gd name="connsiteY1" fmla="*/ 0 h 1443038"/>
              <a:gd name="connsiteX2" fmla="*/ 2287220 w 2301836"/>
              <a:gd name="connsiteY2" fmla="*/ 169069 h 1443038"/>
              <a:gd name="connsiteX3" fmla="*/ 2030044 w 2301836"/>
              <a:gd name="connsiteY3" fmla="*/ 766763 h 1443038"/>
              <a:gd name="connsiteX4" fmla="*/ 1796682 w 2301836"/>
              <a:gd name="connsiteY4" fmla="*/ 673894 h 1443038"/>
              <a:gd name="connsiteX5" fmla="*/ 132191 w 2301836"/>
              <a:gd name="connsiteY5" fmla="*/ 1443038 h 1443038"/>
              <a:gd name="connsiteX6" fmla="*/ 96470 w 2301836"/>
              <a:gd name="connsiteY6" fmla="*/ 1069182 h 1443038"/>
              <a:gd name="connsiteX7" fmla="*/ 1594275 w 2301836"/>
              <a:gd name="connsiteY7" fmla="*/ 352425 h 1443038"/>
              <a:gd name="connsiteX8" fmla="*/ 1482984 w 2301836"/>
              <a:gd name="connsiteY8" fmla="*/ 80837 h 1443038"/>
              <a:gd name="connsiteX0" fmla="*/ 1513501 w 2332353"/>
              <a:gd name="connsiteY0" fmla="*/ 80837 h 1443074"/>
              <a:gd name="connsiteX1" fmla="*/ 2198674 w 2332353"/>
              <a:gd name="connsiteY1" fmla="*/ 0 h 1443074"/>
              <a:gd name="connsiteX2" fmla="*/ 2317737 w 2332353"/>
              <a:gd name="connsiteY2" fmla="*/ 169069 h 1443074"/>
              <a:gd name="connsiteX3" fmla="*/ 2060561 w 2332353"/>
              <a:gd name="connsiteY3" fmla="*/ 766763 h 1443074"/>
              <a:gd name="connsiteX4" fmla="*/ 1827199 w 2332353"/>
              <a:gd name="connsiteY4" fmla="*/ 673894 h 1443074"/>
              <a:gd name="connsiteX5" fmla="*/ 162708 w 2332353"/>
              <a:gd name="connsiteY5" fmla="*/ 1443038 h 1443074"/>
              <a:gd name="connsiteX6" fmla="*/ 126987 w 2332353"/>
              <a:gd name="connsiteY6" fmla="*/ 1069182 h 1443074"/>
              <a:gd name="connsiteX7" fmla="*/ 1624792 w 2332353"/>
              <a:gd name="connsiteY7" fmla="*/ 352425 h 1443074"/>
              <a:gd name="connsiteX8" fmla="*/ 1513501 w 2332353"/>
              <a:gd name="connsiteY8" fmla="*/ 80837 h 1443074"/>
              <a:gd name="connsiteX0" fmla="*/ 1486860 w 2305712"/>
              <a:gd name="connsiteY0" fmla="*/ 80837 h 1397836"/>
              <a:gd name="connsiteX1" fmla="*/ 2172033 w 2305712"/>
              <a:gd name="connsiteY1" fmla="*/ 0 h 1397836"/>
              <a:gd name="connsiteX2" fmla="*/ 2291096 w 2305712"/>
              <a:gd name="connsiteY2" fmla="*/ 169069 h 1397836"/>
              <a:gd name="connsiteX3" fmla="*/ 2033920 w 2305712"/>
              <a:gd name="connsiteY3" fmla="*/ 766763 h 1397836"/>
              <a:gd name="connsiteX4" fmla="*/ 1800558 w 2305712"/>
              <a:gd name="connsiteY4" fmla="*/ 673894 h 1397836"/>
              <a:gd name="connsiteX5" fmla="*/ 228936 w 2305712"/>
              <a:gd name="connsiteY5" fmla="*/ 1397794 h 1397836"/>
              <a:gd name="connsiteX6" fmla="*/ 100346 w 2305712"/>
              <a:gd name="connsiteY6" fmla="*/ 1069182 h 1397836"/>
              <a:gd name="connsiteX7" fmla="*/ 1598151 w 2305712"/>
              <a:gd name="connsiteY7" fmla="*/ 352425 h 1397836"/>
              <a:gd name="connsiteX8" fmla="*/ 1486860 w 2305712"/>
              <a:gd name="connsiteY8" fmla="*/ 80837 h 1397836"/>
              <a:gd name="connsiteX0" fmla="*/ 1512654 w 2331506"/>
              <a:gd name="connsiteY0" fmla="*/ 80837 h 1429036"/>
              <a:gd name="connsiteX1" fmla="*/ 2197827 w 2331506"/>
              <a:gd name="connsiteY1" fmla="*/ 0 h 1429036"/>
              <a:gd name="connsiteX2" fmla="*/ 2316890 w 2331506"/>
              <a:gd name="connsiteY2" fmla="*/ 169069 h 1429036"/>
              <a:gd name="connsiteX3" fmla="*/ 2059714 w 2331506"/>
              <a:gd name="connsiteY3" fmla="*/ 766763 h 1429036"/>
              <a:gd name="connsiteX4" fmla="*/ 1826352 w 2331506"/>
              <a:gd name="connsiteY4" fmla="*/ 673894 h 1429036"/>
              <a:gd name="connsiteX5" fmla="*/ 254730 w 2331506"/>
              <a:gd name="connsiteY5" fmla="*/ 1397794 h 1429036"/>
              <a:gd name="connsiteX6" fmla="*/ 126140 w 2331506"/>
              <a:gd name="connsiteY6" fmla="*/ 1069182 h 1429036"/>
              <a:gd name="connsiteX7" fmla="*/ 1623945 w 2331506"/>
              <a:gd name="connsiteY7" fmla="*/ 352425 h 1429036"/>
              <a:gd name="connsiteX8" fmla="*/ 1512654 w 2331506"/>
              <a:gd name="connsiteY8" fmla="*/ 80837 h 1429036"/>
              <a:gd name="connsiteX0" fmla="*/ 1522052 w 2340904"/>
              <a:gd name="connsiteY0" fmla="*/ 80837 h 1429171"/>
              <a:gd name="connsiteX1" fmla="*/ 2207225 w 2340904"/>
              <a:gd name="connsiteY1" fmla="*/ 0 h 1429171"/>
              <a:gd name="connsiteX2" fmla="*/ 2326288 w 2340904"/>
              <a:gd name="connsiteY2" fmla="*/ 169069 h 1429171"/>
              <a:gd name="connsiteX3" fmla="*/ 2069112 w 2340904"/>
              <a:gd name="connsiteY3" fmla="*/ 766763 h 1429171"/>
              <a:gd name="connsiteX4" fmla="*/ 1835750 w 2340904"/>
              <a:gd name="connsiteY4" fmla="*/ 673894 h 1429171"/>
              <a:gd name="connsiteX5" fmla="*/ 264128 w 2340904"/>
              <a:gd name="connsiteY5" fmla="*/ 1397794 h 1429171"/>
              <a:gd name="connsiteX6" fmla="*/ 135538 w 2340904"/>
              <a:gd name="connsiteY6" fmla="*/ 1069182 h 1429171"/>
              <a:gd name="connsiteX7" fmla="*/ 1633343 w 2340904"/>
              <a:gd name="connsiteY7" fmla="*/ 352425 h 1429171"/>
              <a:gd name="connsiteX8" fmla="*/ 1522052 w 2340904"/>
              <a:gd name="connsiteY8" fmla="*/ 80837 h 1429171"/>
              <a:gd name="connsiteX0" fmla="*/ 1524365 w 2343217"/>
              <a:gd name="connsiteY0" fmla="*/ 80837 h 1426933"/>
              <a:gd name="connsiteX1" fmla="*/ 2209538 w 2343217"/>
              <a:gd name="connsiteY1" fmla="*/ 0 h 1426933"/>
              <a:gd name="connsiteX2" fmla="*/ 2328601 w 2343217"/>
              <a:gd name="connsiteY2" fmla="*/ 169069 h 1426933"/>
              <a:gd name="connsiteX3" fmla="*/ 2071425 w 2343217"/>
              <a:gd name="connsiteY3" fmla="*/ 766763 h 1426933"/>
              <a:gd name="connsiteX4" fmla="*/ 1838063 w 2343217"/>
              <a:gd name="connsiteY4" fmla="*/ 673894 h 1426933"/>
              <a:gd name="connsiteX5" fmla="*/ 259297 w 2343217"/>
              <a:gd name="connsiteY5" fmla="*/ 1395412 h 1426933"/>
              <a:gd name="connsiteX6" fmla="*/ 137851 w 2343217"/>
              <a:gd name="connsiteY6" fmla="*/ 1069182 h 1426933"/>
              <a:gd name="connsiteX7" fmla="*/ 1635656 w 2343217"/>
              <a:gd name="connsiteY7" fmla="*/ 352425 h 1426933"/>
              <a:gd name="connsiteX8" fmla="*/ 1524365 w 2343217"/>
              <a:gd name="connsiteY8" fmla="*/ 80837 h 1426933"/>
              <a:gd name="connsiteX0" fmla="*/ 1525149 w 2344001"/>
              <a:gd name="connsiteY0" fmla="*/ 80837 h 1420231"/>
              <a:gd name="connsiteX1" fmla="*/ 2210322 w 2344001"/>
              <a:gd name="connsiteY1" fmla="*/ 0 h 1420231"/>
              <a:gd name="connsiteX2" fmla="*/ 2329385 w 2344001"/>
              <a:gd name="connsiteY2" fmla="*/ 169069 h 1420231"/>
              <a:gd name="connsiteX3" fmla="*/ 2072209 w 2344001"/>
              <a:gd name="connsiteY3" fmla="*/ 766763 h 1420231"/>
              <a:gd name="connsiteX4" fmla="*/ 1838847 w 2344001"/>
              <a:gd name="connsiteY4" fmla="*/ 673894 h 1420231"/>
              <a:gd name="connsiteX5" fmla="*/ 257700 w 2344001"/>
              <a:gd name="connsiteY5" fmla="*/ 1388269 h 1420231"/>
              <a:gd name="connsiteX6" fmla="*/ 138635 w 2344001"/>
              <a:gd name="connsiteY6" fmla="*/ 1069182 h 1420231"/>
              <a:gd name="connsiteX7" fmla="*/ 1636440 w 2344001"/>
              <a:gd name="connsiteY7" fmla="*/ 352425 h 1420231"/>
              <a:gd name="connsiteX8" fmla="*/ 1525149 w 2344001"/>
              <a:gd name="connsiteY8" fmla="*/ 80837 h 1420231"/>
              <a:gd name="connsiteX0" fmla="*/ 1525149 w 2344001"/>
              <a:gd name="connsiteY0" fmla="*/ 80837 h 1420231"/>
              <a:gd name="connsiteX1" fmla="*/ 2210322 w 2344001"/>
              <a:gd name="connsiteY1" fmla="*/ 0 h 1420231"/>
              <a:gd name="connsiteX2" fmla="*/ 2329385 w 2344001"/>
              <a:gd name="connsiteY2" fmla="*/ 169069 h 1420231"/>
              <a:gd name="connsiteX3" fmla="*/ 2072209 w 2344001"/>
              <a:gd name="connsiteY3" fmla="*/ 766763 h 1420231"/>
              <a:gd name="connsiteX4" fmla="*/ 1838847 w 2344001"/>
              <a:gd name="connsiteY4" fmla="*/ 673894 h 1420231"/>
              <a:gd name="connsiteX5" fmla="*/ 257700 w 2344001"/>
              <a:gd name="connsiteY5" fmla="*/ 1388269 h 1420231"/>
              <a:gd name="connsiteX6" fmla="*/ 138635 w 2344001"/>
              <a:gd name="connsiteY6" fmla="*/ 1069182 h 1420231"/>
              <a:gd name="connsiteX7" fmla="*/ 1636440 w 2344001"/>
              <a:gd name="connsiteY7" fmla="*/ 352425 h 1420231"/>
              <a:gd name="connsiteX8" fmla="*/ 1525149 w 2344001"/>
              <a:gd name="connsiteY8" fmla="*/ 80837 h 1420231"/>
              <a:gd name="connsiteX0" fmla="*/ 1525149 w 2344001"/>
              <a:gd name="connsiteY0" fmla="*/ 80837 h 1420231"/>
              <a:gd name="connsiteX1" fmla="*/ 2210322 w 2344001"/>
              <a:gd name="connsiteY1" fmla="*/ 0 h 1420231"/>
              <a:gd name="connsiteX2" fmla="*/ 2329385 w 2344001"/>
              <a:gd name="connsiteY2" fmla="*/ 169069 h 1420231"/>
              <a:gd name="connsiteX3" fmla="*/ 2072209 w 2344001"/>
              <a:gd name="connsiteY3" fmla="*/ 766763 h 1420231"/>
              <a:gd name="connsiteX4" fmla="*/ 1838847 w 2344001"/>
              <a:gd name="connsiteY4" fmla="*/ 673894 h 1420231"/>
              <a:gd name="connsiteX5" fmla="*/ 257700 w 2344001"/>
              <a:gd name="connsiteY5" fmla="*/ 1388269 h 1420231"/>
              <a:gd name="connsiteX6" fmla="*/ 138635 w 2344001"/>
              <a:gd name="connsiteY6" fmla="*/ 1069182 h 1420231"/>
              <a:gd name="connsiteX7" fmla="*/ 1636440 w 2344001"/>
              <a:gd name="connsiteY7" fmla="*/ 352425 h 1420231"/>
              <a:gd name="connsiteX8" fmla="*/ 1525149 w 2344001"/>
              <a:gd name="connsiteY8" fmla="*/ 80837 h 1420231"/>
              <a:gd name="connsiteX0" fmla="*/ 1525149 w 2344001"/>
              <a:gd name="connsiteY0" fmla="*/ 80837 h 1420231"/>
              <a:gd name="connsiteX1" fmla="*/ 2210322 w 2344001"/>
              <a:gd name="connsiteY1" fmla="*/ 0 h 1420231"/>
              <a:gd name="connsiteX2" fmla="*/ 2329385 w 2344001"/>
              <a:gd name="connsiteY2" fmla="*/ 169069 h 1420231"/>
              <a:gd name="connsiteX3" fmla="*/ 2072209 w 2344001"/>
              <a:gd name="connsiteY3" fmla="*/ 766763 h 1420231"/>
              <a:gd name="connsiteX4" fmla="*/ 1838847 w 2344001"/>
              <a:gd name="connsiteY4" fmla="*/ 673894 h 1420231"/>
              <a:gd name="connsiteX5" fmla="*/ 257700 w 2344001"/>
              <a:gd name="connsiteY5" fmla="*/ 1388269 h 1420231"/>
              <a:gd name="connsiteX6" fmla="*/ 138635 w 2344001"/>
              <a:gd name="connsiteY6" fmla="*/ 1069182 h 1420231"/>
              <a:gd name="connsiteX7" fmla="*/ 1636440 w 2344001"/>
              <a:gd name="connsiteY7" fmla="*/ 352425 h 1420231"/>
              <a:gd name="connsiteX8" fmla="*/ 1525149 w 2344001"/>
              <a:gd name="connsiteY8" fmla="*/ 80837 h 1420231"/>
              <a:gd name="connsiteX0" fmla="*/ 1525149 w 2344001"/>
              <a:gd name="connsiteY0" fmla="*/ 80837 h 1420231"/>
              <a:gd name="connsiteX1" fmla="*/ 2210322 w 2344001"/>
              <a:gd name="connsiteY1" fmla="*/ 0 h 1420231"/>
              <a:gd name="connsiteX2" fmla="*/ 2329385 w 2344001"/>
              <a:gd name="connsiteY2" fmla="*/ 169069 h 1420231"/>
              <a:gd name="connsiteX3" fmla="*/ 2072209 w 2344001"/>
              <a:gd name="connsiteY3" fmla="*/ 766763 h 1420231"/>
              <a:gd name="connsiteX4" fmla="*/ 1838847 w 2344001"/>
              <a:gd name="connsiteY4" fmla="*/ 673894 h 1420231"/>
              <a:gd name="connsiteX5" fmla="*/ 257700 w 2344001"/>
              <a:gd name="connsiteY5" fmla="*/ 1388269 h 1420231"/>
              <a:gd name="connsiteX6" fmla="*/ 138635 w 2344001"/>
              <a:gd name="connsiteY6" fmla="*/ 1069182 h 1420231"/>
              <a:gd name="connsiteX7" fmla="*/ 1636440 w 2344001"/>
              <a:gd name="connsiteY7" fmla="*/ 352425 h 1420231"/>
              <a:gd name="connsiteX8" fmla="*/ 1525149 w 2344001"/>
              <a:gd name="connsiteY8" fmla="*/ 80837 h 1420231"/>
              <a:gd name="connsiteX0" fmla="*/ 1532283 w 2351135"/>
              <a:gd name="connsiteY0" fmla="*/ 80837 h 1404748"/>
              <a:gd name="connsiteX1" fmla="*/ 2217456 w 2351135"/>
              <a:gd name="connsiteY1" fmla="*/ 0 h 1404748"/>
              <a:gd name="connsiteX2" fmla="*/ 2336519 w 2351135"/>
              <a:gd name="connsiteY2" fmla="*/ 169069 h 1404748"/>
              <a:gd name="connsiteX3" fmla="*/ 2079343 w 2351135"/>
              <a:gd name="connsiteY3" fmla="*/ 766763 h 1404748"/>
              <a:gd name="connsiteX4" fmla="*/ 1845981 w 2351135"/>
              <a:gd name="connsiteY4" fmla="*/ 673894 h 1404748"/>
              <a:gd name="connsiteX5" fmla="*/ 264834 w 2351135"/>
              <a:gd name="connsiteY5" fmla="*/ 1388269 h 1404748"/>
              <a:gd name="connsiteX6" fmla="*/ 145769 w 2351135"/>
              <a:gd name="connsiteY6" fmla="*/ 1069182 h 1404748"/>
              <a:gd name="connsiteX7" fmla="*/ 1643574 w 2351135"/>
              <a:gd name="connsiteY7" fmla="*/ 352425 h 1404748"/>
              <a:gd name="connsiteX8" fmla="*/ 1532283 w 2351135"/>
              <a:gd name="connsiteY8" fmla="*/ 80837 h 1404748"/>
              <a:gd name="connsiteX0" fmla="*/ 1532283 w 2351135"/>
              <a:gd name="connsiteY0" fmla="*/ 80837 h 1404748"/>
              <a:gd name="connsiteX1" fmla="*/ 2217456 w 2351135"/>
              <a:gd name="connsiteY1" fmla="*/ 0 h 1404748"/>
              <a:gd name="connsiteX2" fmla="*/ 2336519 w 2351135"/>
              <a:gd name="connsiteY2" fmla="*/ 169069 h 1404748"/>
              <a:gd name="connsiteX3" fmla="*/ 2101568 w 2351135"/>
              <a:gd name="connsiteY3" fmla="*/ 769938 h 1404748"/>
              <a:gd name="connsiteX4" fmla="*/ 1845981 w 2351135"/>
              <a:gd name="connsiteY4" fmla="*/ 673894 h 1404748"/>
              <a:gd name="connsiteX5" fmla="*/ 264834 w 2351135"/>
              <a:gd name="connsiteY5" fmla="*/ 1388269 h 1404748"/>
              <a:gd name="connsiteX6" fmla="*/ 145769 w 2351135"/>
              <a:gd name="connsiteY6" fmla="*/ 1069182 h 1404748"/>
              <a:gd name="connsiteX7" fmla="*/ 1643574 w 2351135"/>
              <a:gd name="connsiteY7" fmla="*/ 352425 h 1404748"/>
              <a:gd name="connsiteX8" fmla="*/ 1532283 w 2351135"/>
              <a:gd name="connsiteY8" fmla="*/ 80837 h 1404748"/>
              <a:gd name="connsiteX0" fmla="*/ 1532283 w 2351135"/>
              <a:gd name="connsiteY0" fmla="*/ 80837 h 1404748"/>
              <a:gd name="connsiteX1" fmla="*/ 2217456 w 2351135"/>
              <a:gd name="connsiteY1" fmla="*/ 0 h 1404748"/>
              <a:gd name="connsiteX2" fmla="*/ 2336519 w 2351135"/>
              <a:gd name="connsiteY2" fmla="*/ 169069 h 1404748"/>
              <a:gd name="connsiteX3" fmla="*/ 2101568 w 2351135"/>
              <a:gd name="connsiteY3" fmla="*/ 769938 h 1404748"/>
              <a:gd name="connsiteX4" fmla="*/ 1845981 w 2351135"/>
              <a:gd name="connsiteY4" fmla="*/ 673894 h 1404748"/>
              <a:gd name="connsiteX5" fmla="*/ 264834 w 2351135"/>
              <a:gd name="connsiteY5" fmla="*/ 1388269 h 1404748"/>
              <a:gd name="connsiteX6" fmla="*/ 145769 w 2351135"/>
              <a:gd name="connsiteY6" fmla="*/ 1069182 h 1404748"/>
              <a:gd name="connsiteX7" fmla="*/ 1643574 w 2351135"/>
              <a:gd name="connsiteY7" fmla="*/ 352425 h 1404748"/>
              <a:gd name="connsiteX8" fmla="*/ 1532283 w 2351135"/>
              <a:gd name="connsiteY8" fmla="*/ 80837 h 1404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1135" h="1404748">
                <a:moveTo>
                  <a:pt x="1532283" y="80837"/>
                </a:moveTo>
                <a:lnTo>
                  <a:pt x="2217456" y="0"/>
                </a:lnTo>
                <a:cubicBezTo>
                  <a:pt x="2285719" y="1587"/>
                  <a:pt x="2389700" y="17463"/>
                  <a:pt x="2336519" y="169069"/>
                </a:cubicBezTo>
                <a:cubicBezTo>
                  <a:pt x="2286512" y="315119"/>
                  <a:pt x="2155146" y="639764"/>
                  <a:pt x="2101568" y="769938"/>
                </a:cubicBezTo>
                <a:cubicBezTo>
                  <a:pt x="1986474" y="966787"/>
                  <a:pt x="1780497" y="823912"/>
                  <a:pt x="1845981" y="673894"/>
                </a:cubicBezTo>
                <a:cubicBezTo>
                  <a:pt x="1318932" y="912019"/>
                  <a:pt x="944283" y="1207294"/>
                  <a:pt x="264834" y="1388269"/>
                </a:cubicBezTo>
                <a:cubicBezTo>
                  <a:pt x="-8216" y="1484313"/>
                  <a:pt x="-106642" y="1131888"/>
                  <a:pt x="145769" y="1069182"/>
                </a:cubicBezTo>
                <a:cubicBezTo>
                  <a:pt x="791087" y="874713"/>
                  <a:pt x="1160181" y="613569"/>
                  <a:pt x="1643574" y="352425"/>
                </a:cubicBezTo>
                <a:cubicBezTo>
                  <a:pt x="1342159" y="308726"/>
                  <a:pt x="1416980" y="100723"/>
                  <a:pt x="1532283" y="80837"/>
                </a:cubicBezTo>
                <a:close/>
              </a:path>
            </a:pathLst>
          </a:custGeom>
          <a:solidFill>
            <a:schemeClr val="tx2"/>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91" b="0" i="0" u="none" strike="noStrike" kern="1200" cap="none" spc="0" normalizeH="0" baseline="0" noProof="0">
              <a:ln>
                <a:noFill/>
              </a:ln>
              <a:solidFill>
                <a:srgbClr val="006580"/>
              </a:solidFill>
              <a:effectLst/>
              <a:uLnTx/>
              <a:uFillTx/>
              <a:latin typeface="Arial" panose="020B0604020202020204" pitchFamily="34" charset="0"/>
              <a:ea typeface="+mn-ea"/>
              <a:cs typeface="Arial" panose="020B0604020202020204" pitchFamily="34" charset="0"/>
            </a:endParaRPr>
          </a:p>
        </p:txBody>
      </p:sp>
      <p:grpSp>
        <p:nvGrpSpPr>
          <p:cNvPr id="39" name="Group 38">
            <a:extLst>
              <a:ext uri="{FF2B5EF4-FFF2-40B4-BE49-F238E27FC236}">
                <a16:creationId xmlns:a16="http://schemas.microsoft.com/office/drawing/2014/main" id="{EC41A817-7E77-522F-ED4C-4CE27FFC6C48}"/>
              </a:ext>
            </a:extLst>
          </p:cNvPr>
          <p:cNvGrpSpPr/>
          <p:nvPr/>
        </p:nvGrpSpPr>
        <p:grpSpPr>
          <a:xfrm>
            <a:off x="2701531" y="2430432"/>
            <a:ext cx="272665" cy="263988"/>
            <a:chOff x="5650163" y="4529269"/>
            <a:chExt cx="355028" cy="343730"/>
          </a:xfrm>
          <a:solidFill>
            <a:schemeClr val="bg2"/>
          </a:solidFill>
        </p:grpSpPr>
        <p:sp>
          <p:nvSpPr>
            <p:cNvPr id="40" name="Freeform 131">
              <a:extLst>
                <a:ext uri="{FF2B5EF4-FFF2-40B4-BE49-F238E27FC236}">
                  <a16:creationId xmlns:a16="http://schemas.microsoft.com/office/drawing/2014/main" id="{54C7DBB4-F965-8B8B-C1A7-C34DB4EECEC9}"/>
                </a:ext>
              </a:extLst>
            </p:cNvPr>
            <p:cNvSpPr>
              <a:spLocks/>
            </p:cNvSpPr>
            <p:nvPr/>
          </p:nvSpPr>
          <p:spPr bwMode="auto">
            <a:xfrm>
              <a:off x="5675729" y="4556350"/>
              <a:ext cx="205706" cy="206088"/>
            </a:xfrm>
            <a:custGeom>
              <a:avLst/>
              <a:gdLst>
                <a:gd name="connsiteX0" fmla="*/ 1341739 w 2713150"/>
                <a:gd name="connsiteY0" fmla="*/ 359743 h 2713134"/>
                <a:gd name="connsiteX1" fmla="*/ 316554 w 2713150"/>
                <a:gd name="connsiteY1" fmla="*/ 1384926 h 2713134"/>
                <a:gd name="connsiteX2" fmla="*/ 1341739 w 2713150"/>
                <a:gd name="connsiteY2" fmla="*/ 2410109 h 2713134"/>
                <a:gd name="connsiteX3" fmla="*/ 2366924 w 2713150"/>
                <a:gd name="connsiteY3" fmla="*/ 1384926 h 2713134"/>
                <a:gd name="connsiteX4" fmla="*/ 1341739 w 2713150"/>
                <a:gd name="connsiteY4" fmla="*/ 359743 h 2713134"/>
                <a:gd name="connsiteX5" fmla="*/ 1356575 w 2713150"/>
                <a:gd name="connsiteY5" fmla="*/ 0 h 2713134"/>
                <a:gd name="connsiteX6" fmla="*/ 2713150 w 2713150"/>
                <a:gd name="connsiteY6" fmla="*/ 1356567 h 2713134"/>
                <a:gd name="connsiteX7" fmla="*/ 1356575 w 2713150"/>
                <a:gd name="connsiteY7" fmla="*/ 2713134 h 2713134"/>
                <a:gd name="connsiteX8" fmla="*/ 0 w 2713150"/>
                <a:gd name="connsiteY8" fmla="*/ 1356567 h 2713134"/>
                <a:gd name="connsiteX9" fmla="*/ 1356575 w 2713150"/>
                <a:gd name="connsiteY9" fmla="*/ 0 h 271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3150" h="2713134">
                  <a:moveTo>
                    <a:pt x="1341739" y="359743"/>
                  </a:moveTo>
                  <a:cubicBezTo>
                    <a:pt x="775545" y="359743"/>
                    <a:pt x="316554" y="818733"/>
                    <a:pt x="316554" y="1384926"/>
                  </a:cubicBezTo>
                  <a:cubicBezTo>
                    <a:pt x="316554" y="1951119"/>
                    <a:pt x="775545" y="2410109"/>
                    <a:pt x="1341739" y="2410109"/>
                  </a:cubicBezTo>
                  <a:cubicBezTo>
                    <a:pt x="1907933" y="2410109"/>
                    <a:pt x="2366924" y="1951119"/>
                    <a:pt x="2366924" y="1384926"/>
                  </a:cubicBezTo>
                  <a:cubicBezTo>
                    <a:pt x="2366924" y="818733"/>
                    <a:pt x="1907933" y="359743"/>
                    <a:pt x="1341739" y="359743"/>
                  </a:cubicBezTo>
                  <a:close/>
                  <a:moveTo>
                    <a:pt x="1356575" y="0"/>
                  </a:moveTo>
                  <a:cubicBezTo>
                    <a:pt x="2105791" y="0"/>
                    <a:pt x="2713150" y="607356"/>
                    <a:pt x="2713150" y="1356567"/>
                  </a:cubicBezTo>
                  <a:cubicBezTo>
                    <a:pt x="2713150" y="2105778"/>
                    <a:pt x="2105791" y="2713134"/>
                    <a:pt x="1356575" y="2713134"/>
                  </a:cubicBezTo>
                  <a:cubicBezTo>
                    <a:pt x="607359" y="2713134"/>
                    <a:pt x="0" y="2105778"/>
                    <a:pt x="0" y="1356567"/>
                  </a:cubicBezTo>
                  <a:cubicBezTo>
                    <a:pt x="0" y="607356"/>
                    <a:pt x="607359" y="0"/>
                    <a:pt x="1356575" y="0"/>
                  </a:cubicBezTo>
                  <a:close/>
                </a:path>
              </a:pathLst>
            </a:custGeom>
            <a:grpFill/>
            <a:ln w="0">
              <a:noFill/>
              <a:prstDash val="solid"/>
              <a:round/>
              <a:headEnd/>
              <a:tailEnd/>
            </a:ln>
          </p:spPr>
          <p:txBody>
            <a:bodyPr vert="horz" wrap="square" lIns="73479" tIns="36739" rIns="73479" bIns="36739" numCol="1" anchor="t" anchorCtr="0" compatLnSpc="1">
              <a:prstTxWarp prst="textNoShape">
                <a:avLst/>
              </a:prstTxWarp>
              <a:no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291" b="0" i="0" u="none" strike="noStrike" kern="0" cap="none" spc="0" normalizeH="0" baseline="0" noProof="0">
                <a:ln>
                  <a:noFill/>
                </a:ln>
                <a:solidFill>
                  <a:prstClr val="black"/>
                </a:solidFill>
                <a:effectLst/>
                <a:uLnTx/>
                <a:uFillTx/>
                <a:latin typeface="Arial" panose="020B0604020202020204" pitchFamily="34" charset="0"/>
                <a:ea typeface="ＭＳ Ｐゴシック" charset="0"/>
                <a:cs typeface="Arial" panose="020B0604020202020204" pitchFamily="34" charset="0"/>
              </a:endParaRPr>
            </a:p>
          </p:txBody>
        </p:sp>
        <p:sp>
          <p:nvSpPr>
            <p:cNvPr id="41" name="Freeform 7891">
              <a:extLst>
                <a:ext uri="{FF2B5EF4-FFF2-40B4-BE49-F238E27FC236}">
                  <a16:creationId xmlns:a16="http://schemas.microsoft.com/office/drawing/2014/main" id="{01A2EB06-5AAA-7B8C-B0EA-BA470748840E}"/>
                </a:ext>
              </a:extLst>
            </p:cNvPr>
            <p:cNvSpPr>
              <a:spLocks/>
            </p:cNvSpPr>
            <p:nvPr/>
          </p:nvSpPr>
          <p:spPr bwMode="auto">
            <a:xfrm rot="18900000">
              <a:off x="5885078" y="4769222"/>
              <a:ext cx="73468" cy="94559"/>
            </a:xfrm>
            <a:prstGeom prst="roundRect">
              <a:avLst>
                <a:gd name="adj" fmla="val 0"/>
              </a:avLst>
            </a:prstGeom>
            <a:grpFill/>
            <a:ln w="0">
              <a:noFill/>
              <a:prstDash val="solid"/>
              <a:round/>
              <a:headEnd/>
              <a:tailEnd/>
            </a:ln>
          </p:spPr>
          <p:txBody>
            <a:bodyPr vert="horz" wrap="square" lIns="73479" tIns="36739" rIns="73479" bIns="36739"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291" b="0" i="0" u="none" strike="noStrike" kern="0" cap="none" spc="0" normalizeH="0" baseline="0" noProof="0">
                <a:ln>
                  <a:noFill/>
                </a:ln>
                <a:solidFill>
                  <a:prstClr val="black"/>
                </a:solidFill>
                <a:effectLst/>
                <a:uLnTx/>
                <a:uFillTx/>
                <a:latin typeface="Arial" panose="020B0604020202020204" pitchFamily="34" charset="0"/>
                <a:ea typeface="ＭＳ Ｐゴシック" charset="0"/>
                <a:cs typeface="Arial" panose="020B0604020202020204" pitchFamily="34" charset="0"/>
              </a:endParaRPr>
            </a:p>
          </p:txBody>
        </p:sp>
        <p:sp>
          <p:nvSpPr>
            <p:cNvPr id="42" name="Freeform 7892">
              <a:extLst>
                <a:ext uri="{FF2B5EF4-FFF2-40B4-BE49-F238E27FC236}">
                  <a16:creationId xmlns:a16="http://schemas.microsoft.com/office/drawing/2014/main" id="{5411313C-0FBD-47C2-17FD-B3F3671C655F}"/>
                </a:ext>
              </a:extLst>
            </p:cNvPr>
            <p:cNvSpPr>
              <a:spLocks/>
            </p:cNvSpPr>
            <p:nvPr/>
          </p:nvSpPr>
          <p:spPr bwMode="auto">
            <a:xfrm rot="8100000">
              <a:off x="5932111" y="4851987"/>
              <a:ext cx="73080" cy="21012"/>
            </a:xfrm>
            <a:prstGeom prst="round2SameRect">
              <a:avLst>
                <a:gd name="adj1" fmla="val 50000"/>
                <a:gd name="adj2" fmla="val 0"/>
              </a:avLst>
            </a:prstGeom>
            <a:grpFill/>
            <a:ln w="0">
              <a:noFill/>
              <a:prstDash val="solid"/>
              <a:round/>
              <a:headEnd/>
              <a:tailEnd/>
            </a:ln>
          </p:spPr>
          <p:txBody>
            <a:bodyPr vert="horz" wrap="square" lIns="73479" tIns="36739" rIns="73479" bIns="36739"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291" b="0" i="0" u="none" strike="noStrike" kern="0" cap="none" spc="0" normalizeH="0" baseline="0" noProof="0">
                <a:ln>
                  <a:noFill/>
                </a:ln>
                <a:solidFill>
                  <a:prstClr val="black"/>
                </a:solidFill>
                <a:effectLst/>
                <a:uLnTx/>
                <a:uFillTx/>
                <a:latin typeface="Arial" panose="020B0604020202020204" pitchFamily="34" charset="0"/>
                <a:ea typeface="ＭＳ Ｐゴシック" charset="0"/>
                <a:cs typeface="Arial" panose="020B0604020202020204" pitchFamily="34" charset="0"/>
              </a:endParaRPr>
            </a:p>
          </p:txBody>
        </p:sp>
        <p:sp>
          <p:nvSpPr>
            <p:cNvPr id="43" name="Freeform 7893">
              <a:extLst>
                <a:ext uri="{FF2B5EF4-FFF2-40B4-BE49-F238E27FC236}">
                  <a16:creationId xmlns:a16="http://schemas.microsoft.com/office/drawing/2014/main" id="{A62D6C6A-6FD3-8F40-186B-BAA3988FFDBD}"/>
                </a:ext>
              </a:extLst>
            </p:cNvPr>
            <p:cNvSpPr>
              <a:spLocks/>
            </p:cNvSpPr>
            <p:nvPr/>
          </p:nvSpPr>
          <p:spPr bwMode="auto">
            <a:xfrm rot="18900000">
              <a:off x="5839095" y="4756541"/>
              <a:ext cx="73944" cy="23249"/>
            </a:xfrm>
            <a:prstGeom prst="round2SameRect">
              <a:avLst>
                <a:gd name="adj1" fmla="val 50000"/>
                <a:gd name="adj2" fmla="val 0"/>
              </a:avLst>
            </a:prstGeom>
            <a:grpFill/>
            <a:ln w="0">
              <a:noFill/>
              <a:prstDash val="solid"/>
              <a:round/>
              <a:headEnd/>
              <a:tailEnd/>
            </a:ln>
          </p:spPr>
          <p:txBody>
            <a:bodyPr vert="horz" wrap="square" lIns="73479" tIns="36739" rIns="73479" bIns="36739"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291" b="0" i="0" u="none" strike="noStrike" kern="0" cap="none" spc="0" normalizeH="0" baseline="0" noProof="0">
                <a:ln>
                  <a:noFill/>
                </a:ln>
                <a:solidFill>
                  <a:prstClr val="black"/>
                </a:solidFill>
                <a:effectLst/>
                <a:uLnTx/>
                <a:uFillTx/>
                <a:latin typeface="Arial" panose="020B0604020202020204" pitchFamily="34" charset="0"/>
                <a:ea typeface="ＭＳ Ｐゴシック" charset="0"/>
                <a:cs typeface="Arial" panose="020B0604020202020204" pitchFamily="34" charset="0"/>
              </a:endParaRPr>
            </a:p>
          </p:txBody>
        </p:sp>
        <p:sp>
          <p:nvSpPr>
            <p:cNvPr id="44" name="Freeform 135">
              <a:extLst>
                <a:ext uri="{FF2B5EF4-FFF2-40B4-BE49-F238E27FC236}">
                  <a16:creationId xmlns:a16="http://schemas.microsoft.com/office/drawing/2014/main" id="{5CEE92FB-4AED-3CED-ECB7-DEE4BF5D537C}"/>
                </a:ext>
              </a:extLst>
            </p:cNvPr>
            <p:cNvSpPr>
              <a:spLocks/>
            </p:cNvSpPr>
            <p:nvPr/>
          </p:nvSpPr>
          <p:spPr bwMode="auto">
            <a:xfrm>
              <a:off x="5650163" y="4529269"/>
              <a:ext cx="256837" cy="257611"/>
            </a:xfrm>
            <a:custGeom>
              <a:avLst/>
              <a:gdLst>
                <a:gd name="connsiteX0" fmla="*/ 1693782 w 3387552"/>
                <a:gd name="connsiteY0" fmla="*/ 163023 h 3387532"/>
                <a:gd name="connsiteX1" fmla="*/ 163036 w 3387552"/>
                <a:gd name="connsiteY1" fmla="*/ 1693760 h 3387532"/>
                <a:gd name="connsiteX2" fmla="*/ 1693782 w 3387552"/>
                <a:gd name="connsiteY2" fmla="*/ 3224497 h 3387532"/>
                <a:gd name="connsiteX3" fmla="*/ 3224528 w 3387552"/>
                <a:gd name="connsiteY3" fmla="*/ 1693760 h 3387532"/>
                <a:gd name="connsiteX4" fmla="*/ 1693782 w 3387552"/>
                <a:gd name="connsiteY4" fmla="*/ 163023 h 3387532"/>
                <a:gd name="connsiteX5" fmla="*/ 1693776 w 3387552"/>
                <a:gd name="connsiteY5" fmla="*/ 0 h 3387532"/>
                <a:gd name="connsiteX6" fmla="*/ 3387552 w 3387552"/>
                <a:gd name="connsiteY6" fmla="*/ 1693766 h 3387532"/>
                <a:gd name="connsiteX7" fmla="*/ 1693776 w 3387552"/>
                <a:gd name="connsiteY7" fmla="*/ 3387532 h 3387532"/>
                <a:gd name="connsiteX8" fmla="*/ 0 w 3387552"/>
                <a:gd name="connsiteY8" fmla="*/ 1693766 h 3387532"/>
                <a:gd name="connsiteX9" fmla="*/ 1693776 w 3387552"/>
                <a:gd name="connsiteY9" fmla="*/ 0 h 3387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7552" h="3387532">
                  <a:moveTo>
                    <a:pt x="1693782" y="163023"/>
                  </a:moveTo>
                  <a:cubicBezTo>
                    <a:pt x="848374" y="163023"/>
                    <a:pt x="163036" y="848357"/>
                    <a:pt x="163036" y="1693760"/>
                  </a:cubicBezTo>
                  <a:cubicBezTo>
                    <a:pt x="163036" y="2539163"/>
                    <a:pt x="848374" y="3224497"/>
                    <a:pt x="1693782" y="3224497"/>
                  </a:cubicBezTo>
                  <a:cubicBezTo>
                    <a:pt x="2539190" y="3224497"/>
                    <a:pt x="3224528" y="2539163"/>
                    <a:pt x="3224528" y="1693760"/>
                  </a:cubicBezTo>
                  <a:cubicBezTo>
                    <a:pt x="3224528" y="848357"/>
                    <a:pt x="2539190" y="163023"/>
                    <a:pt x="1693782" y="163023"/>
                  </a:cubicBezTo>
                  <a:close/>
                  <a:moveTo>
                    <a:pt x="1693776" y="0"/>
                  </a:moveTo>
                  <a:cubicBezTo>
                    <a:pt x="2629223" y="0"/>
                    <a:pt x="3387552" y="758325"/>
                    <a:pt x="3387552" y="1693766"/>
                  </a:cubicBezTo>
                  <a:cubicBezTo>
                    <a:pt x="3387552" y="2629207"/>
                    <a:pt x="2629223" y="3387532"/>
                    <a:pt x="1693776" y="3387532"/>
                  </a:cubicBezTo>
                  <a:cubicBezTo>
                    <a:pt x="758329" y="3387532"/>
                    <a:pt x="0" y="2629207"/>
                    <a:pt x="0" y="1693766"/>
                  </a:cubicBezTo>
                  <a:cubicBezTo>
                    <a:pt x="0" y="758325"/>
                    <a:pt x="758329" y="0"/>
                    <a:pt x="1693776" y="0"/>
                  </a:cubicBezTo>
                  <a:close/>
                </a:path>
              </a:pathLst>
            </a:custGeom>
            <a:grpFill/>
            <a:ln w="0">
              <a:noFill/>
              <a:prstDash val="solid"/>
              <a:round/>
              <a:headEnd/>
              <a:tailEnd/>
            </a:ln>
          </p:spPr>
          <p:txBody>
            <a:bodyPr vert="horz" wrap="square" lIns="73479" tIns="36739" rIns="73479" bIns="36739" numCol="1" anchor="t" anchorCtr="0" compatLnSpc="1">
              <a:prstTxWarp prst="textNoShape">
                <a:avLst/>
              </a:prstTxWarp>
              <a:no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291" b="0" i="0" u="none" strike="noStrike" kern="0" cap="none" spc="0" normalizeH="0" baseline="0" noProof="0">
                <a:ln>
                  <a:noFill/>
                </a:ln>
                <a:solidFill>
                  <a:prstClr val="black"/>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0" name="Group 9">
            <a:extLst>
              <a:ext uri="{FF2B5EF4-FFF2-40B4-BE49-F238E27FC236}">
                <a16:creationId xmlns:a16="http://schemas.microsoft.com/office/drawing/2014/main" id="{D4434787-59E6-9F06-F81B-796E3D5A8635}"/>
              </a:ext>
            </a:extLst>
          </p:cNvPr>
          <p:cNvGrpSpPr/>
          <p:nvPr/>
        </p:nvGrpSpPr>
        <p:grpSpPr>
          <a:xfrm>
            <a:off x="895870" y="3508262"/>
            <a:ext cx="1770269" cy="455019"/>
            <a:chOff x="-78207" y="2832520"/>
            <a:chExt cx="2203001" cy="566244"/>
          </a:xfrm>
        </p:grpSpPr>
        <p:sp>
          <p:nvSpPr>
            <p:cNvPr id="24" name="TextBox 23">
              <a:extLst>
                <a:ext uri="{FF2B5EF4-FFF2-40B4-BE49-F238E27FC236}">
                  <a16:creationId xmlns:a16="http://schemas.microsoft.com/office/drawing/2014/main" id="{3D1B86DD-12F6-E157-6A2A-3C0425F4D9BA}"/>
                </a:ext>
              </a:extLst>
            </p:cNvPr>
            <p:cNvSpPr txBox="1"/>
            <p:nvPr/>
          </p:nvSpPr>
          <p:spPr>
            <a:xfrm>
              <a:off x="529428" y="2832520"/>
              <a:ext cx="1571660" cy="361147"/>
            </a:xfrm>
            <a:prstGeom prst="rect">
              <a:avLst/>
            </a:prstGeom>
            <a:noFill/>
          </p:spPr>
          <p:txBody>
            <a:bodyPr wrap="square"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1286" b="1" i="0" u="none" strike="noStrike" kern="1200" cap="none" spc="0" normalizeH="0" baseline="0" noProof="0">
                  <a:ln>
                    <a:noFill/>
                  </a:ln>
                  <a:solidFill>
                    <a:srgbClr val="54565A"/>
                  </a:solidFill>
                  <a:effectLst/>
                  <a:uLnTx/>
                  <a:uFillTx/>
                  <a:latin typeface="Arial" panose="020B0604020202020204" pitchFamily="34" charset="0"/>
                  <a:ea typeface="ＭＳ Ｐゴシック" charset="0"/>
                  <a:cs typeface="Arial" panose="020B0604020202020204" pitchFamily="34" charset="0"/>
                </a:rPr>
                <a:t>Descriptive</a:t>
              </a:r>
              <a:r>
                <a:rPr kumimoji="0" lang="en-US" sz="1286" b="1" i="0" u="none" strike="noStrike" kern="1200" cap="none" spc="0" normalizeH="0" baseline="0" noProof="0">
                  <a:ln>
                    <a:noFill/>
                  </a:ln>
                  <a:solidFill>
                    <a:srgbClr val="006580"/>
                  </a:solidFill>
                  <a:effectLst/>
                  <a:uLnTx/>
                  <a:uFillTx/>
                  <a:latin typeface="Arial" panose="020B0604020202020204" pitchFamily="34" charset="0"/>
                  <a:ea typeface="ＭＳ Ｐゴシック" charset="0"/>
                  <a:cs typeface="Arial" panose="020B0604020202020204" pitchFamily="34" charset="0"/>
                </a:rPr>
                <a:t> </a:t>
              </a:r>
            </a:p>
          </p:txBody>
        </p:sp>
        <p:sp>
          <p:nvSpPr>
            <p:cNvPr id="25" name="Rectangle 24">
              <a:extLst>
                <a:ext uri="{FF2B5EF4-FFF2-40B4-BE49-F238E27FC236}">
                  <a16:creationId xmlns:a16="http://schemas.microsoft.com/office/drawing/2014/main" id="{4B755B1D-0D0A-BC91-8BB8-BCFF823E3C5A}"/>
                </a:ext>
              </a:extLst>
            </p:cNvPr>
            <p:cNvSpPr/>
            <p:nvPr/>
          </p:nvSpPr>
          <p:spPr>
            <a:xfrm>
              <a:off x="-78207" y="3114538"/>
              <a:ext cx="2203001" cy="284226"/>
            </a:xfrm>
            <a:prstGeom prst="rect">
              <a:avLst/>
            </a:prstGeom>
          </p:spPr>
          <p:txBody>
            <a:bodyPr wrap="square">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884" b="0" i="0" u="none" strike="noStrike" kern="1200" cap="none" spc="0" normalizeH="0" baseline="0" noProof="0">
                  <a:ln>
                    <a:noFill/>
                  </a:ln>
                  <a:solidFill>
                    <a:srgbClr val="54565A"/>
                  </a:solidFill>
                  <a:effectLst/>
                  <a:uLnTx/>
                  <a:uFillTx/>
                  <a:latin typeface="Arial" panose="020B0604020202020204" pitchFamily="34" charset="0"/>
                  <a:ea typeface="ＭＳ Ｐゴシック" charset="0"/>
                  <a:cs typeface="Arial" panose="020B0604020202020204" pitchFamily="34" charset="0"/>
                </a:rPr>
                <a:t>Quantitatively describing data</a:t>
              </a:r>
            </a:p>
          </p:txBody>
        </p:sp>
      </p:grpSp>
      <p:grpSp>
        <p:nvGrpSpPr>
          <p:cNvPr id="11" name="Group 10">
            <a:extLst>
              <a:ext uri="{FF2B5EF4-FFF2-40B4-BE49-F238E27FC236}">
                <a16:creationId xmlns:a16="http://schemas.microsoft.com/office/drawing/2014/main" id="{E39305C3-877D-8BCB-25FD-9DC31322FBE8}"/>
              </a:ext>
            </a:extLst>
          </p:cNvPr>
          <p:cNvGrpSpPr/>
          <p:nvPr/>
        </p:nvGrpSpPr>
        <p:grpSpPr>
          <a:xfrm>
            <a:off x="2606334" y="2430433"/>
            <a:ext cx="1759420" cy="607689"/>
            <a:chOff x="2033934" y="3531815"/>
            <a:chExt cx="1931457" cy="756234"/>
          </a:xfrm>
        </p:grpSpPr>
        <p:sp>
          <p:nvSpPr>
            <p:cNvPr id="22" name="TextBox 21">
              <a:extLst>
                <a:ext uri="{FF2B5EF4-FFF2-40B4-BE49-F238E27FC236}">
                  <a16:creationId xmlns:a16="http://schemas.microsoft.com/office/drawing/2014/main" id="{9D3F8C4D-8DBA-6E8D-FF52-C16921F8B48E}"/>
                </a:ext>
              </a:extLst>
            </p:cNvPr>
            <p:cNvSpPr txBox="1"/>
            <p:nvPr/>
          </p:nvSpPr>
          <p:spPr>
            <a:xfrm>
              <a:off x="2393732" y="3531815"/>
              <a:ext cx="1446293" cy="361147"/>
            </a:xfrm>
            <a:prstGeom prst="rect">
              <a:avLst/>
            </a:prstGeom>
            <a:noFill/>
          </p:spPr>
          <p:txBody>
            <a:bodyPr wrap="square"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1286" b="1" i="0" u="none" strike="noStrike" kern="1200" cap="none" spc="0" normalizeH="0" baseline="0" noProof="0">
                  <a:ln>
                    <a:noFill/>
                  </a:ln>
                  <a:solidFill>
                    <a:srgbClr val="54565A"/>
                  </a:solidFill>
                  <a:effectLst/>
                  <a:uLnTx/>
                  <a:uFillTx/>
                  <a:latin typeface="Arial" panose="020B0604020202020204" pitchFamily="34" charset="0"/>
                  <a:ea typeface="ＭＳ Ｐゴシック" charset="0"/>
                  <a:cs typeface="Arial" panose="020B0604020202020204" pitchFamily="34" charset="0"/>
                </a:rPr>
                <a:t>Diagnostic</a:t>
              </a:r>
              <a:r>
                <a:rPr kumimoji="0" lang="en-US" sz="1286" b="1" i="0" u="none" strike="noStrike" kern="1200" cap="none" spc="0" normalizeH="0" baseline="0" noProof="0">
                  <a:ln>
                    <a:noFill/>
                  </a:ln>
                  <a:solidFill>
                    <a:srgbClr val="006580"/>
                  </a:solidFill>
                  <a:effectLst/>
                  <a:uLnTx/>
                  <a:uFillTx/>
                  <a:latin typeface="Arial" panose="020B0604020202020204" pitchFamily="34" charset="0"/>
                  <a:ea typeface="ＭＳ Ｐゴシック" charset="0"/>
                  <a:cs typeface="Arial" panose="020B0604020202020204" pitchFamily="34" charset="0"/>
                </a:rPr>
                <a:t> </a:t>
              </a:r>
            </a:p>
          </p:txBody>
        </p:sp>
        <p:sp>
          <p:nvSpPr>
            <p:cNvPr id="23" name="Rectangle 22">
              <a:extLst>
                <a:ext uri="{FF2B5EF4-FFF2-40B4-BE49-F238E27FC236}">
                  <a16:creationId xmlns:a16="http://schemas.microsoft.com/office/drawing/2014/main" id="{AFF85857-C5A0-28A4-20FB-DC7F031EB7A8}"/>
                </a:ext>
              </a:extLst>
            </p:cNvPr>
            <p:cNvSpPr/>
            <p:nvPr/>
          </p:nvSpPr>
          <p:spPr>
            <a:xfrm>
              <a:off x="2033934" y="3834501"/>
              <a:ext cx="1931457" cy="453548"/>
            </a:xfrm>
            <a:prstGeom prst="rect">
              <a:avLst/>
            </a:prstGeom>
          </p:spPr>
          <p:txBody>
            <a:bodyPr wrap="square">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884" b="0" i="0" u="none" strike="noStrike" kern="1200" cap="none" spc="0" normalizeH="0" baseline="0" noProof="0">
                  <a:ln>
                    <a:noFill/>
                  </a:ln>
                  <a:solidFill>
                    <a:srgbClr val="54565A"/>
                  </a:solidFill>
                  <a:effectLst/>
                  <a:uLnTx/>
                  <a:uFillTx/>
                  <a:latin typeface="Arial" panose="020B0604020202020204" pitchFamily="34" charset="0"/>
                  <a:ea typeface="ＭＳ Ｐゴシック" charset="0"/>
                  <a:cs typeface="Arial" panose="020B0604020202020204" pitchFamily="34" charset="0"/>
                </a:rPr>
                <a:t>Looking for previously unknown relationships in data</a:t>
              </a:r>
            </a:p>
          </p:txBody>
        </p:sp>
      </p:grpSp>
      <p:grpSp>
        <p:nvGrpSpPr>
          <p:cNvPr id="13" name="Group 12">
            <a:extLst>
              <a:ext uri="{FF2B5EF4-FFF2-40B4-BE49-F238E27FC236}">
                <a16:creationId xmlns:a16="http://schemas.microsoft.com/office/drawing/2014/main" id="{A6838182-65A7-75FF-40E4-61D022626099}"/>
              </a:ext>
            </a:extLst>
          </p:cNvPr>
          <p:cNvGrpSpPr/>
          <p:nvPr/>
        </p:nvGrpSpPr>
        <p:grpSpPr>
          <a:xfrm>
            <a:off x="4127251" y="1766317"/>
            <a:ext cx="1800722" cy="607593"/>
            <a:chOff x="4178346" y="5112521"/>
            <a:chExt cx="2240898" cy="756117"/>
          </a:xfrm>
        </p:grpSpPr>
        <p:sp>
          <p:nvSpPr>
            <p:cNvPr id="18" name="TextBox 17">
              <a:extLst>
                <a:ext uri="{FF2B5EF4-FFF2-40B4-BE49-F238E27FC236}">
                  <a16:creationId xmlns:a16="http://schemas.microsoft.com/office/drawing/2014/main" id="{E6FEDD9E-CFB0-9A7D-5633-14E4B7B04E7F}"/>
                </a:ext>
              </a:extLst>
            </p:cNvPr>
            <p:cNvSpPr txBox="1"/>
            <p:nvPr/>
          </p:nvSpPr>
          <p:spPr>
            <a:xfrm>
              <a:off x="4817175" y="5112521"/>
              <a:ext cx="1471164" cy="361148"/>
            </a:xfrm>
            <a:prstGeom prst="rect">
              <a:avLst/>
            </a:prstGeom>
            <a:noFill/>
          </p:spPr>
          <p:txBody>
            <a:bodyPr wrap="square"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1286" b="1" i="0" u="none" strike="noStrike" kern="1200" cap="none" spc="0" normalizeH="0" baseline="0" noProof="0">
                  <a:ln>
                    <a:noFill/>
                  </a:ln>
                  <a:solidFill>
                    <a:srgbClr val="54565A"/>
                  </a:solidFill>
                  <a:effectLst/>
                  <a:uLnTx/>
                  <a:uFillTx/>
                  <a:latin typeface="Arial" panose="020B0604020202020204" pitchFamily="34" charset="0"/>
                  <a:ea typeface="ＭＳ Ｐゴシック" charset="0"/>
                  <a:cs typeface="Arial" panose="020B0604020202020204" pitchFamily="34" charset="0"/>
                </a:rPr>
                <a:t>Predictive</a:t>
              </a:r>
            </a:p>
          </p:txBody>
        </p:sp>
        <p:sp>
          <p:nvSpPr>
            <p:cNvPr id="19" name="Rectangle 18">
              <a:extLst>
                <a:ext uri="{FF2B5EF4-FFF2-40B4-BE49-F238E27FC236}">
                  <a16:creationId xmlns:a16="http://schemas.microsoft.com/office/drawing/2014/main" id="{9CD715D7-91C0-01E8-99A5-7FB24409B8B1}"/>
                </a:ext>
              </a:extLst>
            </p:cNvPr>
            <p:cNvSpPr/>
            <p:nvPr/>
          </p:nvSpPr>
          <p:spPr>
            <a:xfrm>
              <a:off x="4178346" y="5415089"/>
              <a:ext cx="2240898" cy="453549"/>
            </a:xfrm>
            <a:prstGeom prst="rect">
              <a:avLst/>
            </a:prstGeom>
          </p:spPr>
          <p:txBody>
            <a:bodyPr wrap="square">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884" b="0" i="0" u="none" strike="noStrike" kern="1200" cap="none" spc="0" normalizeH="0" baseline="0" noProof="0">
                  <a:ln>
                    <a:noFill/>
                  </a:ln>
                  <a:solidFill>
                    <a:srgbClr val="54565A"/>
                  </a:solidFill>
                  <a:effectLst/>
                  <a:uLnTx/>
                  <a:uFillTx/>
                  <a:latin typeface="Arial" panose="020B0604020202020204" pitchFamily="34" charset="0"/>
                  <a:ea typeface="ＭＳ Ｐゴシック" charset="0"/>
                  <a:cs typeface="Arial" panose="020B0604020202020204" pitchFamily="34" charset="0"/>
                </a:rPr>
                <a:t>Analyzing current events to predict future events</a:t>
              </a:r>
            </a:p>
          </p:txBody>
        </p:sp>
      </p:grpSp>
      <p:grpSp>
        <p:nvGrpSpPr>
          <p:cNvPr id="3" name="Group 2">
            <a:extLst>
              <a:ext uri="{FF2B5EF4-FFF2-40B4-BE49-F238E27FC236}">
                <a16:creationId xmlns:a16="http://schemas.microsoft.com/office/drawing/2014/main" id="{44ED19E3-E356-5B5D-603E-B0739398BD05}"/>
              </a:ext>
            </a:extLst>
          </p:cNvPr>
          <p:cNvGrpSpPr/>
          <p:nvPr/>
        </p:nvGrpSpPr>
        <p:grpSpPr>
          <a:xfrm>
            <a:off x="1044177" y="3502662"/>
            <a:ext cx="248746" cy="228364"/>
            <a:chOff x="8099724" y="3211284"/>
            <a:chExt cx="503237" cy="455390"/>
          </a:xfrm>
          <a:solidFill>
            <a:schemeClr val="bg2"/>
          </a:solidFill>
        </p:grpSpPr>
        <p:sp>
          <p:nvSpPr>
            <p:cNvPr id="58" name="Freeform 54">
              <a:extLst>
                <a:ext uri="{FF2B5EF4-FFF2-40B4-BE49-F238E27FC236}">
                  <a16:creationId xmlns:a16="http://schemas.microsoft.com/office/drawing/2014/main" id="{FA3366CE-64E7-567C-6643-9610A9FB286D}"/>
                </a:ext>
              </a:extLst>
            </p:cNvPr>
            <p:cNvSpPr>
              <a:spLocks/>
            </p:cNvSpPr>
            <p:nvPr/>
          </p:nvSpPr>
          <p:spPr bwMode="auto">
            <a:xfrm>
              <a:off x="8099724" y="3535244"/>
              <a:ext cx="72632" cy="131429"/>
            </a:xfrm>
            <a:custGeom>
              <a:avLst/>
              <a:gdLst>
                <a:gd name="T0" fmla="*/ 0 w 42"/>
                <a:gd name="T1" fmla="*/ 76 h 76"/>
                <a:gd name="T2" fmla="*/ 42 w 42"/>
                <a:gd name="T3" fmla="*/ 76 h 76"/>
                <a:gd name="T4" fmla="*/ 42 w 42"/>
                <a:gd name="T5" fmla="*/ 0 h 76"/>
                <a:gd name="T6" fmla="*/ 0 w 42"/>
                <a:gd name="T7" fmla="*/ 36 h 76"/>
                <a:gd name="T8" fmla="*/ 0 w 42"/>
                <a:gd name="T9" fmla="*/ 76 h 76"/>
              </a:gdLst>
              <a:ahLst/>
              <a:cxnLst>
                <a:cxn ang="0">
                  <a:pos x="T0" y="T1"/>
                </a:cxn>
                <a:cxn ang="0">
                  <a:pos x="T2" y="T3"/>
                </a:cxn>
                <a:cxn ang="0">
                  <a:pos x="T4" y="T5"/>
                </a:cxn>
                <a:cxn ang="0">
                  <a:pos x="T6" y="T7"/>
                </a:cxn>
                <a:cxn ang="0">
                  <a:pos x="T8" y="T9"/>
                </a:cxn>
              </a:cxnLst>
              <a:rect l="0" t="0" r="r" b="b"/>
              <a:pathLst>
                <a:path w="42" h="76">
                  <a:moveTo>
                    <a:pt x="0" y="76"/>
                  </a:moveTo>
                  <a:lnTo>
                    <a:pt x="42" y="76"/>
                  </a:lnTo>
                  <a:lnTo>
                    <a:pt x="42" y="0"/>
                  </a:lnTo>
                  <a:lnTo>
                    <a:pt x="0" y="36"/>
                  </a:lnTo>
                  <a:lnTo>
                    <a:pt x="0" y="76"/>
                  </a:lnTo>
                  <a:close/>
                </a:path>
              </a:pathLst>
            </a:custGeom>
            <a:grpFill/>
            <a:ln w="0">
              <a:noFill/>
              <a:prstDash val="solid"/>
              <a:round/>
              <a:headEnd/>
              <a:tailEnd/>
            </a:ln>
          </p:spPr>
          <p:txBody>
            <a:bodyPr vert="horz" wrap="square" lIns="73479" tIns="36739" rIns="73479" bIns="36739"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291" b="0" i="0" u="none" strike="noStrike" kern="0" cap="none" spc="0" normalizeH="0" baseline="0" noProof="0">
                <a:ln>
                  <a:noFill/>
                </a:ln>
                <a:solidFill>
                  <a:prstClr val="black"/>
                </a:solidFill>
                <a:effectLst/>
                <a:uLnTx/>
                <a:uFillTx/>
                <a:latin typeface="Calibri" charset="0"/>
                <a:ea typeface="ＭＳ Ｐゴシック" charset="0"/>
                <a:cs typeface="+mn-cs"/>
              </a:endParaRPr>
            </a:p>
          </p:txBody>
        </p:sp>
        <p:sp>
          <p:nvSpPr>
            <p:cNvPr id="59" name="Freeform 55">
              <a:extLst>
                <a:ext uri="{FF2B5EF4-FFF2-40B4-BE49-F238E27FC236}">
                  <a16:creationId xmlns:a16="http://schemas.microsoft.com/office/drawing/2014/main" id="{C7CCB915-FC3F-47D4-0E45-9F1143C1E647}"/>
                </a:ext>
              </a:extLst>
            </p:cNvPr>
            <p:cNvSpPr>
              <a:spLocks/>
            </p:cNvSpPr>
            <p:nvPr/>
          </p:nvSpPr>
          <p:spPr bwMode="auto">
            <a:xfrm>
              <a:off x="8220777" y="3457425"/>
              <a:ext cx="69173" cy="209249"/>
            </a:xfrm>
            <a:custGeom>
              <a:avLst/>
              <a:gdLst>
                <a:gd name="T0" fmla="*/ 0 w 40"/>
                <a:gd name="T1" fmla="*/ 19 h 121"/>
                <a:gd name="T2" fmla="*/ 0 w 40"/>
                <a:gd name="T3" fmla="*/ 121 h 121"/>
                <a:gd name="T4" fmla="*/ 40 w 40"/>
                <a:gd name="T5" fmla="*/ 121 h 121"/>
                <a:gd name="T6" fmla="*/ 40 w 40"/>
                <a:gd name="T7" fmla="*/ 20 h 121"/>
                <a:gd name="T8" fmla="*/ 20 w 40"/>
                <a:gd name="T9" fmla="*/ 0 h 121"/>
                <a:gd name="T10" fmla="*/ 0 w 40"/>
                <a:gd name="T11" fmla="*/ 19 h 121"/>
              </a:gdLst>
              <a:ahLst/>
              <a:cxnLst>
                <a:cxn ang="0">
                  <a:pos x="T0" y="T1"/>
                </a:cxn>
                <a:cxn ang="0">
                  <a:pos x="T2" y="T3"/>
                </a:cxn>
                <a:cxn ang="0">
                  <a:pos x="T4" y="T5"/>
                </a:cxn>
                <a:cxn ang="0">
                  <a:pos x="T6" y="T7"/>
                </a:cxn>
                <a:cxn ang="0">
                  <a:pos x="T8" y="T9"/>
                </a:cxn>
                <a:cxn ang="0">
                  <a:pos x="T10" y="T11"/>
                </a:cxn>
              </a:cxnLst>
              <a:rect l="0" t="0" r="r" b="b"/>
              <a:pathLst>
                <a:path w="40" h="121">
                  <a:moveTo>
                    <a:pt x="0" y="19"/>
                  </a:moveTo>
                  <a:lnTo>
                    <a:pt x="0" y="121"/>
                  </a:lnTo>
                  <a:lnTo>
                    <a:pt x="40" y="121"/>
                  </a:lnTo>
                  <a:lnTo>
                    <a:pt x="40" y="20"/>
                  </a:lnTo>
                  <a:lnTo>
                    <a:pt x="20" y="0"/>
                  </a:lnTo>
                  <a:lnTo>
                    <a:pt x="0" y="19"/>
                  </a:lnTo>
                  <a:close/>
                </a:path>
              </a:pathLst>
            </a:custGeom>
            <a:grpFill/>
            <a:ln w="0">
              <a:noFill/>
              <a:prstDash val="solid"/>
              <a:round/>
              <a:headEnd/>
              <a:tailEnd/>
            </a:ln>
          </p:spPr>
          <p:txBody>
            <a:bodyPr vert="horz" wrap="square" lIns="73479" tIns="36739" rIns="73479" bIns="36739"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291" b="0" i="0" u="none" strike="noStrike" kern="0" cap="none" spc="0" normalizeH="0" baseline="0" noProof="0">
                <a:ln>
                  <a:noFill/>
                </a:ln>
                <a:solidFill>
                  <a:prstClr val="black"/>
                </a:solidFill>
                <a:effectLst/>
                <a:uLnTx/>
                <a:uFillTx/>
                <a:latin typeface="Calibri" charset="0"/>
                <a:ea typeface="ＭＳ Ｐゴシック" charset="0"/>
                <a:cs typeface="+mn-cs"/>
              </a:endParaRPr>
            </a:p>
          </p:txBody>
        </p:sp>
        <p:sp>
          <p:nvSpPr>
            <p:cNvPr id="60" name="Freeform 56">
              <a:extLst>
                <a:ext uri="{FF2B5EF4-FFF2-40B4-BE49-F238E27FC236}">
                  <a16:creationId xmlns:a16="http://schemas.microsoft.com/office/drawing/2014/main" id="{584F565B-853F-1B4F-1C50-4B9C2FD612E5}"/>
                </a:ext>
              </a:extLst>
            </p:cNvPr>
            <p:cNvSpPr>
              <a:spLocks/>
            </p:cNvSpPr>
            <p:nvPr/>
          </p:nvSpPr>
          <p:spPr bwMode="auto">
            <a:xfrm>
              <a:off x="8459426" y="3383063"/>
              <a:ext cx="70903" cy="283610"/>
            </a:xfrm>
            <a:custGeom>
              <a:avLst/>
              <a:gdLst>
                <a:gd name="T0" fmla="*/ 0 w 41"/>
                <a:gd name="T1" fmla="*/ 164 h 164"/>
                <a:gd name="T2" fmla="*/ 41 w 41"/>
                <a:gd name="T3" fmla="*/ 164 h 164"/>
                <a:gd name="T4" fmla="*/ 41 w 41"/>
                <a:gd name="T5" fmla="*/ 0 h 164"/>
                <a:gd name="T6" fmla="*/ 0 w 41"/>
                <a:gd name="T7" fmla="*/ 39 h 164"/>
                <a:gd name="T8" fmla="*/ 0 w 41"/>
                <a:gd name="T9" fmla="*/ 164 h 164"/>
              </a:gdLst>
              <a:ahLst/>
              <a:cxnLst>
                <a:cxn ang="0">
                  <a:pos x="T0" y="T1"/>
                </a:cxn>
                <a:cxn ang="0">
                  <a:pos x="T2" y="T3"/>
                </a:cxn>
                <a:cxn ang="0">
                  <a:pos x="T4" y="T5"/>
                </a:cxn>
                <a:cxn ang="0">
                  <a:pos x="T6" y="T7"/>
                </a:cxn>
                <a:cxn ang="0">
                  <a:pos x="T8" y="T9"/>
                </a:cxn>
              </a:cxnLst>
              <a:rect l="0" t="0" r="r" b="b"/>
              <a:pathLst>
                <a:path w="41" h="164">
                  <a:moveTo>
                    <a:pt x="0" y="164"/>
                  </a:moveTo>
                  <a:lnTo>
                    <a:pt x="41" y="164"/>
                  </a:lnTo>
                  <a:lnTo>
                    <a:pt x="41" y="0"/>
                  </a:lnTo>
                  <a:lnTo>
                    <a:pt x="0" y="39"/>
                  </a:lnTo>
                  <a:lnTo>
                    <a:pt x="0" y="164"/>
                  </a:lnTo>
                  <a:close/>
                </a:path>
              </a:pathLst>
            </a:custGeom>
            <a:grpFill/>
            <a:ln w="0">
              <a:noFill/>
              <a:prstDash val="solid"/>
              <a:round/>
              <a:headEnd/>
              <a:tailEnd/>
            </a:ln>
          </p:spPr>
          <p:txBody>
            <a:bodyPr vert="horz" wrap="square" lIns="73479" tIns="36739" rIns="73479" bIns="36739"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291" b="0" i="0" u="none" strike="noStrike" kern="0" cap="none" spc="0" normalizeH="0" baseline="0" noProof="0">
                <a:ln>
                  <a:noFill/>
                </a:ln>
                <a:solidFill>
                  <a:prstClr val="black"/>
                </a:solidFill>
                <a:effectLst/>
                <a:uLnTx/>
                <a:uFillTx/>
                <a:latin typeface="Calibri" charset="0"/>
                <a:ea typeface="ＭＳ Ｐゴシック" charset="0"/>
                <a:cs typeface="+mn-cs"/>
              </a:endParaRPr>
            </a:p>
          </p:txBody>
        </p:sp>
        <p:sp>
          <p:nvSpPr>
            <p:cNvPr id="61" name="Freeform 57">
              <a:extLst>
                <a:ext uri="{FF2B5EF4-FFF2-40B4-BE49-F238E27FC236}">
                  <a16:creationId xmlns:a16="http://schemas.microsoft.com/office/drawing/2014/main" id="{0D19787E-F9CF-1C40-5FF9-2A54F4B488A7}"/>
                </a:ext>
              </a:extLst>
            </p:cNvPr>
            <p:cNvSpPr>
              <a:spLocks/>
            </p:cNvSpPr>
            <p:nvPr/>
          </p:nvSpPr>
          <p:spPr bwMode="auto">
            <a:xfrm>
              <a:off x="8340101" y="3495470"/>
              <a:ext cx="69173" cy="171204"/>
            </a:xfrm>
            <a:custGeom>
              <a:avLst/>
              <a:gdLst>
                <a:gd name="T0" fmla="*/ 0 w 40"/>
                <a:gd name="T1" fmla="*/ 99 h 99"/>
                <a:gd name="T2" fmla="*/ 40 w 40"/>
                <a:gd name="T3" fmla="*/ 99 h 99"/>
                <a:gd name="T4" fmla="*/ 40 w 40"/>
                <a:gd name="T5" fmla="*/ 0 h 99"/>
                <a:gd name="T6" fmla="*/ 0 w 40"/>
                <a:gd name="T7" fmla="*/ 35 h 99"/>
                <a:gd name="T8" fmla="*/ 0 w 40"/>
                <a:gd name="T9" fmla="*/ 99 h 99"/>
              </a:gdLst>
              <a:ahLst/>
              <a:cxnLst>
                <a:cxn ang="0">
                  <a:pos x="T0" y="T1"/>
                </a:cxn>
                <a:cxn ang="0">
                  <a:pos x="T2" y="T3"/>
                </a:cxn>
                <a:cxn ang="0">
                  <a:pos x="T4" y="T5"/>
                </a:cxn>
                <a:cxn ang="0">
                  <a:pos x="T6" y="T7"/>
                </a:cxn>
                <a:cxn ang="0">
                  <a:pos x="T8" y="T9"/>
                </a:cxn>
              </a:cxnLst>
              <a:rect l="0" t="0" r="r" b="b"/>
              <a:pathLst>
                <a:path w="40" h="99">
                  <a:moveTo>
                    <a:pt x="0" y="99"/>
                  </a:moveTo>
                  <a:lnTo>
                    <a:pt x="40" y="99"/>
                  </a:lnTo>
                  <a:lnTo>
                    <a:pt x="40" y="0"/>
                  </a:lnTo>
                  <a:lnTo>
                    <a:pt x="0" y="35"/>
                  </a:lnTo>
                  <a:lnTo>
                    <a:pt x="0" y="99"/>
                  </a:lnTo>
                  <a:close/>
                </a:path>
              </a:pathLst>
            </a:custGeom>
            <a:grpFill/>
            <a:ln w="0">
              <a:noFill/>
              <a:prstDash val="solid"/>
              <a:round/>
              <a:headEnd/>
              <a:tailEnd/>
            </a:ln>
          </p:spPr>
          <p:txBody>
            <a:bodyPr vert="horz" wrap="square" lIns="73479" tIns="36739" rIns="73479" bIns="36739"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291" b="0" i="0" u="none" strike="noStrike" kern="0" cap="none" spc="0" normalizeH="0" baseline="0" noProof="0">
                <a:ln>
                  <a:noFill/>
                </a:ln>
                <a:solidFill>
                  <a:prstClr val="black"/>
                </a:solidFill>
                <a:effectLst/>
                <a:uLnTx/>
                <a:uFillTx/>
                <a:latin typeface="Calibri" charset="0"/>
                <a:ea typeface="ＭＳ Ｐゴシック" charset="0"/>
                <a:cs typeface="+mn-cs"/>
              </a:endParaRPr>
            </a:p>
          </p:txBody>
        </p:sp>
        <p:sp>
          <p:nvSpPr>
            <p:cNvPr id="62" name="Freeform 58">
              <a:extLst>
                <a:ext uri="{FF2B5EF4-FFF2-40B4-BE49-F238E27FC236}">
                  <a16:creationId xmlns:a16="http://schemas.microsoft.com/office/drawing/2014/main" id="{A492366B-DA7F-49D7-8946-52B5F2DFB477}"/>
                </a:ext>
              </a:extLst>
            </p:cNvPr>
            <p:cNvSpPr>
              <a:spLocks/>
            </p:cNvSpPr>
            <p:nvPr/>
          </p:nvSpPr>
          <p:spPr bwMode="auto">
            <a:xfrm>
              <a:off x="8099724" y="3211284"/>
              <a:ext cx="503237" cy="351054"/>
            </a:xfrm>
            <a:custGeom>
              <a:avLst/>
              <a:gdLst>
                <a:gd name="T0" fmla="*/ 197 w 291"/>
                <a:gd name="T1" fmla="*/ 25 h 203"/>
                <a:gd name="T2" fmla="*/ 231 w 291"/>
                <a:gd name="T3" fmla="*/ 60 h 203"/>
                <a:gd name="T4" fmla="*/ 147 w 291"/>
                <a:gd name="T5" fmla="*/ 139 h 203"/>
                <a:gd name="T6" fmla="*/ 90 w 291"/>
                <a:gd name="T7" fmla="*/ 86 h 203"/>
                <a:gd name="T8" fmla="*/ 0 w 291"/>
                <a:gd name="T9" fmla="*/ 168 h 203"/>
                <a:gd name="T10" fmla="*/ 0 w 291"/>
                <a:gd name="T11" fmla="*/ 203 h 203"/>
                <a:gd name="T12" fmla="*/ 90 w 291"/>
                <a:gd name="T13" fmla="*/ 122 h 203"/>
                <a:gd name="T14" fmla="*/ 147 w 291"/>
                <a:gd name="T15" fmla="*/ 174 h 203"/>
                <a:gd name="T16" fmla="*/ 248 w 291"/>
                <a:gd name="T17" fmla="*/ 79 h 203"/>
                <a:gd name="T18" fmla="*/ 276 w 291"/>
                <a:gd name="T19" fmla="*/ 109 h 203"/>
                <a:gd name="T20" fmla="*/ 291 w 291"/>
                <a:gd name="T21" fmla="*/ 0 h 203"/>
                <a:gd name="T22" fmla="*/ 197 w 291"/>
                <a:gd name="T23" fmla="*/ 2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1" h="203">
                  <a:moveTo>
                    <a:pt x="197" y="25"/>
                  </a:moveTo>
                  <a:lnTo>
                    <a:pt x="231" y="60"/>
                  </a:lnTo>
                  <a:lnTo>
                    <a:pt x="147" y="139"/>
                  </a:lnTo>
                  <a:lnTo>
                    <a:pt x="90" y="86"/>
                  </a:lnTo>
                  <a:lnTo>
                    <a:pt x="0" y="168"/>
                  </a:lnTo>
                  <a:lnTo>
                    <a:pt x="0" y="203"/>
                  </a:lnTo>
                  <a:lnTo>
                    <a:pt x="90" y="122"/>
                  </a:lnTo>
                  <a:lnTo>
                    <a:pt x="147" y="174"/>
                  </a:lnTo>
                  <a:lnTo>
                    <a:pt x="248" y="79"/>
                  </a:lnTo>
                  <a:lnTo>
                    <a:pt x="276" y="109"/>
                  </a:lnTo>
                  <a:lnTo>
                    <a:pt x="291" y="0"/>
                  </a:lnTo>
                  <a:lnTo>
                    <a:pt x="197" y="25"/>
                  </a:lnTo>
                  <a:close/>
                </a:path>
              </a:pathLst>
            </a:custGeom>
            <a:grpFill/>
            <a:ln w="0">
              <a:noFill/>
              <a:prstDash val="solid"/>
              <a:round/>
              <a:headEnd/>
              <a:tailEnd/>
            </a:ln>
          </p:spPr>
          <p:txBody>
            <a:bodyPr vert="horz" wrap="square" lIns="73479" tIns="36739" rIns="73479" bIns="36739"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291" b="0" i="0" u="none" strike="noStrike" kern="0" cap="none" spc="0" normalizeH="0" baseline="0" noProof="0">
                <a:ln>
                  <a:noFill/>
                </a:ln>
                <a:solidFill>
                  <a:prstClr val="black"/>
                </a:solidFill>
                <a:effectLst/>
                <a:uLnTx/>
                <a:uFillTx/>
                <a:latin typeface="Calibri" charset="0"/>
                <a:ea typeface="ＭＳ Ｐゴシック" charset="0"/>
                <a:cs typeface="+mn-cs"/>
              </a:endParaRPr>
            </a:p>
          </p:txBody>
        </p:sp>
      </p:grpSp>
      <p:pic>
        <p:nvPicPr>
          <p:cNvPr id="4" name="Picture 3">
            <a:extLst>
              <a:ext uri="{FF2B5EF4-FFF2-40B4-BE49-F238E27FC236}">
                <a16:creationId xmlns:a16="http://schemas.microsoft.com/office/drawing/2014/main" id="{28EA4386-F775-D2B8-8101-26EA5F0AE1E5}"/>
              </a:ext>
            </a:extLst>
          </p:cNvPr>
          <p:cNvPicPr>
            <a:picLocks noChangeAspect="1"/>
          </p:cNvPicPr>
          <p:nvPr/>
        </p:nvPicPr>
        <p:blipFill>
          <a:blip r:embed="rId4"/>
          <a:stretch>
            <a:fillRect/>
          </a:stretch>
        </p:blipFill>
        <p:spPr>
          <a:xfrm>
            <a:off x="4176071" y="1613585"/>
            <a:ext cx="548595" cy="548595"/>
          </a:xfrm>
          <a:prstGeom prst="rect">
            <a:avLst/>
          </a:prstGeom>
        </p:spPr>
      </p:pic>
      <p:sp>
        <p:nvSpPr>
          <p:cNvPr id="33" name="Rectangle 5">
            <a:extLst>
              <a:ext uri="{FF2B5EF4-FFF2-40B4-BE49-F238E27FC236}">
                <a16:creationId xmlns:a16="http://schemas.microsoft.com/office/drawing/2014/main" id="{950BD2B8-015D-BB08-3502-F146E5651FCB}"/>
              </a:ext>
            </a:extLst>
          </p:cNvPr>
          <p:cNvSpPr/>
          <p:nvPr/>
        </p:nvSpPr>
        <p:spPr>
          <a:xfrm>
            <a:off x="6571327" y="1140867"/>
            <a:ext cx="1404637" cy="839237"/>
          </a:xfrm>
          <a:custGeom>
            <a:avLst/>
            <a:gdLst>
              <a:gd name="connsiteX0" fmla="*/ 0 w 934453"/>
              <a:gd name="connsiteY0" fmla="*/ 0 h 862264"/>
              <a:gd name="connsiteX1" fmla="*/ 934453 w 934453"/>
              <a:gd name="connsiteY1" fmla="*/ 0 h 862264"/>
              <a:gd name="connsiteX2" fmla="*/ 934453 w 934453"/>
              <a:gd name="connsiteY2" fmla="*/ 862264 h 862264"/>
              <a:gd name="connsiteX3" fmla="*/ 0 w 934453"/>
              <a:gd name="connsiteY3" fmla="*/ 862264 h 862264"/>
              <a:gd name="connsiteX4" fmla="*/ 0 w 934453"/>
              <a:gd name="connsiteY4" fmla="*/ 0 h 862264"/>
              <a:gd name="connsiteX0" fmla="*/ 0 w 934453"/>
              <a:gd name="connsiteY0" fmla="*/ 2255 h 864519"/>
              <a:gd name="connsiteX1" fmla="*/ 787567 w 934453"/>
              <a:gd name="connsiteY1" fmla="*/ 0 h 864519"/>
              <a:gd name="connsiteX2" fmla="*/ 934453 w 934453"/>
              <a:gd name="connsiteY2" fmla="*/ 2255 h 864519"/>
              <a:gd name="connsiteX3" fmla="*/ 934453 w 934453"/>
              <a:gd name="connsiteY3" fmla="*/ 864519 h 864519"/>
              <a:gd name="connsiteX4" fmla="*/ 0 w 934453"/>
              <a:gd name="connsiteY4" fmla="*/ 864519 h 864519"/>
              <a:gd name="connsiteX5" fmla="*/ 0 w 934453"/>
              <a:gd name="connsiteY5" fmla="*/ 2255 h 864519"/>
              <a:gd name="connsiteX0" fmla="*/ 0 w 934453"/>
              <a:gd name="connsiteY0" fmla="*/ 2255 h 864519"/>
              <a:gd name="connsiteX1" fmla="*/ 787567 w 934453"/>
              <a:gd name="connsiteY1" fmla="*/ 0 h 864519"/>
              <a:gd name="connsiteX2" fmla="*/ 934453 w 934453"/>
              <a:gd name="connsiteY2" fmla="*/ 2255 h 864519"/>
              <a:gd name="connsiteX3" fmla="*/ 932823 w 934453"/>
              <a:gd name="connsiteY3" fmla="*/ 121444 h 864519"/>
              <a:gd name="connsiteX4" fmla="*/ 934453 w 934453"/>
              <a:gd name="connsiteY4" fmla="*/ 864519 h 864519"/>
              <a:gd name="connsiteX5" fmla="*/ 0 w 934453"/>
              <a:gd name="connsiteY5" fmla="*/ 864519 h 864519"/>
              <a:gd name="connsiteX6" fmla="*/ 0 w 934453"/>
              <a:gd name="connsiteY6" fmla="*/ 2255 h 864519"/>
              <a:gd name="connsiteX0" fmla="*/ 0 w 934453"/>
              <a:gd name="connsiteY0" fmla="*/ 2255 h 864519"/>
              <a:gd name="connsiteX1" fmla="*/ 106530 w 934453"/>
              <a:gd name="connsiteY1" fmla="*/ 2382 h 864519"/>
              <a:gd name="connsiteX2" fmla="*/ 787567 w 934453"/>
              <a:gd name="connsiteY2" fmla="*/ 0 h 864519"/>
              <a:gd name="connsiteX3" fmla="*/ 934453 w 934453"/>
              <a:gd name="connsiteY3" fmla="*/ 2255 h 864519"/>
              <a:gd name="connsiteX4" fmla="*/ 932823 w 934453"/>
              <a:gd name="connsiteY4" fmla="*/ 121444 h 864519"/>
              <a:gd name="connsiteX5" fmla="*/ 934453 w 934453"/>
              <a:gd name="connsiteY5" fmla="*/ 864519 h 864519"/>
              <a:gd name="connsiteX6" fmla="*/ 0 w 934453"/>
              <a:gd name="connsiteY6" fmla="*/ 864519 h 864519"/>
              <a:gd name="connsiteX7" fmla="*/ 0 w 934453"/>
              <a:gd name="connsiteY7" fmla="*/ 2255 h 864519"/>
              <a:gd name="connsiteX0" fmla="*/ 627 w 935080"/>
              <a:gd name="connsiteY0" fmla="*/ 2255 h 864519"/>
              <a:gd name="connsiteX1" fmla="*/ 107157 w 935080"/>
              <a:gd name="connsiteY1" fmla="*/ 2382 h 864519"/>
              <a:gd name="connsiteX2" fmla="*/ 788194 w 935080"/>
              <a:gd name="connsiteY2" fmla="*/ 0 h 864519"/>
              <a:gd name="connsiteX3" fmla="*/ 935080 w 935080"/>
              <a:gd name="connsiteY3" fmla="*/ 2255 h 864519"/>
              <a:gd name="connsiteX4" fmla="*/ 933450 w 935080"/>
              <a:gd name="connsiteY4" fmla="*/ 121444 h 864519"/>
              <a:gd name="connsiteX5" fmla="*/ 935080 w 935080"/>
              <a:gd name="connsiteY5" fmla="*/ 864519 h 864519"/>
              <a:gd name="connsiteX6" fmla="*/ 627 w 935080"/>
              <a:gd name="connsiteY6" fmla="*/ 864519 h 864519"/>
              <a:gd name="connsiteX7" fmla="*/ 0 w 935080"/>
              <a:gd name="connsiteY7" fmla="*/ 138113 h 864519"/>
              <a:gd name="connsiteX8" fmla="*/ 627 w 935080"/>
              <a:gd name="connsiteY8" fmla="*/ 2255 h 864519"/>
              <a:gd name="connsiteX0" fmla="*/ 627 w 935080"/>
              <a:gd name="connsiteY0" fmla="*/ 2255 h 864519"/>
              <a:gd name="connsiteX1" fmla="*/ 107157 w 935080"/>
              <a:gd name="connsiteY1" fmla="*/ 2382 h 864519"/>
              <a:gd name="connsiteX2" fmla="*/ 788194 w 935080"/>
              <a:gd name="connsiteY2" fmla="*/ 0 h 864519"/>
              <a:gd name="connsiteX3" fmla="*/ 935080 w 935080"/>
              <a:gd name="connsiteY3" fmla="*/ 2255 h 864519"/>
              <a:gd name="connsiteX4" fmla="*/ 933450 w 935080"/>
              <a:gd name="connsiteY4" fmla="*/ 121444 h 864519"/>
              <a:gd name="connsiteX5" fmla="*/ 935080 w 935080"/>
              <a:gd name="connsiteY5" fmla="*/ 864519 h 864519"/>
              <a:gd name="connsiteX6" fmla="*/ 428625 w 935080"/>
              <a:gd name="connsiteY6" fmla="*/ 864394 h 864519"/>
              <a:gd name="connsiteX7" fmla="*/ 627 w 935080"/>
              <a:gd name="connsiteY7" fmla="*/ 864519 h 864519"/>
              <a:gd name="connsiteX8" fmla="*/ 0 w 935080"/>
              <a:gd name="connsiteY8" fmla="*/ 138113 h 864519"/>
              <a:gd name="connsiteX9" fmla="*/ 627 w 935080"/>
              <a:gd name="connsiteY9" fmla="*/ 2255 h 864519"/>
              <a:gd name="connsiteX0" fmla="*/ 627 w 935080"/>
              <a:gd name="connsiteY0" fmla="*/ 2255 h 864519"/>
              <a:gd name="connsiteX1" fmla="*/ 107157 w 935080"/>
              <a:gd name="connsiteY1" fmla="*/ 2382 h 864519"/>
              <a:gd name="connsiteX2" fmla="*/ 788194 w 935080"/>
              <a:gd name="connsiteY2" fmla="*/ 0 h 864519"/>
              <a:gd name="connsiteX3" fmla="*/ 935080 w 935080"/>
              <a:gd name="connsiteY3" fmla="*/ 2255 h 864519"/>
              <a:gd name="connsiteX4" fmla="*/ 933450 w 935080"/>
              <a:gd name="connsiteY4" fmla="*/ 121444 h 864519"/>
              <a:gd name="connsiteX5" fmla="*/ 935080 w 935080"/>
              <a:gd name="connsiteY5" fmla="*/ 864519 h 864519"/>
              <a:gd name="connsiteX6" fmla="*/ 616744 w 935080"/>
              <a:gd name="connsiteY6" fmla="*/ 862013 h 864519"/>
              <a:gd name="connsiteX7" fmla="*/ 428625 w 935080"/>
              <a:gd name="connsiteY7" fmla="*/ 864394 h 864519"/>
              <a:gd name="connsiteX8" fmla="*/ 627 w 935080"/>
              <a:gd name="connsiteY8" fmla="*/ 864519 h 864519"/>
              <a:gd name="connsiteX9" fmla="*/ 0 w 935080"/>
              <a:gd name="connsiteY9" fmla="*/ 138113 h 864519"/>
              <a:gd name="connsiteX10" fmla="*/ 627 w 935080"/>
              <a:gd name="connsiteY10" fmla="*/ 2255 h 864519"/>
              <a:gd name="connsiteX0" fmla="*/ 627 w 935080"/>
              <a:gd name="connsiteY0" fmla="*/ 2255 h 864519"/>
              <a:gd name="connsiteX1" fmla="*/ 107157 w 935080"/>
              <a:gd name="connsiteY1" fmla="*/ 2382 h 864519"/>
              <a:gd name="connsiteX2" fmla="*/ 788194 w 935080"/>
              <a:gd name="connsiteY2" fmla="*/ 0 h 864519"/>
              <a:gd name="connsiteX3" fmla="*/ 935080 w 935080"/>
              <a:gd name="connsiteY3" fmla="*/ 2255 h 864519"/>
              <a:gd name="connsiteX4" fmla="*/ 933450 w 935080"/>
              <a:gd name="connsiteY4" fmla="*/ 121444 h 864519"/>
              <a:gd name="connsiteX5" fmla="*/ 935080 w 935080"/>
              <a:gd name="connsiteY5" fmla="*/ 864519 h 864519"/>
              <a:gd name="connsiteX6" fmla="*/ 616744 w 935080"/>
              <a:gd name="connsiteY6" fmla="*/ 862013 h 864519"/>
              <a:gd name="connsiteX7" fmla="*/ 428625 w 935080"/>
              <a:gd name="connsiteY7" fmla="*/ 864394 h 864519"/>
              <a:gd name="connsiteX8" fmla="*/ 0 w 935080"/>
              <a:gd name="connsiteY8" fmla="*/ 138113 h 864519"/>
              <a:gd name="connsiteX9" fmla="*/ 627 w 935080"/>
              <a:gd name="connsiteY9" fmla="*/ 2255 h 864519"/>
              <a:gd name="connsiteX0" fmla="*/ 0 w 934453"/>
              <a:gd name="connsiteY0" fmla="*/ 2255 h 864519"/>
              <a:gd name="connsiteX1" fmla="*/ 106530 w 934453"/>
              <a:gd name="connsiteY1" fmla="*/ 2382 h 864519"/>
              <a:gd name="connsiteX2" fmla="*/ 787567 w 934453"/>
              <a:gd name="connsiteY2" fmla="*/ 0 h 864519"/>
              <a:gd name="connsiteX3" fmla="*/ 934453 w 934453"/>
              <a:gd name="connsiteY3" fmla="*/ 2255 h 864519"/>
              <a:gd name="connsiteX4" fmla="*/ 932823 w 934453"/>
              <a:gd name="connsiteY4" fmla="*/ 121444 h 864519"/>
              <a:gd name="connsiteX5" fmla="*/ 934453 w 934453"/>
              <a:gd name="connsiteY5" fmla="*/ 864519 h 864519"/>
              <a:gd name="connsiteX6" fmla="*/ 616117 w 934453"/>
              <a:gd name="connsiteY6" fmla="*/ 862013 h 864519"/>
              <a:gd name="connsiteX7" fmla="*/ 427998 w 934453"/>
              <a:gd name="connsiteY7" fmla="*/ 864394 h 864519"/>
              <a:gd name="connsiteX8" fmla="*/ 99385 w 934453"/>
              <a:gd name="connsiteY8" fmla="*/ 307181 h 864519"/>
              <a:gd name="connsiteX9" fmla="*/ 0 w 934453"/>
              <a:gd name="connsiteY9" fmla="*/ 2255 h 864519"/>
              <a:gd name="connsiteX0" fmla="*/ 0 w 889209"/>
              <a:gd name="connsiteY0" fmla="*/ 133224 h 864519"/>
              <a:gd name="connsiteX1" fmla="*/ 61286 w 889209"/>
              <a:gd name="connsiteY1" fmla="*/ 2382 h 864519"/>
              <a:gd name="connsiteX2" fmla="*/ 742323 w 889209"/>
              <a:gd name="connsiteY2" fmla="*/ 0 h 864519"/>
              <a:gd name="connsiteX3" fmla="*/ 889209 w 889209"/>
              <a:gd name="connsiteY3" fmla="*/ 2255 h 864519"/>
              <a:gd name="connsiteX4" fmla="*/ 887579 w 889209"/>
              <a:gd name="connsiteY4" fmla="*/ 121444 h 864519"/>
              <a:gd name="connsiteX5" fmla="*/ 889209 w 889209"/>
              <a:gd name="connsiteY5" fmla="*/ 864519 h 864519"/>
              <a:gd name="connsiteX6" fmla="*/ 570873 w 889209"/>
              <a:gd name="connsiteY6" fmla="*/ 862013 h 864519"/>
              <a:gd name="connsiteX7" fmla="*/ 382754 w 889209"/>
              <a:gd name="connsiteY7" fmla="*/ 864394 h 864519"/>
              <a:gd name="connsiteX8" fmla="*/ 54141 w 889209"/>
              <a:gd name="connsiteY8" fmla="*/ 307181 h 864519"/>
              <a:gd name="connsiteX9" fmla="*/ 0 w 889209"/>
              <a:gd name="connsiteY9" fmla="*/ 133224 h 864519"/>
              <a:gd name="connsiteX0" fmla="*/ 42943 w 932152"/>
              <a:gd name="connsiteY0" fmla="*/ 133224 h 864519"/>
              <a:gd name="connsiteX1" fmla="*/ 104229 w 932152"/>
              <a:gd name="connsiteY1" fmla="*/ 2382 h 864519"/>
              <a:gd name="connsiteX2" fmla="*/ 785266 w 932152"/>
              <a:gd name="connsiteY2" fmla="*/ 0 h 864519"/>
              <a:gd name="connsiteX3" fmla="*/ 932152 w 932152"/>
              <a:gd name="connsiteY3" fmla="*/ 2255 h 864519"/>
              <a:gd name="connsiteX4" fmla="*/ 930522 w 932152"/>
              <a:gd name="connsiteY4" fmla="*/ 121444 h 864519"/>
              <a:gd name="connsiteX5" fmla="*/ 932152 w 932152"/>
              <a:gd name="connsiteY5" fmla="*/ 864519 h 864519"/>
              <a:gd name="connsiteX6" fmla="*/ 613816 w 932152"/>
              <a:gd name="connsiteY6" fmla="*/ 862013 h 864519"/>
              <a:gd name="connsiteX7" fmla="*/ 425697 w 932152"/>
              <a:gd name="connsiteY7" fmla="*/ 864394 h 864519"/>
              <a:gd name="connsiteX8" fmla="*/ 97084 w 932152"/>
              <a:gd name="connsiteY8" fmla="*/ 307181 h 864519"/>
              <a:gd name="connsiteX9" fmla="*/ 42943 w 932152"/>
              <a:gd name="connsiteY9" fmla="*/ 133224 h 864519"/>
              <a:gd name="connsiteX0" fmla="*/ 50330 w 939539"/>
              <a:gd name="connsiteY0" fmla="*/ 133224 h 864519"/>
              <a:gd name="connsiteX1" fmla="*/ 111616 w 939539"/>
              <a:gd name="connsiteY1" fmla="*/ 2382 h 864519"/>
              <a:gd name="connsiteX2" fmla="*/ 792653 w 939539"/>
              <a:gd name="connsiteY2" fmla="*/ 0 h 864519"/>
              <a:gd name="connsiteX3" fmla="*/ 939539 w 939539"/>
              <a:gd name="connsiteY3" fmla="*/ 2255 h 864519"/>
              <a:gd name="connsiteX4" fmla="*/ 937909 w 939539"/>
              <a:gd name="connsiteY4" fmla="*/ 121444 h 864519"/>
              <a:gd name="connsiteX5" fmla="*/ 939539 w 939539"/>
              <a:gd name="connsiteY5" fmla="*/ 864519 h 864519"/>
              <a:gd name="connsiteX6" fmla="*/ 621203 w 939539"/>
              <a:gd name="connsiteY6" fmla="*/ 862013 h 864519"/>
              <a:gd name="connsiteX7" fmla="*/ 433084 w 939539"/>
              <a:gd name="connsiteY7" fmla="*/ 864394 h 864519"/>
              <a:gd name="connsiteX8" fmla="*/ 104471 w 939539"/>
              <a:gd name="connsiteY8" fmla="*/ 307181 h 864519"/>
              <a:gd name="connsiteX9" fmla="*/ 50330 w 939539"/>
              <a:gd name="connsiteY9" fmla="*/ 133224 h 864519"/>
              <a:gd name="connsiteX0" fmla="*/ 50330 w 939539"/>
              <a:gd name="connsiteY0" fmla="*/ 133224 h 864519"/>
              <a:gd name="connsiteX1" fmla="*/ 792653 w 939539"/>
              <a:gd name="connsiteY1" fmla="*/ 0 h 864519"/>
              <a:gd name="connsiteX2" fmla="*/ 939539 w 939539"/>
              <a:gd name="connsiteY2" fmla="*/ 2255 h 864519"/>
              <a:gd name="connsiteX3" fmla="*/ 937909 w 939539"/>
              <a:gd name="connsiteY3" fmla="*/ 121444 h 864519"/>
              <a:gd name="connsiteX4" fmla="*/ 939539 w 939539"/>
              <a:gd name="connsiteY4" fmla="*/ 864519 h 864519"/>
              <a:gd name="connsiteX5" fmla="*/ 621203 w 939539"/>
              <a:gd name="connsiteY5" fmla="*/ 862013 h 864519"/>
              <a:gd name="connsiteX6" fmla="*/ 433084 w 939539"/>
              <a:gd name="connsiteY6" fmla="*/ 864394 h 864519"/>
              <a:gd name="connsiteX7" fmla="*/ 104471 w 939539"/>
              <a:gd name="connsiteY7" fmla="*/ 307181 h 864519"/>
              <a:gd name="connsiteX8" fmla="*/ 50330 w 939539"/>
              <a:gd name="connsiteY8" fmla="*/ 133224 h 864519"/>
              <a:gd name="connsiteX0" fmla="*/ 68023 w 900082"/>
              <a:gd name="connsiteY0" fmla="*/ 80837 h 864519"/>
              <a:gd name="connsiteX1" fmla="*/ 753196 w 900082"/>
              <a:gd name="connsiteY1" fmla="*/ 0 h 864519"/>
              <a:gd name="connsiteX2" fmla="*/ 900082 w 900082"/>
              <a:gd name="connsiteY2" fmla="*/ 2255 h 864519"/>
              <a:gd name="connsiteX3" fmla="*/ 898452 w 900082"/>
              <a:gd name="connsiteY3" fmla="*/ 121444 h 864519"/>
              <a:gd name="connsiteX4" fmla="*/ 900082 w 900082"/>
              <a:gd name="connsiteY4" fmla="*/ 864519 h 864519"/>
              <a:gd name="connsiteX5" fmla="*/ 581746 w 900082"/>
              <a:gd name="connsiteY5" fmla="*/ 862013 h 864519"/>
              <a:gd name="connsiteX6" fmla="*/ 393627 w 900082"/>
              <a:gd name="connsiteY6" fmla="*/ 864394 h 864519"/>
              <a:gd name="connsiteX7" fmla="*/ 65014 w 900082"/>
              <a:gd name="connsiteY7" fmla="*/ 307181 h 864519"/>
              <a:gd name="connsiteX8" fmla="*/ 68023 w 900082"/>
              <a:gd name="connsiteY8" fmla="*/ 80837 h 864519"/>
              <a:gd name="connsiteX0" fmla="*/ 91590 w 923649"/>
              <a:gd name="connsiteY0" fmla="*/ 80837 h 864519"/>
              <a:gd name="connsiteX1" fmla="*/ 776763 w 923649"/>
              <a:gd name="connsiteY1" fmla="*/ 0 h 864519"/>
              <a:gd name="connsiteX2" fmla="*/ 923649 w 923649"/>
              <a:gd name="connsiteY2" fmla="*/ 2255 h 864519"/>
              <a:gd name="connsiteX3" fmla="*/ 922019 w 923649"/>
              <a:gd name="connsiteY3" fmla="*/ 121444 h 864519"/>
              <a:gd name="connsiteX4" fmla="*/ 923649 w 923649"/>
              <a:gd name="connsiteY4" fmla="*/ 864519 h 864519"/>
              <a:gd name="connsiteX5" fmla="*/ 605313 w 923649"/>
              <a:gd name="connsiteY5" fmla="*/ 862013 h 864519"/>
              <a:gd name="connsiteX6" fmla="*/ 417194 w 923649"/>
              <a:gd name="connsiteY6" fmla="*/ 864394 h 864519"/>
              <a:gd name="connsiteX7" fmla="*/ 40956 w 923649"/>
              <a:gd name="connsiteY7" fmla="*/ 280987 h 864519"/>
              <a:gd name="connsiteX8" fmla="*/ 91590 w 923649"/>
              <a:gd name="connsiteY8" fmla="*/ 80837 h 864519"/>
              <a:gd name="connsiteX0" fmla="*/ 39499 w 871558"/>
              <a:gd name="connsiteY0" fmla="*/ 80837 h 864519"/>
              <a:gd name="connsiteX1" fmla="*/ 724672 w 871558"/>
              <a:gd name="connsiteY1" fmla="*/ 0 h 864519"/>
              <a:gd name="connsiteX2" fmla="*/ 871558 w 871558"/>
              <a:gd name="connsiteY2" fmla="*/ 2255 h 864519"/>
              <a:gd name="connsiteX3" fmla="*/ 869928 w 871558"/>
              <a:gd name="connsiteY3" fmla="*/ 121444 h 864519"/>
              <a:gd name="connsiteX4" fmla="*/ 871558 w 871558"/>
              <a:gd name="connsiteY4" fmla="*/ 864519 h 864519"/>
              <a:gd name="connsiteX5" fmla="*/ 553222 w 871558"/>
              <a:gd name="connsiteY5" fmla="*/ 862013 h 864519"/>
              <a:gd name="connsiteX6" fmla="*/ 365103 w 871558"/>
              <a:gd name="connsiteY6" fmla="*/ 864394 h 864519"/>
              <a:gd name="connsiteX7" fmla="*/ 150790 w 871558"/>
              <a:gd name="connsiteY7" fmla="*/ 352425 h 864519"/>
              <a:gd name="connsiteX8" fmla="*/ 39499 w 871558"/>
              <a:gd name="connsiteY8" fmla="*/ 80837 h 864519"/>
              <a:gd name="connsiteX0" fmla="*/ 100076 w 932135"/>
              <a:gd name="connsiteY0" fmla="*/ 80837 h 864519"/>
              <a:gd name="connsiteX1" fmla="*/ 785249 w 932135"/>
              <a:gd name="connsiteY1" fmla="*/ 0 h 864519"/>
              <a:gd name="connsiteX2" fmla="*/ 932135 w 932135"/>
              <a:gd name="connsiteY2" fmla="*/ 2255 h 864519"/>
              <a:gd name="connsiteX3" fmla="*/ 930505 w 932135"/>
              <a:gd name="connsiteY3" fmla="*/ 121444 h 864519"/>
              <a:gd name="connsiteX4" fmla="*/ 932135 w 932135"/>
              <a:gd name="connsiteY4" fmla="*/ 864519 h 864519"/>
              <a:gd name="connsiteX5" fmla="*/ 613799 w 932135"/>
              <a:gd name="connsiteY5" fmla="*/ 862013 h 864519"/>
              <a:gd name="connsiteX6" fmla="*/ 425680 w 932135"/>
              <a:gd name="connsiteY6" fmla="*/ 864394 h 864519"/>
              <a:gd name="connsiteX7" fmla="*/ 211367 w 932135"/>
              <a:gd name="connsiteY7" fmla="*/ 352425 h 864519"/>
              <a:gd name="connsiteX8" fmla="*/ 100076 w 932135"/>
              <a:gd name="connsiteY8" fmla="*/ 80837 h 864519"/>
              <a:gd name="connsiteX0" fmla="*/ 100926 w 932985"/>
              <a:gd name="connsiteY0" fmla="*/ 80837 h 864519"/>
              <a:gd name="connsiteX1" fmla="*/ 786099 w 932985"/>
              <a:gd name="connsiteY1" fmla="*/ 0 h 864519"/>
              <a:gd name="connsiteX2" fmla="*/ 932985 w 932985"/>
              <a:gd name="connsiteY2" fmla="*/ 2255 h 864519"/>
              <a:gd name="connsiteX3" fmla="*/ 931355 w 932985"/>
              <a:gd name="connsiteY3" fmla="*/ 121444 h 864519"/>
              <a:gd name="connsiteX4" fmla="*/ 932985 w 932985"/>
              <a:gd name="connsiteY4" fmla="*/ 864519 h 864519"/>
              <a:gd name="connsiteX5" fmla="*/ 614649 w 932985"/>
              <a:gd name="connsiteY5" fmla="*/ 862013 h 864519"/>
              <a:gd name="connsiteX6" fmla="*/ 426530 w 932985"/>
              <a:gd name="connsiteY6" fmla="*/ 864394 h 864519"/>
              <a:gd name="connsiteX7" fmla="*/ 212217 w 932985"/>
              <a:gd name="connsiteY7" fmla="*/ 352425 h 864519"/>
              <a:gd name="connsiteX8" fmla="*/ 100926 w 932985"/>
              <a:gd name="connsiteY8" fmla="*/ 80837 h 864519"/>
              <a:gd name="connsiteX0" fmla="*/ 100926 w 932985"/>
              <a:gd name="connsiteY0" fmla="*/ 80837 h 864519"/>
              <a:gd name="connsiteX1" fmla="*/ 786099 w 932985"/>
              <a:gd name="connsiteY1" fmla="*/ 0 h 864519"/>
              <a:gd name="connsiteX2" fmla="*/ 931355 w 932985"/>
              <a:gd name="connsiteY2" fmla="*/ 121444 h 864519"/>
              <a:gd name="connsiteX3" fmla="*/ 932985 w 932985"/>
              <a:gd name="connsiteY3" fmla="*/ 864519 h 864519"/>
              <a:gd name="connsiteX4" fmla="*/ 614649 w 932985"/>
              <a:gd name="connsiteY4" fmla="*/ 862013 h 864519"/>
              <a:gd name="connsiteX5" fmla="*/ 426530 w 932985"/>
              <a:gd name="connsiteY5" fmla="*/ 864394 h 864519"/>
              <a:gd name="connsiteX6" fmla="*/ 212217 w 932985"/>
              <a:gd name="connsiteY6" fmla="*/ 352425 h 864519"/>
              <a:gd name="connsiteX7" fmla="*/ 100926 w 932985"/>
              <a:gd name="connsiteY7" fmla="*/ 80837 h 864519"/>
              <a:gd name="connsiteX0" fmla="*/ 100926 w 932985"/>
              <a:gd name="connsiteY0" fmla="*/ 80837 h 864519"/>
              <a:gd name="connsiteX1" fmla="*/ 786099 w 932985"/>
              <a:gd name="connsiteY1" fmla="*/ 0 h 864519"/>
              <a:gd name="connsiteX2" fmla="*/ 905162 w 932985"/>
              <a:gd name="connsiteY2" fmla="*/ 169069 h 864519"/>
              <a:gd name="connsiteX3" fmla="*/ 932985 w 932985"/>
              <a:gd name="connsiteY3" fmla="*/ 864519 h 864519"/>
              <a:gd name="connsiteX4" fmla="*/ 614649 w 932985"/>
              <a:gd name="connsiteY4" fmla="*/ 862013 h 864519"/>
              <a:gd name="connsiteX5" fmla="*/ 426530 w 932985"/>
              <a:gd name="connsiteY5" fmla="*/ 864394 h 864519"/>
              <a:gd name="connsiteX6" fmla="*/ 212217 w 932985"/>
              <a:gd name="connsiteY6" fmla="*/ 352425 h 864519"/>
              <a:gd name="connsiteX7" fmla="*/ 100926 w 932985"/>
              <a:gd name="connsiteY7" fmla="*/ 80837 h 864519"/>
              <a:gd name="connsiteX0" fmla="*/ 100926 w 932985"/>
              <a:gd name="connsiteY0" fmla="*/ 80837 h 864519"/>
              <a:gd name="connsiteX1" fmla="*/ 786099 w 932985"/>
              <a:gd name="connsiteY1" fmla="*/ 0 h 864519"/>
              <a:gd name="connsiteX2" fmla="*/ 905162 w 932985"/>
              <a:gd name="connsiteY2" fmla="*/ 169069 h 864519"/>
              <a:gd name="connsiteX3" fmla="*/ 932985 w 932985"/>
              <a:gd name="connsiteY3" fmla="*/ 864519 h 864519"/>
              <a:gd name="connsiteX4" fmla="*/ 614649 w 932985"/>
              <a:gd name="connsiteY4" fmla="*/ 862013 h 864519"/>
              <a:gd name="connsiteX5" fmla="*/ 426530 w 932985"/>
              <a:gd name="connsiteY5" fmla="*/ 864394 h 864519"/>
              <a:gd name="connsiteX6" fmla="*/ 212217 w 932985"/>
              <a:gd name="connsiteY6" fmla="*/ 352425 h 864519"/>
              <a:gd name="connsiteX7" fmla="*/ 100926 w 932985"/>
              <a:gd name="connsiteY7" fmla="*/ 80837 h 864519"/>
              <a:gd name="connsiteX0" fmla="*/ 100926 w 932985"/>
              <a:gd name="connsiteY0" fmla="*/ 80837 h 864519"/>
              <a:gd name="connsiteX1" fmla="*/ 786099 w 932985"/>
              <a:gd name="connsiteY1" fmla="*/ 0 h 864519"/>
              <a:gd name="connsiteX2" fmla="*/ 905162 w 932985"/>
              <a:gd name="connsiteY2" fmla="*/ 169069 h 864519"/>
              <a:gd name="connsiteX3" fmla="*/ 932985 w 932985"/>
              <a:gd name="connsiteY3" fmla="*/ 864519 h 864519"/>
              <a:gd name="connsiteX4" fmla="*/ 614649 w 932985"/>
              <a:gd name="connsiteY4" fmla="*/ 862013 h 864519"/>
              <a:gd name="connsiteX5" fmla="*/ 426530 w 932985"/>
              <a:gd name="connsiteY5" fmla="*/ 864394 h 864519"/>
              <a:gd name="connsiteX6" fmla="*/ 212217 w 932985"/>
              <a:gd name="connsiteY6" fmla="*/ 352425 h 864519"/>
              <a:gd name="connsiteX7" fmla="*/ 100926 w 932985"/>
              <a:gd name="connsiteY7" fmla="*/ 80837 h 864519"/>
              <a:gd name="connsiteX0" fmla="*/ 100926 w 919778"/>
              <a:gd name="connsiteY0" fmla="*/ 80837 h 864394"/>
              <a:gd name="connsiteX1" fmla="*/ 786099 w 919778"/>
              <a:gd name="connsiteY1" fmla="*/ 0 h 864394"/>
              <a:gd name="connsiteX2" fmla="*/ 905162 w 919778"/>
              <a:gd name="connsiteY2" fmla="*/ 169069 h 864394"/>
              <a:gd name="connsiteX3" fmla="*/ 614649 w 919778"/>
              <a:gd name="connsiteY3" fmla="*/ 862013 h 864394"/>
              <a:gd name="connsiteX4" fmla="*/ 426530 w 919778"/>
              <a:gd name="connsiteY4" fmla="*/ 864394 h 864394"/>
              <a:gd name="connsiteX5" fmla="*/ 212217 w 919778"/>
              <a:gd name="connsiteY5" fmla="*/ 352425 h 864394"/>
              <a:gd name="connsiteX6" fmla="*/ 100926 w 919778"/>
              <a:gd name="connsiteY6" fmla="*/ 80837 h 864394"/>
              <a:gd name="connsiteX0" fmla="*/ 100926 w 919778"/>
              <a:gd name="connsiteY0" fmla="*/ 80837 h 862013"/>
              <a:gd name="connsiteX1" fmla="*/ 786099 w 919778"/>
              <a:gd name="connsiteY1" fmla="*/ 0 h 862013"/>
              <a:gd name="connsiteX2" fmla="*/ 905162 w 919778"/>
              <a:gd name="connsiteY2" fmla="*/ 169069 h 862013"/>
              <a:gd name="connsiteX3" fmla="*/ 614649 w 919778"/>
              <a:gd name="connsiteY3" fmla="*/ 862013 h 862013"/>
              <a:gd name="connsiteX4" fmla="*/ 414624 w 919778"/>
              <a:gd name="connsiteY4" fmla="*/ 673894 h 862013"/>
              <a:gd name="connsiteX5" fmla="*/ 212217 w 919778"/>
              <a:gd name="connsiteY5" fmla="*/ 352425 h 862013"/>
              <a:gd name="connsiteX6" fmla="*/ 100926 w 919778"/>
              <a:gd name="connsiteY6" fmla="*/ 80837 h 862013"/>
              <a:gd name="connsiteX0" fmla="*/ 100926 w 919778"/>
              <a:gd name="connsiteY0" fmla="*/ 80837 h 766763"/>
              <a:gd name="connsiteX1" fmla="*/ 786099 w 919778"/>
              <a:gd name="connsiteY1" fmla="*/ 0 h 766763"/>
              <a:gd name="connsiteX2" fmla="*/ 905162 w 919778"/>
              <a:gd name="connsiteY2" fmla="*/ 169069 h 766763"/>
              <a:gd name="connsiteX3" fmla="*/ 647986 w 919778"/>
              <a:gd name="connsiteY3" fmla="*/ 766763 h 766763"/>
              <a:gd name="connsiteX4" fmla="*/ 414624 w 919778"/>
              <a:gd name="connsiteY4" fmla="*/ 673894 h 766763"/>
              <a:gd name="connsiteX5" fmla="*/ 212217 w 919778"/>
              <a:gd name="connsiteY5" fmla="*/ 352425 h 766763"/>
              <a:gd name="connsiteX6" fmla="*/ 100926 w 919778"/>
              <a:gd name="connsiteY6" fmla="*/ 80837 h 766763"/>
              <a:gd name="connsiteX0" fmla="*/ 100926 w 919778"/>
              <a:gd name="connsiteY0" fmla="*/ 80837 h 879256"/>
              <a:gd name="connsiteX1" fmla="*/ 786099 w 919778"/>
              <a:gd name="connsiteY1" fmla="*/ 0 h 879256"/>
              <a:gd name="connsiteX2" fmla="*/ 905162 w 919778"/>
              <a:gd name="connsiteY2" fmla="*/ 169069 h 879256"/>
              <a:gd name="connsiteX3" fmla="*/ 647986 w 919778"/>
              <a:gd name="connsiteY3" fmla="*/ 766763 h 879256"/>
              <a:gd name="connsiteX4" fmla="*/ 481300 w 919778"/>
              <a:gd name="connsiteY4" fmla="*/ 878683 h 879256"/>
              <a:gd name="connsiteX5" fmla="*/ 414624 w 919778"/>
              <a:gd name="connsiteY5" fmla="*/ 673894 h 879256"/>
              <a:gd name="connsiteX6" fmla="*/ 212217 w 919778"/>
              <a:gd name="connsiteY6" fmla="*/ 352425 h 879256"/>
              <a:gd name="connsiteX7" fmla="*/ 100926 w 919778"/>
              <a:gd name="connsiteY7" fmla="*/ 80837 h 879256"/>
              <a:gd name="connsiteX0" fmla="*/ 100926 w 919778"/>
              <a:gd name="connsiteY0" fmla="*/ 80837 h 797494"/>
              <a:gd name="connsiteX1" fmla="*/ 786099 w 919778"/>
              <a:gd name="connsiteY1" fmla="*/ 0 h 797494"/>
              <a:gd name="connsiteX2" fmla="*/ 905162 w 919778"/>
              <a:gd name="connsiteY2" fmla="*/ 169069 h 797494"/>
              <a:gd name="connsiteX3" fmla="*/ 647986 w 919778"/>
              <a:gd name="connsiteY3" fmla="*/ 766763 h 797494"/>
              <a:gd name="connsiteX4" fmla="*/ 414624 w 919778"/>
              <a:gd name="connsiteY4" fmla="*/ 673894 h 797494"/>
              <a:gd name="connsiteX5" fmla="*/ 212217 w 919778"/>
              <a:gd name="connsiteY5" fmla="*/ 352425 h 797494"/>
              <a:gd name="connsiteX6" fmla="*/ 100926 w 919778"/>
              <a:gd name="connsiteY6" fmla="*/ 80837 h 797494"/>
              <a:gd name="connsiteX0" fmla="*/ 100926 w 919778"/>
              <a:gd name="connsiteY0" fmla="*/ 80837 h 857767"/>
              <a:gd name="connsiteX1" fmla="*/ 786099 w 919778"/>
              <a:gd name="connsiteY1" fmla="*/ 0 h 857767"/>
              <a:gd name="connsiteX2" fmla="*/ 905162 w 919778"/>
              <a:gd name="connsiteY2" fmla="*/ 169069 h 857767"/>
              <a:gd name="connsiteX3" fmla="*/ 647986 w 919778"/>
              <a:gd name="connsiteY3" fmla="*/ 766763 h 857767"/>
              <a:gd name="connsiteX4" fmla="*/ 414624 w 919778"/>
              <a:gd name="connsiteY4" fmla="*/ 673894 h 857767"/>
              <a:gd name="connsiteX5" fmla="*/ 212217 w 919778"/>
              <a:gd name="connsiteY5" fmla="*/ 352425 h 857767"/>
              <a:gd name="connsiteX6" fmla="*/ 100926 w 919778"/>
              <a:gd name="connsiteY6" fmla="*/ 80837 h 857767"/>
              <a:gd name="connsiteX0" fmla="*/ 100926 w 919778"/>
              <a:gd name="connsiteY0" fmla="*/ 80837 h 874459"/>
              <a:gd name="connsiteX1" fmla="*/ 786099 w 919778"/>
              <a:gd name="connsiteY1" fmla="*/ 0 h 874459"/>
              <a:gd name="connsiteX2" fmla="*/ 905162 w 919778"/>
              <a:gd name="connsiteY2" fmla="*/ 169069 h 874459"/>
              <a:gd name="connsiteX3" fmla="*/ 647986 w 919778"/>
              <a:gd name="connsiteY3" fmla="*/ 766763 h 874459"/>
              <a:gd name="connsiteX4" fmla="*/ 414624 w 919778"/>
              <a:gd name="connsiteY4" fmla="*/ 673894 h 874459"/>
              <a:gd name="connsiteX5" fmla="*/ 212217 w 919778"/>
              <a:gd name="connsiteY5" fmla="*/ 352425 h 874459"/>
              <a:gd name="connsiteX6" fmla="*/ 100926 w 919778"/>
              <a:gd name="connsiteY6" fmla="*/ 80837 h 874459"/>
              <a:gd name="connsiteX0" fmla="*/ 100926 w 919778"/>
              <a:gd name="connsiteY0" fmla="*/ 80837 h 876757"/>
              <a:gd name="connsiteX1" fmla="*/ 786099 w 919778"/>
              <a:gd name="connsiteY1" fmla="*/ 0 h 876757"/>
              <a:gd name="connsiteX2" fmla="*/ 905162 w 919778"/>
              <a:gd name="connsiteY2" fmla="*/ 169069 h 876757"/>
              <a:gd name="connsiteX3" fmla="*/ 647986 w 919778"/>
              <a:gd name="connsiteY3" fmla="*/ 766763 h 876757"/>
              <a:gd name="connsiteX4" fmla="*/ 414624 w 919778"/>
              <a:gd name="connsiteY4" fmla="*/ 673894 h 876757"/>
              <a:gd name="connsiteX5" fmla="*/ 212217 w 919778"/>
              <a:gd name="connsiteY5" fmla="*/ 352425 h 876757"/>
              <a:gd name="connsiteX6" fmla="*/ 100926 w 919778"/>
              <a:gd name="connsiteY6" fmla="*/ 80837 h 876757"/>
              <a:gd name="connsiteX0" fmla="*/ 100926 w 919778"/>
              <a:gd name="connsiteY0" fmla="*/ 80837 h 876757"/>
              <a:gd name="connsiteX1" fmla="*/ 786099 w 919778"/>
              <a:gd name="connsiteY1" fmla="*/ 0 h 876757"/>
              <a:gd name="connsiteX2" fmla="*/ 905162 w 919778"/>
              <a:gd name="connsiteY2" fmla="*/ 169069 h 876757"/>
              <a:gd name="connsiteX3" fmla="*/ 647986 w 919778"/>
              <a:gd name="connsiteY3" fmla="*/ 766763 h 876757"/>
              <a:gd name="connsiteX4" fmla="*/ 414624 w 919778"/>
              <a:gd name="connsiteY4" fmla="*/ 673894 h 876757"/>
              <a:gd name="connsiteX5" fmla="*/ 212217 w 919778"/>
              <a:gd name="connsiteY5" fmla="*/ 352425 h 876757"/>
              <a:gd name="connsiteX6" fmla="*/ 100926 w 919778"/>
              <a:gd name="connsiteY6" fmla="*/ 80837 h 876757"/>
              <a:gd name="connsiteX0" fmla="*/ 100926 w 919778"/>
              <a:gd name="connsiteY0" fmla="*/ 80837 h 876757"/>
              <a:gd name="connsiteX1" fmla="*/ 786099 w 919778"/>
              <a:gd name="connsiteY1" fmla="*/ 0 h 876757"/>
              <a:gd name="connsiteX2" fmla="*/ 905162 w 919778"/>
              <a:gd name="connsiteY2" fmla="*/ 169069 h 876757"/>
              <a:gd name="connsiteX3" fmla="*/ 647986 w 919778"/>
              <a:gd name="connsiteY3" fmla="*/ 766763 h 876757"/>
              <a:gd name="connsiteX4" fmla="*/ 414624 w 919778"/>
              <a:gd name="connsiteY4" fmla="*/ 673894 h 876757"/>
              <a:gd name="connsiteX5" fmla="*/ 212217 w 919778"/>
              <a:gd name="connsiteY5" fmla="*/ 352425 h 876757"/>
              <a:gd name="connsiteX6" fmla="*/ 100926 w 919778"/>
              <a:gd name="connsiteY6" fmla="*/ 80837 h 876757"/>
              <a:gd name="connsiteX0" fmla="*/ 100926 w 919778"/>
              <a:gd name="connsiteY0" fmla="*/ 80837 h 875028"/>
              <a:gd name="connsiteX1" fmla="*/ 786099 w 919778"/>
              <a:gd name="connsiteY1" fmla="*/ 0 h 875028"/>
              <a:gd name="connsiteX2" fmla="*/ 905162 w 919778"/>
              <a:gd name="connsiteY2" fmla="*/ 169069 h 875028"/>
              <a:gd name="connsiteX3" fmla="*/ 647986 w 919778"/>
              <a:gd name="connsiteY3" fmla="*/ 766763 h 875028"/>
              <a:gd name="connsiteX4" fmla="*/ 414624 w 919778"/>
              <a:gd name="connsiteY4" fmla="*/ 673894 h 875028"/>
              <a:gd name="connsiteX5" fmla="*/ 212217 w 919778"/>
              <a:gd name="connsiteY5" fmla="*/ 352425 h 875028"/>
              <a:gd name="connsiteX6" fmla="*/ 100926 w 919778"/>
              <a:gd name="connsiteY6" fmla="*/ 80837 h 875028"/>
              <a:gd name="connsiteX0" fmla="*/ 100926 w 919778"/>
              <a:gd name="connsiteY0" fmla="*/ 80837 h 875028"/>
              <a:gd name="connsiteX1" fmla="*/ 786099 w 919778"/>
              <a:gd name="connsiteY1" fmla="*/ 0 h 875028"/>
              <a:gd name="connsiteX2" fmla="*/ 905162 w 919778"/>
              <a:gd name="connsiteY2" fmla="*/ 169069 h 875028"/>
              <a:gd name="connsiteX3" fmla="*/ 647986 w 919778"/>
              <a:gd name="connsiteY3" fmla="*/ 766763 h 875028"/>
              <a:gd name="connsiteX4" fmla="*/ 414624 w 919778"/>
              <a:gd name="connsiteY4" fmla="*/ 673894 h 875028"/>
              <a:gd name="connsiteX5" fmla="*/ 243175 w 919778"/>
              <a:gd name="connsiteY5" fmla="*/ 392907 h 875028"/>
              <a:gd name="connsiteX6" fmla="*/ 212217 w 919778"/>
              <a:gd name="connsiteY6" fmla="*/ 352425 h 875028"/>
              <a:gd name="connsiteX7" fmla="*/ 100926 w 919778"/>
              <a:gd name="connsiteY7" fmla="*/ 80837 h 875028"/>
              <a:gd name="connsiteX0" fmla="*/ 741195 w 1560047"/>
              <a:gd name="connsiteY0" fmla="*/ 80837 h 875028"/>
              <a:gd name="connsiteX1" fmla="*/ 1426368 w 1560047"/>
              <a:gd name="connsiteY1" fmla="*/ 0 h 875028"/>
              <a:gd name="connsiteX2" fmla="*/ 1545431 w 1560047"/>
              <a:gd name="connsiteY2" fmla="*/ 169069 h 875028"/>
              <a:gd name="connsiteX3" fmla="*/ 1288255 w 1560047"/>
              <a:gd name="connsiteY3" fmla="*/ 766763 h 875028"/>
              <a:gd name="connsiteX4" fmla="*/ 1054893 w 1560047"/>
              <a:gd name="connsiteY4" fmla="*/ 673894 h 875028"/>
              <a:gd name="connsiteX5" fmla="*/ 0 w 1560047"/>
              <a:gd name="connsiteY5" fmla="*/ 809626 h 875028"/>
              <a:gd name="connsiteX6" fmla="*/ 852486 w 1560047"/>
              <a:gd name="connsiteY6" fmla="*/ 352425 h 875028"/>
              <a:gd name="connsiteX7" fmla="*/ 741195 w 1560047"/>
              <a:gd name="connsiteY7" fmla="*/ 80837 h 875028"/>
              <a:gd name="connsiteX0" fmla="*/ 741195 w 1560047"/>
              <a:gd name="connsiteY0" fmla="*/ 80837 h 875028"/>
              <a:gd name="connsiteX1" fmla="*/ 1426368 w 1560047"/>
              <a:gd name="connsiteY1" fmla="*/ 0 h 875028"/>
              <a:gd name="connsiteX2" fmla="*/ 1545431 w 1560047"/>
              <a:gd name="connsiteY2" fmla="*/ 169069 h 875028"/>
              <a:gd name="connsiteX3" fmla="*/ 1288255 w 1560047"/>
              <a:gd name="connsiteY3" fmla="*/ 766763 h 875028"/>
              <a:gd name="connsiteX4" fmla="*/ 1054893 w 1560047"/>
              <a:gd name="connsiteY4" fmla="*/ 673894 h 875028"/>
              <a:gd name="connsiteX5" fmla="*/ 1000126 w 1560047"/>
              <a:gd name="connsiteY5" fmla="*/ 673894 h 875028"/>
              <a:gd name="connsiteX6" fmla="*/ 0 w 1560047"/>
              <a:gd name="connsiteY6" fmla="*/ 809626 h 875028"/>
              <a:gd name="connsiteX7" fmla="*/ 852486 w 1560047"/>
              <a:gd name="connsiteY7" fmla="*/ 352425 h 875028"/>
              <a:gd name="connsiteX8" fmla="*/ 741195 w 1560047"/>
              <a:gd name="connsiteY8" fmla="*/ 80837 h 875028"/>
              <a:gd name="connsiteX0" fmla="*/ 741195 w 1560047"/>
              <a:gd name="connsiteY0" fmla="*/ 80837 h 1114426"/>
              <a:gd name="connsiteX1" fmla="*/ 1426368 w 1560047"/>
              <a:gd name="connsiteY1" fmla="*/ 0 h 1114426"/>
              <a:gd name="connsiteX2" fmla="*/ 1545431 w 1560047"/>
              <a:gd name="connsiteY2" fmla="*/ 169069 h 1114426"/>
              <a:gd name="connsiteX3" fmla="*/ 1288255 w 1560047"/>
              <a:gd name="connsiteY3" fmla="*/ 766763 h 1114426"/>
              <a:gd name="connsiteX4" fmla="*/ 1054893 w 1560047"/>
              <a:gd name="connsiteY4" fmla="*/ 673894 h 1114426"/>
              <a:gd name="connsiteX5" fmla="*/ 185739 w 1560047"/>
              <a:gd name="connsiteY5" fmla="*/ 1114426 h 1114426"/>
              <a:gd name="connsiteX6" fmla="*/ 0 w 1560047"/>
              <a:gd name="connsiteY6" fmla="*/ 809626 h 1114426"/>
              <a:gd name="connsiteX7" fmla="*/ 852486 w 1560047"/>
              <a:gd name="connsiteY7" fmla="*/ 352425 h 1114426"/>
              <a:gd name="connsiteX8" fmla="*/ 741195 w 1560047"/>
              <a:gd name="connsiteY8" fmla="*/ 80837 h 1114426"/>
              <a:gd name="connsiteX0" fmla="*/ 1350793 w 2169645"/>
              <a:gd name="connsiteY0" fmla="*/ 80837 h 1443038"/>
              <a:gd name="connsiteX1" fmla="*/ 2035966 w 2169645"/>
              <a:gd name="connsiteY1" fmla="*/ 0 h 1443038"/>
              <a:gd name="connsiteX2" fmla="*/ 2155029 w 2169645"/>
              <a:gd name="connsiteY2" fmla="*/ 169069 h 1443038"/>
              <a:gd name="connsiteX3" fmla="*/ 1897853 w 2169645"/>
              <a:gd name="connsiteY3" fmla="*/ 766763 h 1443038"/>
              <a:gd name="connsiteX4" fmla="*/ 1664491 w 2169645"/>
              <a:gd name="connsiteY4" fmla="*/ 673894 h 1443038"/>
              <a:gd name="connsiteX5" fmla="*/ 0 w 2169645"/>
              <a:gd name="connsiteY5" fmla="*/ 1443038 h 1443038"/>
              <a:gd name="connsiteX6" fmla="*/ 609598 w 2169645"/>
              <a:gd name="connsiteY6" fmla="*/ 809626 h 1443038"/>
              <a:gd name="connsiteX7" fmla="*/ 1462084 w 2169645"/>
              <a:gd name="connsiteY7" fmla="*/ 352425 h 1443038"/>
              <a:gd name="connsiteX8" fmla="*/ 1350793 w 2169645"/>
              <a:gd name="connsiteY8" fmla="*/ 80837 h 1443038"/>
              <a:gd name="connsiteX0" fmla="*/ 1350793 w 2169645"/>
              <a:gd name="connsiteY0" fmla="*/ 80837 h 1443038"/>
              <a:gd name="connsiteX1" fmla="*/ 2035966 w 2169645"/>
              <a:gd name="connsiteY1" fmla="*/ 0 h 1443038"/>
              <a:gd name="connsiteX2" fmla="*/ 2155029 w 2169645"/>
              <a:gd name="connsiteY2" fmla="*/ 169069 h 1443038"/>
              <a:gd name="connsiteX3" fmla="*/ 1897853 w 2169645"/>
              <a:gd name="connsiteY3" fmla="*/ 766763 h 1443038"/>
              <a:gd name="connsiteX4" fmla="*/ 1664491 w 2169645"/>
              <a:gd name="connsiteY4" fmla="*/ 673894 h 1443038"/>
              <a:gd name="connsiteX5" fmla="*/ 0 w 2169645"/>
              <a:gd name="connsiteY5" fmla="*/ 1443038 h 1443038"/>
              <a:gd name="connsiteX6" fmla="*/ 88104 w 2169645"/>
              <a:gd name="connsiteY6" fmla="*/ 1031082 h 1443038"/>
              <a:gd name="connsiteX7" fmla="*/ 1462084 w 2169645"/>
              <a:gd name="connsiteY7" fmla="*/ 352425 h 1443038"/>
              <a:gd name="connsiteX8" fmla="*/ 1350793 w 2169645"/>
              <a:gd name="connsiteY8" fmla="*/ 80837 h 1443038"/>
              <a:gd name="connsiteX0" fmla="*/ 1386514 w 2205366"/>
              <a:gd name="connsiteY0" fmla="*/ 80837 h 1443038"/>
              <a:gd name="connsiteX1" fmla="*/ 2071687 w 2205366"/>
              <a:gd name="connsiteY1" fmla="*/ 0 h 1443038"/>
              <a:gd name="connsiteX2" fmla="*/ 2190750 w 2205366"/>
              <a:gd name="connsiteY2" fmla="*/ 169069 h 1443038"/>
              <a:gd name="connsiteX3" fmla="*/ 1933574 w 2205366"/>
              <a:gd name="connsiteY3" fmla="*/ 766763 h 1443038"/>
              <a:gd name="connsiteX4" fmla="*/ 1700212 w 2205366"/>
              <a:gd name="connsiteY4" fmla="*/ 673894 h 1443038"/>
              <a:gd name="connsiteX5" fmla="*/ 35721 w 2205366"/>
              <a:gd name="connsiteY5" fmla="*/ 1443038 h 1443038"/>
              <a:gd name="connsiteX6" fmla="*/ 0 w 2205366"/>
              <a:gd name="connsiteY6" fmla="*/ 1069182 h 1443038"/>
              <a:gd name="connsiteX7" fmla="*/ 1497805 w 2205366"/>
              <a:gd name="connsiteY7" fmla="*/ 352425 h 1443038"/>
              <a:gd name="connsiteX8" fmla="*/ 1386514 w 2205366"/>
              <a:gd name="connsiteY8" fmla="*/ 80837 h 1443038"/>
              <a:gd name="connsiteX0" fmla="*/ 1482984 w 2301836"/>
              <a:gd name="connsiteY0" fmla="*/ 80837 h 1443038"/>
              <a:gd name="connsiteX1" fmla="*/ 2168157 w 2301836"/>
              <a:gd name="connsiteY1" fmla="*/ 0 h 1443038"/>
              <a:gd name="connsiteX2" fmla="*/ 2287220 w 2301836"/>
              <a:gd name="connsiteY2" fmla="*/ 169069 h 1443038"/>
              <a:gd name="connsiteX3" fmla="*/ 2030044 w 2301836"/>
              <a:gd name="connsiteY3" fmla="*/ 766763 h 1443038"/>
              <a:gd name="connsiteX4" fmla="*/ 1796682 w 2301836"/>
              <a:gd name="connsiteY4" fmla="*/ 673894 h 1443038"/>
              <a:gd name="connsiteX5" fmla="*/ 132191 w 2301836"/>
              <a:gd name="connsiteY5" fmla="*/ 1443038 h 1443038"/>
              <a:gd name="connsiteX6" fmla="*/ 96470 w 2301836"/>
              <a:gd name="connsiteY6" fmla="*/ 1069182 h 1443038"/>
              <a:gd name="connsiteX7" fmla="*/ 1594275 w 2301836"/>
              <a:gd name="connsiteY7" fmla="*/ 352425 h 1443038"/>
              <a:gd name="connsiteX8" fmla="*/ 1482984 w 2301836"/>
              <a:gd name="connsiteY8" fmla="*/ 80837 h 1443038"/>
              <a:gd name="connsiteX0" fmla="*/ 1513501 w 2332353"/>
              <a:gd name="connsiteY0" fmla="*/ 80837 h 1443074"/>
              <a:gd name="connsiteX1" fmla="*/ 2198674 w 2332353"/>
              <a:gd name="connsiteY1" fmla="*/ 0 h 1443074"/>
              <a:gd name="connsiteX2" fmla="*/ 2317737 w 2332353"/>
              <a:gd name="connsiteY2" fmla="*/ 169069 h 1443074"/>
              <a:gd name="connsiteX3" fmla="*/ 2060561 w 2332353"/>
              <a:gd name="connsiteY3" fmla="*/ 766763 h 1443074"/>
              <a:gd name="connsiteX4" fmla="*/ 1827199 w 2332353"/>
              <a:gd name="connsiteY4" fmla="*/ 673894 h 1443074"/>
              <a:gd name="connsiteX5" fmla="*/ 162708 w 2332353"/>
              <a:gd name="connsiteY5" fmla="*/ 1443038 h 1443074"/>
              <a:gd name="connsiteX6" fmla="*/ 126987 w 2332353"/>
              <a:gd name="connsiteY6" fmla="*/ 1069182 h 1443074"/>
              <a:gd name="connsiteX7" fmla="*/ 1624792 w 2332353"/>
              <a:gd name="connsiteY7" fmla="*/ 352425 h 1443074"/>
              <a:gd name="connsiteX8" fmla="*/ 1513501 w 2332353"/>
              <a:gd name="connsiteY8" fmla="*/ 80837 h 1443074"/>
              <a:gd name="connsiteX0" fmla="*/ 1486860 w 2305712"/>
              <a:gd name="connsiteY0" fmla="*/ 80837 h 1397836"/>
              <a:gd name="connsiteX1" fmla="*/ 2172033 w 2305712"/>
              <a:gd name="connsiteY1" fmla="*/ 0 h 1397836"/>
              <a:gd name="connsiteX2" fmla="*/ 2291096 w 2305712"/>
              <a:gd name="connsiteY2" fmla="*/ 169069 h 1397836"/>
              <a:gd name="connsiteX3" fmla="*/ 2033920 w 2305712"/>
              <a:gd name="connsiteY3" fmla="*/ 766763 h 1397836"/>
              <a:gd name="connsiteX4" fmla="*/ 1800558 w 2305712"/>
              <a:gd name="connsiteY4" fmla="*/ 673894 h 1397836"/>
              <a:gd name="connsiteX5" fmla="*/ 228936 w 2305712"/>
              <a:gd name="connsiteY5" fmla="*/ 1397794 h 1397836"/>
              <a:gd name="connsiteX6" fmla="*/ 100346 w 2305712"/>
              <a:gd name="connsiteY6" fmla="*/ 1069182 h 1397836"/>
              <a:gd name="connsiteX7" fmla="*/ 1598151 w 2305712"/>
              <a:gd name="connsiteY7" fmla="*/ 352425 h 1397836"/>
              <a:gd name="connsiteX8" fmla="*/ 1486860 w 2305712"/>
              <a:gd name="connsiteY8" fmla="*/ 80837 h 1397836"/>
              <a:gd name="connsiteX0" fmla="*/ 1512654 w 2331506"/>
              <a:gd name="connsiteY0" fmla="*/ 80837 h 1429036"/>
              <a:gd name="connsiteX1" fmla="*/ 2197827 w 2331506"/>
              <a:gd name="connsiteY1" fmla="*/ 0 h 1429036"/>
              <a:gd name="connsiteX2" fmla="*/ 2316890 w 2331506"/>
              <a:gd name="connsiteY2" fmla="*/ 169069 h 1429036"/>
              <a:gd name="connsiteX3" fmla="*/ 2059714 w 2331506"/>
              <a:gd name="connsiteY3" fmla="*/ 766763 h 1429036"/>
              <a:gd name="connsiteX4" fmla="*/ 1826352 w 2331506"/>
              <a:gd name="connsiteY4" fmla="*/ 673894 h 1429036"/>
              <a:gd name="connsiteX5" fmla="*/ 254730 w 2331506"/>
              <a:gd name="connsiteY5" fmla="*/ 1397794 h 1429036"/>
              <a:gd name="connsiteX6" fmla="*/ 126140 w 2331506"/>
              <a:gd name="connsiteY6" fmla="*/ 1069182 h 1429036"/>
              <a:gd name="connsiteX7" fmla="*/ 1623945 w 2331506"/>
              <a:gd name="connsiteY7" fmla="*/ 352425 h 1429036"/>
              <a:gd name="connsiteX8" fmla="*/ 1512654 w 2331506"/>
              <a:gd name="connsiteY8" fmla="*/ 80837 h 1429036"/>
              <a:gd name="connsiteX0" fmla="*/ 1522052 w 2340904"/>
              <a:gd name="connsiteY0" fmla="*/ 80837 h 1429171"/>
              <a:gd name="connsiteX1" fmla="*/ 2207225 w 2340904"/>
              <a:gd name="connsiteY1" fmla="*/ 0 h 1429171"/>
              <a:gd name="connsiteX2" fmla="*/ 2326288 w 2340904"/>
              <a:gd name="connsiteY2" fmla="*/ 169069 h 1429171"/>
              <a:gd name="connsiteX3" fmla="*/ 2069112 w 2340904"/>
              <a:gd name="connsiteY3" fmla="*/ 766763 h 1429171"/>
              <a:gd name="connsiteX4" fmla="*/ 1835750 w 2340904"/>
              <a:gd name="connsiteY4" fmla="*/ 673894 h 1429171"/>
              <a:gd name="connsiteX5" fmla="*/ 264128 w 2340904"/>
              <a:gd name="connsiteY5" fmla="*/ 1397794 h 1429171"/>
              <a:gd name="connsiteX6" fmla="*/ 135538 w 2340904"/>
              <a:gd name="connsiteY6" fmla="*/ 1069182 h 1429171"/>
              <a:gd name="connsiteX7" fmla="*/ 1633343 w 2340904"/>
              <a:gd name="connsiteY7" fmla="*/ 352425 h 1429171"/>
              <a:gd name="connsiteX8" fmla="*/ 1522052 w 2340904"/>
              <a:gd name="connsiteY8" fmla="*/ 80837 h 1429171"/>
              <a:gd name="connsiteX0" fmla="*/ 1524365 w 2343217"/>
              <a:gd name="connsiteY0" fmla="*/ 80837 h 1426933"/>
              <a:gd name="connsiteX1" fmla="*/ 2209538 w 2343217"/>
              <a:gd name="connsiteY1" fmla="*/ 0 h 1426933"/>
              <a:gd name="connsiteX2" fmla="*/ 2328601 w 2343217"/>
              <a:gd name="connsiteY2" fmla="*/ 169069 h 1426933"/>
              <a:gd name="connsiteX3" fmla="*/ 2071425 w 2343217"/>
              <a:gd name="connsiteY3" fmla="*/ 766763 h 1426933"/>
              <a:gd name="connsiteX4" fmla="*/ 1838063 w 2343217"/>
              <a:gd name="connsiteY4" fmla="*/ 673894 h 1426933"/>
              <a:gd name="connsiteX5" fmla="*/ 259297 w 2343217"/>
              <a:gd name="connsiteY5" fmla="*/ 1395412 h 1426933"/>
              <a:gd name="connsiteX6" fmla="*/ 137851 w 2343217"/>
              <a:gd name="connsiteY6" fmla="*/ 1069182 h 1426933"/>
              <a:gd name="connsiteX7" fmla="*/ 1635656 w 2343217"/>
              <a:gd name="connsiteY7" fmla="*/ 352425 h 1426933"/>
              <a:gd name="connsiteX8" fmla="*/ 1524365 w 2343217"/>
              <a:gd name="connsiteY8" fmla="*/ 80837 h 1426933"/>
              <a:gd name="connsiteX0" fmla="*/ 1525149 w 2344001"/>
              <a:gd name="connsiteY0" fmla="*/ 80837 h 1420231"/>
              <a:gd name="connsiteX1" fmla="*/ 2210322 w 2344001"/>
              <a:gd name="connsiteY1" fmla="*/ 0 h 1420231"/>
              <a:gd name="connsiteX2" fmla="*/ 2329385 w 2344001"/>
              <a:gd name="connsiteY2" fmla="*/ 169069 h 1420231"/>
              <a:gd name="connsiteX3" fmla="*/ 2072209 w 2344001"/>
              <a:gd name="connsiteY3" fmla="*/ 766763 h 1420231"/>
              <a:gd name="connsiteX4" fmla="*/ 1838847 w 2344001"/>
              <a:gd name="connsiteY4" fmla="*/ 673894 h 1420231"/>
              <a:gd name="connsiteX5" fmla="*/ 257700 w 2344001"/>
              <a:gd name="connsiteY5" fmla="*/ 1388269 h 1420231"/>
              <a:gd name="connsiteX6" fmla="*/ 138635 w 2344001"/>
              <a:gd name="connsiteY6" fmla="*/ 1069182 h 1420231"/>
              <a:gd name="connsiteX7" fmla="*/ 1636440 w 2344001"/>
              <a:gd name="connsiteY7" fmla="*/ 352425 h 1420231"/>
              <a:gd name="connsiteX8" fmla="*/ 1525149 w 2344001"/>
              <a:gd name="connsiteY8" fmla="*/ 80837 h 1420231"/>
              <a:gd name="connsiteX0" fmla="*/ 1525149 w 2344001"/>
              <a:gd name="connsiteY0" fmla="*/ 80837 h 1420231"/>
              <a:gd name="connsiteX1" fmla="*/ 2210322 w 2344001"/>
              <a:gd name="connsiteY1" fmla="*/ 0 h 1420231"/>
              <a:gd name="connsiteX2" fmla="*/ 2329385 w 2344001"/>
              <a:gd name="connsiteY2" fmla="*/ 169069 h 1420231"/>
              <a:gd name="connsiteX3" fmla="*/ 2072209 w 2344001"/>
              <a:gd name="connsiteY3" fmla="*/ 766763 h 1420231"/>
              <a:gd name="connsiteX4" fmla="*/ 1838847 w 2344001"/>
              <a:gd name="connsiteY4" fmla="*/ 673894 h 1420231"/>
              <a:gd name="connsiteX5" fmla="*/ 257700 w 2344001"/>
              <a:gd name="connsiteY5" fmla="*/ 1388269 h 1420231"/>
              <a:gd name="connsiteX6" fmla="*/ 138635 w 2344001"/>
              <a:gd name="connsiteY6" fmla="*/ 1069182 h 1420231"/>
              <a:gd name="connsiteX7" fmla="*/ 1636440 w 2344001"/>
              <a:gd name="connsiteY7" fmla="*/ 352425 h 1420231"/>
              <a:gd name="connsiteX8" fmla="*/ 1525149 w 2344001"/>
              <a:gd name="connsiteY8" fmla="*/ 80837 h 1420231"/>
              <a:gd name="connsiteX0" fmla="*/ 1525149 w 2344001"/>
              <a:gd name="connsiteY0" fmla="*/ 80837 h 1420231"/>
              <a:gd name="connsiteX1" fmla="*/ 2210322 w 2344001"/>
              <a:gd name="connsiteY1" fmla="*/ 0 h 1420231"/>
              <a:gd name="connsiteX2" fmla="*/ 2329385 w 2344001"/>
              <a:gd name="connsiteY2" fmla="*/ 169069 h 1420231"/>
              <a:gd name="connsiteX3" fmla="*/ 2072209 w 2344001"/>
              <a:gd name="connsiteY3" fmla="*/ 766763 h 1420231"/>
              <a:gd name="connsiteX4" fmla="*/ 1838847 w 2344001"/>
              <a:gd name="connsiteY4" fmla="*/ 673894 h 1420231"/>
              <a:gd name="connsiteX5" fmla="*/ 257700 w 2344001"/>
              <a:gd name="connsiteY5" fmla="*/ 1388269 h 1420231"/>
              <a:gd name="connsiteX6" fmla="*/ 138635 w 2344001"/>
              <a:gd name="connsiteY6" fmla="*/ 1069182 h 1420231"/>
              <a:gd name="connsiteX7" fmla="*/ 1636440 w 2344001"/>
              <a:gd name="connsiteY7" fmla="*/ 352425 h 1420231"/>
              <a:gd name="connsiteX8" fmla="*/ 1525149 w 2344001"/>
              <a:gd name="connsiteY8" fmla="*/ 80837 h 1420231"/>
              <a:gd name="connsiteX0" fmla="*/ 1525149 w 2344001"/>
              <a:gd name="connsiteY0" fmla="*/ 80837 h 1420231"/>
              <a:gd name="connsiteX1" fmla="*/ 2210322 w 2344001"/>
              <a:gd name="connsiteY1" fmla="*/ 0 h 1420231"/>
              <a:gd name="connsiteX2" fmla="*/ 2329385 w 2344001"/>
              <a:gd name="connsiteY2" fmla="*/ 169069 h 1420231"/>
              <a:gd name="connsiteX3" fmla="*/ 2072209 w 2344001"/>
              <a:gd name="connsiteY3" fmla="*/ 766763 h 1420231"/>
              <a:gd name="connsiteX4" fmla="*/ 1838847 w 2344001"/>
              <a:gd name="connsiteY4" fmla="*/ 673894 h 1420231"/>
              <a:gd name="connsiteX5" fmla="*/ 257700 w 2344001"/>
              <a:gd name="connsiteY5" fmla="*/ 1388269 h 1420231"/>
              <a:gd name="connsiteX6" fmla="*/ 138635 w 2344001"/>
              <a:gd name="connsiteY6" fmla="*/ 1069182 h 1420231"/>
              <a:gd name="connsiteX7" fmla="*/ 1636440 w 2344001"/>
              <a:gd name="connsiteY7" fmla="*/ 352425 h 1420231"/>
              <a:gd name="connsiteX8" fmla="*/ 1525149 w 2344001"/>
              <a:gd name="connsiteY8" fmla="*/ 80837 h 1420231"/>
              <a:gd name="connsiteX0" fmla="*/ 1525149 w 2344001"/>
              <a:gd name="connsiteY0" fmla="*/ 80837 h 1420231"/>
              <a:gd name="connsiteX1" fmla="*/ 2210322 w 2344001"/>
              <a:gd name="connsiteY1" fmla="*/ 0 h 1420231"/>
              <a:gd name="connsiteX2" fmla="*/ 2329385 w 2344001"/>
              <a:gd name="connsiteY2" fmla="*/ 169069 h 1420231"/>
              <a:gd name="connsiteX3" fmla="*/ 2072209 w 2344001"/>
              <a:gd name="connsiteY3" fmla="*/ 766763 h 1420231"/>
              <a:gd name="connsiteX4" fmla="*/ 1838847 w 2344001"/>
              <a:gd name="connsiteY4" fmla="*/ 673894 h 1420231"/>
              <a:gd name="connsiteX5" fmla="*/ 257700 w 2344001"/>
              <a:gd name="connsiteY5" fmla="*/ 1388269 h 1420231"/>
              <a:gd name="connsiteX6" fmla="*/ 138635 w 2344001"/>
              <a:gd name="connsiteY6" fmla="*/ 1069182 h 1420231"/>
              <a:gd name="connsiteX7" fmla="*/ 1636440 w 2344001"/>
              <a:gd name="connsiteY7" fmla="*/ 352425 h 1420231"/>
              <a:gd name="connsiteX8" fmla="*/ 1525149 w 2344001"/>
              <a:gd name="connsiteY8" fmla="*/ 80837 h 1420231"/>
              <a:gd name="connsiteX0" fmla="*/ 1532283 w 2351135"/>
              <a:gd name="connsiteY0" fmla="*/ 80837 h 1404748"/>
              <a:gd name="connsiteX1" fmla="*/ 2217456 w 2351135"/>
              <a:gd name="connsiteY1" fmla="*/ 0 h 1404748"/>
              <a:gd name="connsiteX2" fmla="*/ 2336519 w 2351135"/>
              <a:gd name="connsiteY2" fmla="*/ 169069 h 1404748"/>
              <a:gd name="connsiteX3" fmla="*/ 2079343 w 2351135"/>
              <a:gd name="connsiteY3" fmla="*/ 766763 h 1404748"/>
              <a:gd name="connsiteX4" fmla="*/ 1845981 w 2351135"/>
              <a:gd name="connsiteY4" fmla="*/ 673894 h 1404748"/>
              <a:gd name="connsiteX5" fmla="*/ 264834 w 2351135"/>
              <a:gd name="connsiteY5" fmla="*/ 1388269 h 1404748"/>
              <a:gd name="connsiteX6" fmla="*/ 145769 w 2351135"/>
              <a:gd name="connsiteY6" fmla="*/ 1069182 h 1404748"/>
              <a:gd name="connsiteX7" fmla="*/ 1643574 w 2351135"/>
              <a:gd name="connsiteY7" fmla="*/ 352425 h 1404748"/>
              <a:gd name="connsiteX8" fmla="*/ 1532283 w 2351135"/>
              <a:gd name="connsiteY8" fmla="*/ 80837 h 1404748"/>
              <a:gd name="connsiteX0" fmla="*/ 1532283 w 2351135"/>
              <a:gd name="connsiteY0" fmla="*/ 80837 h 1404748"/>
              <a:gd name="connsiteX1" fmla="*/ 2217456 w 2351135"/>
              <a:gd name="connsiteY1" fmla="*/ 0 h 1404748"/>
              <a:gd name="connsiteX2" fmla="*/ 2336519 w 2351135"/>
              <a:gd name="connsiteY2" fmla="*/ 169069 h 1404748"/>
              <a:gd name="connsiteX3" fmla="*/ 2101568 w 2351135"/>
              <a:gd name="connsiteY3" fmla="*/ 769938 h 1404748"/>
              <a:gd name="connsiteX4" fmla="*/ 1845981 w 2351135"/>
              <a:gd name="connsiteY4" fmla="*/ 673894 h 1404748"/>
              <a:gd name="connsiteX5" fmla="*/ 264834 w 2351135"/>
              <a:gd name="connsiteY5" fmla="*/ 1388269 h 1404748"/>
              <a:gd name="connsiteX6" fmla="*/ 145769 w 2351135"/>
              <a:gd name="connsiteY6" fmla="*/ 1069182 h 1404748"/>
              <a:gd name="connsiteX7" fmla="*/ 1643574 w 2351135"/>
              <a:gd name="connsiteY7" fmla="*/ 352425 h 1404748"/>
              <a:gd name="connsiteX8" fmla="*/ 1532283 w 2351135"/>
              <a:gd name="connsiteY8" fmla="*/ 80837 h 1404748"/>
              <a:gd name="connsiteX0" fmla="*/ 1532283 w 2351135"/>
              <a:gd name="connsiteY0" fmla="*/ 80837 h 1404748"/>
              <a:gd name="connsiteX1" fmla="*/ 2217456 w 2351135"/>
              <a:gd name="connsiteY1" fmla="*/ 0 h 1404748"/>
              <a:gd name="connsiteX2" fmla="*/ 2336519 w 2351135"/>
              <a:gd name="connsiteY2" fmla="*/ 169069 h 1404748"/>
              <a:gd name="connsiteX3" fmla="*/ 2101568 w 2351135"/>
              <a:gd name="connsiteY3" fmla="*/ 769938 h 1404748"/>
              <a:gd name="connsiteX4" fmla="*/ 1845981 w 2351135"/>
              <a:gd name="connsiteY4" fmla="*/ 673894 h 1404748"/>
              <a:gd name="connsiteX5" fmla="*/ 264834 w 2351135"/>
              <a:gd name="connsiteY5" fmla="*/ 1388269 h 1404748"/>
              <a:gd name="connsiteX6" fmla="*/ 145769 w 2351135"/>
              <a:gd name="connsiteY6" fmla="*/ 1069182 h 1404748"/>
              <a:gd name="connsiteX7" fmla="*/ 1643574 w 2351135"/>
              <a:gd name="connsiteY7" fmla="*/ 352425 h 1404748"/>
              <a:gd name="connsiteX8" fmla="*/ 1532283 w 2351135"/>
              <a:gd name="connsiteY8" fmla="*/ 80837 h 1404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1135" h="1404748">
                <a:moveTo>
                  <a:pt x="1532283" y="80837"/>
                </a:moveTo>
                <a:lnTo>
                  <a:pt x="2217456" y="0"/>
                </a:lnTo>
                <a:cubicBezTo>
                  <a:pt x="2285719" y="1587"/>
                  <a:pt x="2389700" y="17463"/>
                  <a:pt x="2336519" y="169069"/>
                </a:cubicBezTo>
                <a:cubicBezTo>
                  <a:pt x="2286512" y="315119"/>
                  <a:pt x="2155146" y="639764"/>
                  <a:pt x="2101568" y="769938"/>
                </a:cubicBezTo>
                <a:cubicBezTo>
                  <a:pt x="1986474" y="966787"/>
                  <a:pt x="1780497" y="823912"/>
                  <a:pt x="1845981" y="673894"/>
                </a:cubicBezTo>
                <a:cubicBezTo>
                  <a:pt x="1318932" y="912019"/>
                  <a:pt x="944283" y="1207294"/>
                  <a:pt x="264834" y="1388269"/>
                </a:cubicBezTo>
                <a:cubicBezTo>
                  <a:pt x="-8216" y="1484313"/>
                  <a:pt x="-106642" y="1131888"/>
                  <a:pt x="145769" y="1069182"/>
                </a:cubicBezTo>
                <a:cubicBezTo>
                  <a:pt x="791087" y="874713"/>
                  <a:pt x="1160181" y="613569"/>
                  <a:pt x="1643574" y="352425"/>
                </a:cubicBezTo>
                <a:cubicBezTo>
                  <a:pt x="1342159" y="308726"/>
                  <a:pt x="1416980" y="100723"/>
                  <a:pt x="1532283" y="80837"/>
                </a:cubicBezTo>
                <a:close/>
              </a:path>
            </a:pathLst>
          </a:custGeom>
          <a:solidFill>
            <a:schemeClr val="tx2"/>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91" b="0" i="0" u="none" strike="noStrike" kern="1200" cap="none" spc="0" normalizeH="0" baseline="0" noProof="0">
              <a:ln>
                <a:noFill/>
              </a:ln>
              <a:solidFill>
                <a:srgbClr val="006580"/>
              </a:solidFill>
              <a:effectLst/>
              <a:uLnTx/>
              <a:uFillTx/>
              <a:latin typeface="Arial" panose="020B0604020202020204" pitchFamily="34" charset="0"/>
              <a:ea typeface="+mn-ea"/>
              <a:cs typeface="Arial" panose="020B0604020202020204" pitchFamily="34" charset="0"/>
            </a:endParaRPr>
          </a:p>
        </p:txBody>
      </p:sp>
      <p:grpSp>
        <p:nvGrpSpPr>
          <p:cNvPr id="34" name="Group 33">
            <a:extLst>
              <a:ext uri="{FF2B5EF4-FFF2-40B4-BE49-F238E27FC236}">
                <a16:creationId xmlns:a16="http://schemas.microsoft.com/office/drawing/2014/main" id="{27C7D970-7253-8378-6F6D-03CE1BB26214}"/>
              </a:ext>
            </a:extLst>
          </p:cNvPr>
          <p:cNvGrpSpPr/>
          <p:nvPr/>
        </p:nvGrpSpPr>
        <p:grpSpPr>
          <a:xfrm>
            <a:off x="5666473" y="823366"/>
            <a:ext cx="1800722" cy="743657"/>
            <a:chOff x="4178346" y="5112521"/>
            <a:chExt cx="2240898" cy="925443"/>
          </a:xfrm>
        </p:grpSpPr>
        <p:sp>
          <p:nvSpPr>
            <p:cNvPr id="35" name="TextBox 34">
              <a:extLst>
                <a:ext uri="{FF2B5EF4-FFF2-40B4-BE49-F238E27FC236}">
                  <a16:creationId xmlns:a16="http://schemas.microsoft.com/office/drawing/2014/main" id="{D616ABFE-8E7A-5E46-AF42-294014B4A708}"/>
                </a:ext>
              </a:extLst>
            </p:cNvPr>
            <p:cNvSpPr txBox="1"/>
            <p:nvPr/>
          </p:nvSpPr>
          <p:spPr>
            <a:xfrm>
              <a:off x="4817175" y="5112521"/>
              <a:ext cx="1471164" cy="361149"/>
            </a:xfrm>
            <a:prstGeom prst="rect">
              <a:avLst/>
            </a:prstGeom>
            <a:noFill/>
          </p:spPr>
          <p:txBody>
            <a:bodyPr wrap="square"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1286" b="1" i="0" u="none" strike="noStrike" kern="1200" cap="none" spc="0" normalizeH="0" baseline="0" noProof="0">
                  <a:ln>
                    <a:noFill/>
                  </a:ln>
                  <a:solidFill>
                    <a:srgbClr val="54565A"/>
                  </a:solidFill>
                  <a:effectLst/>
                  <a:uLnTx/>
                  <a:uFillTx/>
                  <a:latin typeface="Arial" panose="020B0604020202020204" pitchFamily="34" charset="0"/>
                  <a:ea typeface="ＭＳ Ｐゴシック" charset="0"/>
                  <a:cs typeface="Arial" panose="020B0604020202020204" pitchFamily="34" charset="0"/>
                </a:rPr>
                <a:t>Prescriptive</a:t>
              </a:r>
            </a:p>
          </p:txBody>
        </p:sp>
        <p:sp>
          <p:nvSpPr>
            <p:cNvPr id="36" name="Rectangle 35">
              <a:extLst>
                <a:ext uri="{FF2B5EF4-FFF2-40B4-BE49-F238E27FC236}">
                  <a16:creationId xmlns:a16="http://schemas.microsoft.com/office/drawing/2014/main" id="{1F0354E9-BE9B-7462-80E9-65BA24479DE0}"/>
                </a:ext>
              </a:extLst>
            </p:cNvPr>
            <p:cNvSpPr/>
            <p:nvPr/>
          </p:nvSpPr>
          <p:spPr>
            <a:xfrm>
              <a:off x="4178346" y="5415090"/>
              <a:ext cx="2240898" cy="622874"/>
            </a:xfrm>
            <a:prstGeom prst="rect">
              <a:avLst/>
            </a:prstGeom>
          </p:spPr>
          <p:txBody>
            <a:bodyPr wrap="square">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884" b="0" i="0" u="none" strike="noStrike" kern="1200" cap="none" spc="0" normalizeH="0" baseline="0" noProof="0">
                  <a:ln>
                    <a:noFill/>
                  </a:ln>
                  <a:solidFill>
                    <a:srgbClr val="54565A"/>
                  </a:solidFill>
                  <a:effectLst/>
                  <a:uLnTx/>
                  <a:uFillTx/>
                  <a:latin typeface="Arial" panose="020B0604020202020204" pitchFamily="34" charset="0"/>
                  <a:ea typeface="ＭＳ Ｐゴシック" charset="0"/>
                  <a:cs typeface="Arial" panose="020B0604020202020204" pitchFamily="34" charset="0"/>
                </a:rPr>
                <a:t>Anticipating what will happen, when it will happen, and why it will happen</a:t>
              </a:r>
            </a:p>
          </p:txBody>
        </p:sp>
      </p:grpSp>
      <p:pic>
        <p:nvPicPr>
          <p:cNvPr id="2" name="Picture 1">
            <a:extLst>
              <a:ext uri="{FF2B5EF4-FFF2-40B4-BE49-F238E27FC236}">
                <a16:creationId xmlns:a16="http://schemas.microsoft.com/office/drawing/2014/main" id="{44903433-BFC8-59E5-228A-DD24C994802E}"/>
              </a:ext>
            </a:extLst>
          </p:cNvPr>
          <p:cNvPicPr>
            <a:picLocks noChangeAspect="1"/>
          </p:cNvPicPr>
          <p:nvPr/>
        </p:nvPicPr>
        <p:blipFill>
          <a:blip r:embed="rId5"/>
          <a:stretch>
            <a:fillRect/>
          </a:stretch>
        </p:blipFill>
        <p:spPr>
          <a:xfrm>
            <a:off x="5822780" y="683828"/>
            <a:ext cx="408411" cy="408411"/>
          </a:xfrm>
          <a:prstGeom prst="rect">
            <a:avLst/>
          </a:prstGeom>
        </p:spPr>
      </p:pic>
      <p:cxnSp>
        <p:nvCxnSpPr>
          <p:cNvPr id="6" name="Straight Arrow Connector 5">
            <a:extLst>
              <a:ext uri="{FF2B5EF4-FFF2-40B4-BE49-F238E27FC236}">
                <a16:creationId xmlns:a16="http://schemas.microsoft.com/office/drawing/2014/main" id="{0AF35AB7-4CE3-9C79-D1F3-CA153CAEF7B5}"/>
              </a:ext>
            </a:extLst>
          </p:cNvPr>
          <p:cNvCxnSpPr>
            <a:cxnSpLocks/>
          </p:cNvCxnSpPr>
          <p:nvPr/>
        </p:nvCxnSpPr>
        <p:spPr>
          <a:xfrm flipV="1">
            <a:off x="753256" y="823365"/>
            <a:ext cx="0" cy="4033450"/>
          </a:xfrm>
          <a:prstGeom prst="straightConnector1">
            <a:avLst/>
          </a:prstGeom>
          <a:solidFill>
            <a:schemeClr val="tx2"/>
          </a:solidFill>
          <a:ln w="38100">
            <a:solidFill>
              <a:schemeClr val="bg2"/>
            </a:solidFill>
            <a:tailEnd type="triangle"/>
          </a:ln>
          <a:effectLst/>
        </p:spPr>
        <p:style>
          <a:lnRef idx="2">
            <a:schemeClr val="accent1">
              <a:shade val="50000"/>
            </a:schemeClr>
          </a:lnRef>
          <a:fillRef idx="1">
            <a:schemeClr val="accent1"/>
          </a:fillRef>
          <a:effectRef idx="0">
            <a:schemeClr val="accent1"/>
          </a:effectRef>
          <a:fontRef idx="minor">
            <a:schemeClr val="lt1"/>
          </a:fontRef>
        </p:style>
      </p:cxnSp>
      <p:cxnSp>
        <p:nvCxnSpPr>
          <p:cNvPr id="37" name="Straight Arrow Connector 36">
            <a:extLst>
              <a:ext uri="{FF2B5EF4-FFF2-40B4-BE49-F238E27FC236}">
                <a16:creationId xmlns:a16="http://schemas.microsoft.com/office/drawing/2014/main" id="{35736D42-7B75-8EEC-23F7-6C1973B6A023}"/>
              </a:ext>
            </a:extLst>
          </p:cNvPr>
          <p:cNvCxnSpPr>
            <a:cxnSpLocks/>
          </p:cNvCxnSpPr>
          <p:nvPr/>
        </p:nvCxnSpPr>
        <p:spPr>
          <a:xfrm flipV="1">
            <a:off x="742015" y="4811390"/>
            <a:ext cx="7330190" cy="22209"/>
          </a:xfrm>
          <a:prstGeom prst="straightConnector1">
            <a:avLst/>
          </a:prstGeom>
          <a:solidFill>
            <a:schemeClr val="tx2"/>
          </a:solidFill>
          <a:ln w="38100">
            <a:solidFill>
              <a:schemeClr val="bg2"/>
            </a:solidFill>
            <a:tailEnd type="triangle"/>
          </a:ln>
          <a:effectLst/>
        </p:spPr>
        <p:style>
          <a:lnRef idx="2">
            <a:schemeClr val="accent1">
              <a:shade val="50000"/>
            </a:schemeClr>
          </a:lnRef>
          <a:fillRef idx="1">
            <a:schemeClr val="accent1"/>
          </a:fillRef>
          <a:effectRef idx="0">
            <a:schemeClr val="accent1"/>
          </a:effectRef>
          <a:fontRef idx="minor">
            <a:schemeClr val="lt1"/>
          </a:fontRef>
        </p:style>
      </p:cxnSp>
      <p:sp>
        <p:nvSpPr>
          <p:cNvPr id="12" name="TextBox 11">
            <a:extLst>
              <a:ext uri="{FF2B5EF4-FFF2-40B4-BE49-F238E27FC236}">
                <a16:creationId xmlns:a16="http://schemas.microsoft.com/office/drawing/2014/main" id="{9D92FD22-5C84-886B-A7A5-FF26A08EA07C}"/>
              </a:ext>
            </a:extLst>
          </p:cNvPr>
          <p:cNvSpPr txBox="1"/>
          <p:nvPr/>
        </p:nvSpPr>
        <p:spPr>
          <a:xfrm>
            <a:off x="803171" y="841396"/>
            <a:ext cx="652486" cy="307777"/>
          </a:xfrm>
          <a:prstGeom prst="rect">
            <a:avLst/>
          </a:prstGeom>
          <a:noFill/>
        </p:spPr>
        <p:txBody>
          <a:bodyPr wrap="none"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C345E"/>
                </a:solidFill>
                <a:effectLst/>
                <a:uLnTx/>
                <a:uFillTx/>
                <a:latin typeface="Arial" panose="020B0604020202020204" pitchFamily="34" charset="0"/>
                <a:ea typeface="ＭＳ Ｐゴシック" charset="0"/>
                <a:cs typeface="Arial" panose="020B0604020202020204" pitchFamily="34" charset="0"/>
              </a:rPr>
              <a:t>Value</a:t>
            </a:r>
          </a:p>
        </p:txBody>
      </p:sp>
      <p:sp>
        <p:nvSpPr>
          <p:cNvPr id="45" name="TextBox 44">
            <a:extLst>
              <a:ext uri="{FF2B5EF4-FFF2-40B4-BE49-F238E27FC236}">
                <a16:creationId xmlns:a16="http://schemas.microsoft.com/office/drawing/2014/main" id="{D998BA63-3C87-7739-A3F9-62448D920FC8}"/>
              </a:ext>
            </a:extLst>
          </p:cNvPr>
          <p:cNvSpPr txBox="1"/>
          <p:nvPr/>
        </p:nvSpPr>
        <p:spPr>
          <a:xfrm>
            <a:off x="6878600" y="4420821"/>
            <a:ext cx="1149674" cy="307777"/>
          </a:xfrm>
          <a:prstGeom prst="rect">
            <a:avLst/>
          </a:prstGeom>
          <a:noFill/>
        </p:spPr>
        <p:txBody>
          <a:bodyPr wrap="none"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C345E"/>
                </a:solidFill>
                <a:effectLst/>
                <a:uLnTx/>
                <a:uFillTx/>
                <a:latin typeface="Arial" panose="020B0604020202020204" pitchFamily="34" charset="0"/>
                <a:ea typeface="ＭＳ Ｐゴシック" charset="0"/>
                <a:cs typeface="Arial" panose="020B0604020202020204" pitchFamily="34" charset="0"/>
              </a:rPr>
              <a:t>Complexity</a:t>
            </a:r>
          </a:p>
        </p:txBody>
      </p:sp>
    </p:spTree>
    <p:custDataLst>
      <p:tags r:id="rId1"/>
    </p:custDataLst>
    <p:extLst>
      <p:ext uri="{BB962C8B-B14F-4D97-AF65-F5344CB8AC3E}">
        <p14:creationId xmlns:p14="http://schemas.microsoft.com/office/powerpoint/2010/main" val="635362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fade">
                                      <p:cBhvr>
                                        <p:cTn id="10" dur="500"/>
                                        <p:tgtEl>
                                          <p:spTgt spid="72"/>
                                        </p:tgtEl>
                                      </p:cBhvr>
                                    </p:animEffect>
                                  </p:childTnLst>
                                </p:cTn>
                              </p:par>
                              <p:par>
                                <p:cTn id="11" presetID="10"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0"/>
                                        </p:tgtEl>
                                        <p:attrNameLst>
                                          <p:attrName>style.visibility</p:attrName>
                                        </p:attrNameLst>
                                      </p:cBhvr>
                                      <p:to>
                                        <p:strVal val="visible"/>
                                      </p:to>
                                    </p:set>
                                    <p:animEffect transition="in" filter="fade">
                                      <p:cBhvr>
                                        <p:cTn id="21" dur="500"/>
                                        <p:tgtEl>
                                          <p:spTgt spid="70"/>
                                        </p:tgtEl>
                                      </p:cBhvr>
                                    </p:animEffect>
                                  </p:childTnLst>
                                </p:cTn>
                              </p:par>
                              <p:par>
                                <p:cTn id="22" presetID="10" presetClass="entr" presetSubtype="0" fill="hold" nodeType="with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fade">
                                      <p:cBhvr>
                                        <p:cTn id="24" dur="500"/>
                                        <p:tgtEl>
                                          <p:spTgt spid="3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500"/>
                                        <p:tgtEl>
                                          <p:spTgt spid="1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6"/>
                                        </p:tgtEl>
                                        <p:attrNameLst>
                                          <p:attrName>style.visibility</p:attrName>
                                        </p:attrNameLst>
                                      </p:cBhvr>
                                      <p:to>
                                        <p:strVal val="visible"/>
                                      </p:to>
                                    </p:set>
                                    <p:animEffect transition="in" filter="fade">
                                      <p:cBhvr>
                                        <p:cTn id="32" dur="500"/>
                                        <p:tgtEl>
                                          <p:spTgt spid="66"/>
                                        </p:tgtEl>
                                      </p:cBhvr>
                                    </p:animEffect>
                                  </p:childTnLst>
                                </p:cTn>
                              </p:par>
                              <p:par>
                                <p:cTn id="33" presetID="10" presetClass="entr" presetSubtype="0" fill="hold" nodeType="with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4"/>
                                        </p:tgtEl>
                                        <p:attrNameLst>
                                          <p:attrName>style.visibility</p:attrName>
                                        </p:attrNameLst>
                                      </p:cBhvr>
                                      <p:to>
                                        <p:strVal val="visible"/>
                                      </p:to>
                                    </p:set>
                                    <p:animEffect transition="in" filter="fade">
                                      <p:cBhvr>
                                        <p:cTn id="40" dur="500"/>
                                        <p:tgtEl>
                                          <p:spTgt spid="34"/>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3"/>
                                        </p:tgtEl>
                                        <p:attrNameLst>
                                          <p:attrName>style.visibility</p:attrName>
                                        </p:attrNameLst>
                                      </p:cBhvr>
                                      <p:to>
                                        <p:strVal val="visible"/>
                                      </p:to>
                                    </p:set>
                                    <p:animEffect transition="in" filter="fade">
                                      <p:cBhvr>
                                        <p:cTn id="43" dur="500"/>
                                        <p:tgtEl>
                                          <p:spTgt spid="33"/>
                                        </p:tgtEl>
                                      </p:cBhvr>
                                    </p:animEffect>
                                  </p:childTnLst>
                                </p:cTn>
                              </p:par>
                              <p:par>
                                <p:cTn id="44" presetID="10" presetClass="entr" presetSubtype="0" fill="hold" nodeType="withEffect">
                                  <p:stCondLst>
                                    <p:cond delay="0"/>
                                  </p:stCondLst>
                                  <p:childTnLst>
                                    <p:set>
                                      <p:cBhvr>
                                        <p:cTn id="45" dur="1" fill="hold">
                                          <p:stCondLst>
                                            <p:cond delay="0"/>
                                          </p:stCondLst>
                                        </p:cTn>
                                        <p:tgtEl>
                                          <p:spTgt spid="2"/>
                                        </p:tgtEl>
                                        <p:attrNameLst>
                                          <p:attrName>style.visibility</p:attrName>
                                        </p:attrNameLst>
                                      </p:cBhvr>
                                      <p:to>
                                        <p:strVal val="visible"/>
                                      </p:to>
                                    </p:set>
                                    <p:animEffect transition="in" filter="fade">
                                      <p:cBhvr>
                                        <p:cTn id="46"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0" grpId="0" animBg="1"/>
      <p:bldP spid="66" grpId="0" animBg="1"/>
      <p:bldP spid="3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C2ECF4-FE01-C07A-55AA-46BE13886288}"/>
            </a:ext>
          </a:extLst>
        </p:cNvPr>
        <p:cNvGrpSpPr/>
        <p:nvPr/>
      </p:nvGrpSpPr>
      <p:grpSpPr>
        <a:xfrm>
          <a:off x="0" y="0"/>
          <a:ext cx="0" cy="0"/>
          <a:chOff x="0" y="0"/>
          <a:chExt cx="0" cy="0"/>
        </a:xfrm>
      </p:grpSpPr>
      <p:sp>
        <p:nvSpPr>
          <p:cNvPr id="307202" name="Rectangle 2">
            <a:extLst>
              <a:ext uri="{FF2B5EF4-FFF2-40B4-BE49-F238E27FC236}">
                <a16:creationId xmlns:a16="http://schemas.microsoft.com/office/drawing/2014/main" id="{CD829E7F-328C-CA47-C1FB-22919788CEAD}"/>
              </a:ext>
            </a:extLst>
          </p:cNvPr>
          <p:cNvSpPr>
            <a:spLocks noGrp="1" noChangeArrowheads="1"/>
          </p:cNvSpPr>
          <p:nvPr>
            <p:ph type="title"/>
          </p:nvPr>
        </p:nvSpPr>
        <p:spPr>
          <a:xfrm>
            <a:off x="495300" y="71930"/>
            <a:ext cx="8106305" cy="513211"/>
          </a:xfrm>
        </p:spPr>
        <p:txBody>
          <a:bodyPr/>
          <a:lstStyle/>
          <a:p>
            <a:r>
              <a:rPr lang="en-US" altLang="en-US" sz="2100"/>
              <a:t>Analytics Framework for Data-Informed Decision-Making</a:t>
            </a:r>
          </a:p>
        </p:txBody>
      </p:sp>
      <p:pic>
        <p:nvPicPr>
          <p:cNvPr id="2050" name="Picture 2" descr="44898112.cms">
            <a:extLst>
              <a:ext uri="{FF2B5EF4-FFF2-40B4-BE49-F238E27FC236}">
                <a16:creationId xmlns:a16="http://schemas.microsoft.com/office/drawing/2014/main" id="{93DF9985-34B6-46E5-D849-DD05867BAB2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5317" y="954888"/>
            <a:ext cx="7733368" cy="323372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8412137-6ACA-F950-A921-F32CF6342090}"/>
              </a:ext>
            </a:extLst>
          </p:cNvPr>
          <p:cNvSpPr txBox="1"/>
          <p:nvPr/>
        </p:nvSpPr>
        <p:spPr>
          <a:xfrm>
            <a:off x="689552" y="4157084"/>
            <a:ext cx="1180131" cy="253916"/>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Source: Gartner </a:t>
            </a:r>
          </a:p>
        </p:txBody>
      </p:sp>
    </p:spTree>
    <p:custDataLst>
      <p:tags r:id="rId1"/>
    </p:custDataLst>
    <p:extLst>
      <p:ext uri="{BB962C8B-B14F-4D97-AF65-F5344CB8AC3E}">
        <p14:creationId xmlns:p14="http://schemas.microsoft.com/office/powerpoint/2010/main" val="31729217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A986E2-CB9E-1F48-4A65-5B8C39145256}"/>
            </a:ext>
          </a:extLst>
        </p:cNvPr>
        <p:cNvGrpSpPr/>
        <p:nvPr/>
      </p:nvGrpSpPr>
      <p:grpSpPr>
        <a:xfrm>
          <a:off x="0" y="0"/>
          <a:ext cx="0" cy="0"/>
          <a:chOff x="0" y="0"/>
          <a:chExt cx="0" cy="0"/>
        </a:xfrm>
      </p:grpSpPr>
      <p:sp>
        <p:nvSpPr>
          <p:cNvPr id="16" name="Title 15">
            <a:extLst>
              <a:ext uri="{FF2B5EF4-FFF2-40B4-BE49-F238E27FC236}">
                <a16:creationId xmlns:a16="http://schemas.microsoft.com/office/drawing/2014/main" id="{C2432454-AB26-94F7-BF38-5C6051BD3277}"/>
              </a:ext>
            </a:extLst>
          </p:cNvPr>
          <p:cNvSpPr>
            <a:spLocks noGrp="1"/>
          </p:cNvSpPr>
          <p:nvPr>
            <p:ph type="title"/>
          </p:nvPr>
        </p:nvSpPr>
        <p:spPr>
          <a:xfrm>
            <a:off x="495300" y="158361"/>
            <a:ext cx="8534400" cy="290849"/>
          </a:xfrm>
        </p:spPr>
        <p:txBody>
          <a:bodyPr/>
          <a:lstStyle/>
          <a:p>
            <a:pPr algn="l"/>
            <a:r>
              <a:rPr lang="en-US" sz="2100">
                <a:solidFill>
                  <a:srgbClr val="54565A"/>
                </a:solidFill>
              </a:rPr>
              <a:t>Example – Personal Healthcare</a:t>
            </a:r>
          </a:p>
        </p:txBody>
      </p:sp>
      <p:sp>
        <p:nvSpPr>
          <p:cNvPr id="49" name="Oval 48">
            <a:extLst>
              <a:ext uri="{FF2B5EF4-FFF2-40B4-BE49-F238E27FC236}">
                <a16:creationId xmlns:a16="http://schemas.microsoft.com/office/drawing/2014/main" id="{52422928-02FA-4D56-24C5-5B82CF910E54}"/>
              </a:ext>
            </a:extLst>
          </p:cNvPr>
          <p:cNvSpPr/>
          <p:nvPr/>
        </p:nvSpPr>
        <p:spPr>
          <a:xfrm>
            <a:off x="691966" y="2072784"/>
            <a:ext cx="1290373" cy="1290373"/>
          </a:xfrm>
          <a:prstGeom prst="ellipse">
            <a:avLst/>
          </a:prstGeom>
          <a:solidFill>
            <a:schemeClr val="tx1">
              <a:lumMod val="40000"/>
              <a:lumOff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Oval 49">
            <a:extLst>
              <a:ext uri="{FF2B5EF4-FFF2-40B4-BE49-F238E27FC236}">
                <a16:creationId xmlns:a16="http://schemas.microsoft.com/office/drawing/2014/main" id="{662930AA-0D5C-FC60-952A-1F3B2CD94F37}"/>
              </a:ext>
            </a:extLst>
          </p:cNvPr>
          <p:cNvSpPr/>
          <p:nvPr/>
        </p:nvSpPr>
        <p:spPr>
          <a:xfrm>
            <a:off x="2789940" y="2067201"/>
            <a:ext cx="1290373" cy="1290373"/>
          </a:xfrm>
          <a:prstGeom prst="ellipse">
            <a:avLst/>
          </a:prstGeom>
          <a:solidFill>
            <a:schemeClr val="tx1">
              <a:lumMod val="40000"/>
              <a:lumOff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1" name="Oval 50">
            <a:extLst>
              <a:ext uri="{FF2B5EF4-FFF2-40B4-BE49-F238E27FC236}">
                <a16:creationId xmlns:a16="http://schemas.microsoft.com/office/drawing/2014/main" id="{9CF6596D-F346-B991-F54C-E8E9ED419A56}"/>
              </a:ext>
            </a:extLst>
          </p:cNvPr>
          <p:cNvSpPr/>
          <p:nvPr/>
        </p:nvSpPr>
        <p:spPr>
          <a:xfrm>
            <a:off x="6988689" y="2057371"/>
            <a:ext cx="1290373" cy="1290373"/>
          </a:xfrm>
          <a:prstGeom prst="ellipse">
            <a:avLst/>
          </a:prstGeom>
          <a:solidFill>
            <a:schemeClr val="tx1">
              <a:lumMod val="40000"/>
              <a:lumOff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2" name="Oval 51">
            <a:extLst>
              <a:ext uri="{FF2B5EF4-FFF2-40B4-BE49-F238E27FC236}">
                <a16:creationId xmlns:a16="http://schemas.microsoft.com/office/drawing/2014/main" id="{99CEA09A-09D8-3276-CA3B-7EDC305FCAA3}"/>
              </a:ext>
            </a:extLst>
          </p:cNvPr>
          <p:cNvSpPr/>
          <p:nvPr/>
        </p:nvSpPr>
        <p:spPr>
          <a:xfrm>
            <a:off x="4885928" y="2038792"/>
            <a:ext cx="1290373" cy="1290373"/>
          </a:xfrm>
          <a:prstGeom prst="ellipse">
            <a:avLst/>
          </a:prstGeom>
          <a:solidFill>
            <a:schemeClr val="tx1">
              <a:lumMod val="40000"/>
              <a:lumOff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3" name="Text Placeholder 25">
            <a:extLst>
              <a:ext uri="{FF2B5EF4-FFF2-40B4-BE49-F238E27FC236}">
                <a16:creationId xmlns:a16="http://schemas.microsoft.com/office/drawing/2014/main" id="{46B5573B-3E18-9F54-9F80-3FD1F8C86E0A}"/>
              </a:ext>
            </a:extLst>
          </p:cNvPr>
          <p:cNvSpPr txBox="1">
            <a:spLocks/>
          </p:cNvSpPr>
          <p:nvPr/>
        </p:nvSpPr>
        <p:spPr>
          <a:xfrm>
            <a:off x="501186" y="1315800"/>
            <a:ext cx="1506132" cy="744744"/>
          </a:xfrm>
          <a:prstGeom prst="rect">
            <a:avLst/>
          </a:prstGeom>
        </p:spPr>
        <p:txBody>
          <a:bodyPr/>
          <a:lstStyle>
            <a:lvl1pPr marL="228594" indent="-228594" algn="l" defTabSz="914377" rtl="0" eaLnBrk="1" fontAlgn="base" hangingPunct="1">
              <a:lnSpc>
                <a:spcPct val="90000"/>
              </a:lnSpc>
              <a:spcBef>
                <a:spcPts val="1000"/>
              </a:spcBef>
              <a:spcAft>
                <a:spcPct val="0"/>
              </a:spcAft>
              <a:buClr>
                <a:schemeClr val="accent5"/>
              </a:buClr>
              <a:buFont typeface="Arial" charset="0"/>
              <a:buChar char="•"/>
              <a:defRPr sz="28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685783" indent="-228594" algn="l" defTabSz="914377" rtl="0" eaLnBrk="1" fontAlgn="base" hangingPunct="1">
              <a:lnSpc>
                <a:spcPct val="90000"/>
              </a:lnSpc>
              <a:spcBef>
                <a:spcPts val="500"/>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1142971" indent="-228594" algn="l" defTabSz="914377" rtl="0" eaLnBrk="1" fontAlgn="base" hangingPunct="1">
              <a:lnSpc>
                <a:spcPct val="90000"/>
              </a:lnSpc>
              <a:spcBef>
                <a:spcPts val="500"/>
              </a:spcBef>
              <a:spcAft>
                <a:spcPct val="0"/>
              </a:spcAft>
              <a:buClr>
                <a:schemeClr val="accent5"/>
              </a:buClr>
              <a:buFont typeface="Arial" charset="0"/>
              <a:buChar char="•"/>
              <a:defRPr sz="20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600160"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2057349"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685783" rtl="0" eaLnBrk="1" fontAlgn="base" latinLnBrk="0" hangingPunct="1">
              <a:lnSpc>
                <a:spcPct val="90000"/>
              </a:lnSpc>
              <a:spcBef>
                <a:spcPts val="750"/>
              </a:spcBef>
              <a:spcAft>
                <a:spcPct val="0"/>
              </a:spcAft>
              <a:buClr>
                <a:srgbClr val="009845"/>
              </a:buClr>
              <a:buSzTx/>
              <a:buFont typeface="Arial" charset="0"/>
              <a:buNone/>
              <a:tabLst/>
              <a:defRPr/>
            </a:pPr>
            <a:r>
              <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rPr>
              <a:t>What Happened?</a:t>
            </a:r>
          </a:p>
          <a:p>
            <a:pPr marL="0" marR="0" lvl="0" indent="0" algn="ctr" defTabSz="685783" rtl="0" eaLnBrk="1" fontAlgn="base" latinLnBrk="0" hangingPunct="1">
              <a:lnSpc>
                <a:spcPct val="90000"/>
              </a:lnSpc>
              <a:spcBef>
                <a:spcPts val="750"/>
              </a:spcBef>
              <a:spcAft>
                <a:spcPct val="0"/>
              </a:spcAft>
              <a:buClr>
                <a:srgbClr val="009845"/>
              </a:buClr>
              <a:buSzTx/>
              <a:buFont typeface="Arial" charset="0"/>
              <a:buNone/>
              <a:tabLst/>
              <a:defRPr/>
            </a:pPr>
            <a:endPar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54" name="Text Placeholder 27">
            <a:extLst>
              <a:ext uri="{FF2B5EF4-FFF2-40B4-BE49-F238E27FC236}">
                <a16:creationId xmlns:a16="http://schemas.microsoft.com/office/drawing/2014/main" id="{EC66B73D-C58E-1187-878B-655001F75936}"/>
              </a:ext>
            </a:extLst>
          </p:cNvPr>
          <p:cNvSpPr txBox="1">
            <a:spLocks/>
          </p:cNvSpPr>
          <p:nvPr/>
        </p:nvSpPr>
        <p:spPr>
          <a:xfrm>
            <a:off x="660116" y="1053247"/>
            <a:ext cx="1506132" cy="231732"/>
          </a:xfrm>
          <a:prstGeom prst="rect">
            <a:avLst/>
          </a:prstGeom>
        </p:spPr>
        <p:txBody>
          <a:bodyPr/>
          <a:lstStyle>
            <a:lvl1pPr marL="228594" indent="-228594" algn="l" defTabSz="914377" rtl="0" eaLnBrk="1" fontAlgn="base" hangingPunct="1">
              <a:lnSpc>
                <a:spcPct val="90000"/>
              </a:lnSpc>
              <a:spcBef>
                <a:spcPts val="1000"/>
              </a:spcBef>
              <a:spcAft>
                <a:spcPct val="0"/>
              </a:spcAft>
              <a:buClr>
                <a:schemeClr val="accent5"/>
              </a:buClr>
              <a:buFont typeface="Arial" charset="0"/>
              <a:buChar char="•"/>
              <a:defRPr sz="28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685783" indent="-228594" algn="l" defTabSz="914377" rtl="0" eaLnBrk="1" fontAlgn="base" hangingPunct="1">
              <a:lnSpc>
                <a:spcPct val="90000"/>
              </a:lnSpc>
              <a:spcBef>
                <a:spcPts val="500"/>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1142971" indent="-228594" algn="l" defTabSz="914377" rtl="0" eaLnBrk="1" fontAlgn="base" hangingPunct="1">
              <a:lnSpc>
                <a:spcPct val="90000"/>
              </a:lnSpc>
              <a:spcBef>
                <a:spcPts val="500"/>
              </a:spcBef>
              <a:spcAft>
                <a:spcPct val="0"/>
              </a:spcAft>
              <a:buClr>
                <a:schemeClr val="accent5"/>
              </a:buClr>
              <a:buFont typeface="Arial" charset="0"/>
              <a:buChar char="•"/>
              <a:defRPr sz="20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600160"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2057349"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base" latinLnBrk="0" hangingPunct="1">
              <a:lnSpc>
                <a:spcPct val="90000"/>
              </a:lnSpc>
              <a:spcBef>
                <a:spcPts val="750"/>
              </a:spcBef>
              <a:spcAft>
                <a:spcPct val="0"/>
              </a:spcAft>
              <a:buClr>
                <a:srgbClr val="009845"/>
              </a:buClr>
              <a:buSzTx/>
              <a:buFont typeface="Arial" charset="0"/>
              <a:buNone/>
              <a:tabLst/>
              <a:defRPr/>
            </a:pPr>
            <a:r>
              <a:rPr kumimoji="0" lang="en-US" sz="1500" b="1"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rPr>
              <a:t>Descriptive</a:t>
            </a:r>
          </a:p>
          <a:p>
            <a:pPr marL="0" marR="0" lvl="0" indent="0" algn="l" defTabSz="685783" rtl="0" eaLnBrk="1" fontAlgn="base" latinLnBrk="0" hangingPunct="1">
              <a:lnSpc>
                <a:spcPct val="90000"/>
              </a:lnSpc>
              <a:spcBef>
                <a:spcPts val="750"/>
              </a:spcBef>
              <a:spcAft>
                <a:spcPct val="0"/>
              </a:spcAft>
              <a:buClr>
                <a:srgbClr val="009845"/>
              </a:buClr>
              <a:buSzTx/>
              <a:buFont typeface="Arial" charset="0"/>
              <a:buNone/>
              <a:tabLst/>
              <a:defRPr/>
            </a:pPr>
            <a:endParaRPr kumimoji="0" lang="en-US" sz="1500" b="1"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55" name="Text Placeholder 56">
            <a:extLst>
              <a:ext uri="{FF2B5EF4-FFF2-40B4-BE49-F238E27FC236}">
                <a16:creationId xmlns:a16="http://schemas.microsoft.com/office/drawing/2014/main" id="{B8A34E9E-B81C-75C0-A194-464CE250F95B}"/>
              </a:ext>
            </a:extLst>
          </p:cNvPr>
          <p:cNvSpPr txBox="1">
            <a:spLocks/>
          </p:cNvSpPr>
          <p:nvPr/>
        </p:nvSpPr>
        <p:spPr>
          <a:xfrm>
            <a:off x="2686659" y="1315800"/>
            <a:ext cx="1506132" cy="744744"/>
          </a:xfrm>
          <a:prstGeom prst="rect">
            <a:avLst/>
          </a:prstGeom>
        </p:spPr>
        <p:txBody>
          <a:bodyPr/>
          <a:lstStyle>
            <a:lvl1pPr marL="228594" indent="-228594" algn="l" defTabSz="914377" rtl="0" eaLnBrk="1" fontAlgn="base" hangingPunct="1">
              <a:lnSpc>
                <a:spcPct val="90000"/>
              </a:lnSpc>
              <a:spcBef>
                <a:spcPts val="1000"/>
              </a:spcBef>
              <a:spcAft>
                <a:spcPct val="0"/>
              </a:spcAft>
              <a:buClr>
                <a:schemeClr val="accent5"/>
              </a:buClr>
              <a:buFont typeface="Arial" charset="0"/>
              <a:buChar char="•"/>
              <a:defRPr sz="28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685783" indent="-228594" algn="l" defTabSz="914377" rtl="0" eaLnBrk="1" fontAlgn="base" hangingPunct="1">
              <a:lnSpc>
                <a:spcPct val="90000"/>
              </a:lnSpc>
              <a:spcBef>
                <a:spcPts val="500"/>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1142971" indent="-228594" algn="l" defTabSz="914377" rtl="0" eaLnBrk="1" fontAlgn="base" hangingPunct="1">
              <a:lnSpc>
                <a:spcPct val="90000"/>
              </a:lnSpc>
              <a:spcBef>
                <a:spcPts val="500"/>
              </a:spcBef>
              <a:spcAft>
                <a:spcPct val="0"/>
              </a:spcAft>
              <a:buClr>
                <a:schemeClr val="accent5"/>
              </a:buClr>
              <a:buFont typeface="Arial" charset="0"/>
              <a:buChar char="•"/>
              <a:defRPr sz="20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600160"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2057349"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685783" rtl="0" eaLnBrk="1" fontAlgn="base" latinLnBrk="0" hangingPunct="1">
              <a:lnSpc>
                <a:spcPct val="90000"/>
              </a:lnSpc>
              <a:spcBef>
                <a:spcPts val="750"/>
              </a:spcBef>
              <a:spcAft>
                <a:spcPct val="0"/>
              </a:spcAft>
              <a:buClr>
                <a:srgbClr val="009845"/>
              </a:buClr>
              <a:buSzTx/>
              <a:buFont typeface="Arial" charset="0"/>
              <a:buNone/>
              <a:tabLst/>
              <a:defRPr/>
            </a:pPr>
            <a:r>
              <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rPr>
              <a:t>Why did it happen?</a:t>
            </a:r>
          </a:p>
          <a:p>
            <a:pPr marL="0" marR="0" lvl="0" indent="0" algn="ctr" defTabSz="685783" rtl="0" eaLnBrk="1" fontAlgn="base" latinLnBrk="0" hangingPunct="1">
              <a:lnSpc>
                <a:spcPct val="90000"/>
              </a:lnSpc>
              <a:spcBef>
                <a:spcPts val="750"/>
              </a:spcBef>
              <a:spcAft>
                <a:spcPct val="0"/>
              </a:spcAft>
              <a:buClr>
                <a:srgbClr val="009845"/>
              </a:buClr>
              <a:buSzTx/>
              <a:buFont typeface="Arial" charset="0"/>
              <a:buNone/>
              <a:tabLst/>
              <a:defRPr/>
            </a:pPr>
            <a:endPar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56" name="Text Placeholder 58">
            <a:extLst>
              <a:ext uri="{FF2B5EF4-FFF2-40B4-BE49-F238E27FC236}">
                <a16:creationId xmlns:a16="http://schemas.microsoft.com/office/drawing/2014/main" id="{27F02117-4B3D-8D9F-ABDC-67411A0CF44E}"/>
              </a:ext>
            </a:extLst>
          </p:cNvPr>
          <p:cNvSpPr txBox="1">
            <a:spLocks/>
          </p:cNvSpPr>
          <p:nvPr/>
        </p:nvSpPr>
        <p:spPr>
          <a:xfrm>
            <a:off x="2871591" y="1053247"/>
            <a:ext cx="1506132" cy="231732"/>
          </a:xfrm>
          <a:prstGeom prst="rect">
            <a:avLst/>
          </a:prstGeom>
        </p:spPr>
        <p:txBody>
          <a:bodyPr/>
          <a:lstStyle>
            <a:lvl1pPr marL="228594" indent="-228594" algn="l" defTabSz="914377" rtl="0" eaLnBrk="1" fontAlgn="base" hangingPunct="1">
              <a:lnSpc>
                <a:spcPct val="90000"/>
              </a:lnSpc>
              <a:spcBef>
                <a:spcPts val="1000"/>
              </a:spcBef>
              <a:spcAft>
                <a:spcPct val="0"/>
              </a:spcAft>
              <a:buClr>
                <a:schemeClr val="accent5"/>
              </a:buClr>
              <a:buFont typeface="Arial" charset="0"/>
              <a:buChar char="•"/>
              <a:defRPr sz="28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685783" indent="-228594" algn="l" defTabSz="914377" rtl="0" eaLnBrk="1" fontAlgn="base" hangingPunct="1">
              <a:lnSpc>
                <a:spcPct val="90000"/>
              </a:lnSpc>
              <a:spcBef>
                <a:spcPts val="500"/>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1142971" indent="-228594" algn="l" defTabSz="914377" rtl="0" eaLnBrk="1" fontAlgn="base" hangingPunct="1">
              <a:lnSpc>
                <a:spcPct val="90000"/>
              </a:lnSpc>
              <a:spcBef>
                <a:spcPts val="500"/>
              </a:spcBef>
              <a:spcAft>
                <a:spcPct val="0"/>
              </a:spcAft>
              <a:buClr>
                <a:schemeClr val="accent5"/>
              </a:buClr>
              <a:buFont typeface="Arial" charset="0"/>
              <a:buChar char="•"/>
              <a:defRPr sz="20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600160"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2057349"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base" latinLnBrk="0" hangingPunct="1">
              <a:lnSpc>
                <a:spcPct val="90000"/>
              </a:lnSpc>
              <a:spcBef>
                <a:spcPts val="750"/>
              </a:spcBef>
              <a:spcAft>
                <a:spcPct val="0"/>
              </a:spcAft>
              <a:buClr>
                <a:srgbClr val="009845"/>
              </a:buClr>
              <a:buSzTx/>
              <a:buFont typeface="Arial" charset="0"/>
              <a:buNone/>
              <a:tabLst/>
              <a:defRPr/>
            </a:pPr>
            <a:r>
              <a:rPr kumimoji="0" lang="en-US" sz="1500" b="1"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rPr>
              <a:t>Diagnostic</a:t>
            </a:r>
          </a:p>
          <a:p>
            <a:pPr marL="0" marR="0" lvl="0" indent="0" algn="l" defTabSz="685783" rtl="0" eaLnBrk="1" fontAlgn="base" latinLnBrk="0" hangingPunct="1">
              <a:lnSpc>
                <a:spcPct val="90000"/>
              </a:lnSpc>
              <a:spcBef>
                <a:spcPts val="750"/>
              </a:spcBef>
              <a:spcAft>
                <a:spcPct val="0"/>
              </a:spcAft>
              <a:buClr>
                <a:srgbClr val="009845"/>
              </a:buClr>
              <a:buSzTx/>
              <a:buFont typeface="Arial" charset="0"/>
              <a:buNone/>
              <a:tabLst/>
              <a:defRPr/>
            </a:pPr>
            <a:endParaRPr kumimoji="0" lang="en-US" sz="1500" b="1"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57" name="Text Placeholder 60">
            <a:extLst>
              <a:ext uri="{FF2B5EF4-FFF2-40B4-BE49-F238E27FC236}">
                <a16:creationId xmlns:a16="http://schemas.microsoft.com/office/drawing/2014/main" id="{6FEB4EED-51A2-4123-CF3D-84E5778E1F10}"/>
              </a:ext>
            </a:extLst>
          </p:cNvPr>
          <p:cNvSpPr txBox="1">
            <a:spLocks/>
          </p:cNvSpPr>
          <p:nvPr/>
        </p:nvSpPr>
        <p:spPr>
          <a:xfrm>
            <a:off x="4778506" y="1284978"/>
            <a:ext cx="1506132" cy="744744"/>
          </a:xfrm>
          <a:prstGeom prst="rect">
            <a:avLst/>
          </a:prstGeom>
        </p:spPr>
        <p:txBody>
          <a:bodyPr/>
          <a:lstStyle>
            <a:lvl1pPr marL="228594" indent="-228594" algn="l" defTabSz="914377" rtl="0" eaLnBrk="1" fontAlgn="base" hangingPunct="1">
              <a:lnSpc>
                <a:spcPct val="90000"/>
              </a:lnSpc>
              <a:spcBef>
                <a:spcPts val="1000"/>
              </a:spcBef>
              <a:spcAft>
                <a:spcPct val="0"/>
              </a:spcAft>
              <a:buClr>
                <a:schemeClr val="accent5"/>
              </a:buClr>
              <a:buFont typeface="Arial" charset="0"/>
              <a:buChar char="•"/>
              <a:defRPr sz="28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685783" indent="-228594" algn="l" defTabSz="914377" rtl="0" eaLnBrk="1" fontAlgn="base" hangingPunct="1">
              <a:lnSpc>
                <a:spcPct val="90000"/>
              </a:lnSpc>
              <a:spcBef>
                <a:spcPts val="500"/>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1142971" indent="-228594" algn="l" defTabSz="914377" rtl="0" eaLnBrk="1" fontAlgn="base" hangingPunct="1">
              <a:lnSpc>
                <a:spcPct val="90000"/>
              </a:lnSpc>
              <a:spcBef>
                <a:spcPts val="500"/>
              </a:spcBef>
              <a:spcAft>
                <a:spcPct val="0"/>
              </a:spcAft>
              <a:buClr>
                <a:schemeClr val="accent5"/>
              </a:buClr>
              <a:buFont typeface="Arial" charset="0"/>
              <a:buChar char="•"/>
              <a:defRPr sz="20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600160"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2057349"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685783" rtl="0" eaLnBrk="1" fontAlgn="base" latinLnBrk="0" hangingPunct="1">
              <a:lnSpc>
                <a:spcPct val="90000"/>
              </a:lnSpc>
              <a:spcBef>
                <a:spcPts val="750"/>
              </a:spcBef>
              <a:spcAft>
                <a:spcPct val="0"/>
              </a:spcAft>
              <a:buClr>
                <a:srgbClr val="009845"/>
              </a:buClr>
              <a:buSzTx/>
              <a:buFont typeface="Arial" charset="0"/>
              <a:buNone/>
              <a:tabLst/>
              <a:defRPr/>
            </a:pPr>
            <a:r>
              <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rPr>
              <a:t>What will happen?</a:t>
            </a:r>
          </a:p>
          <a:p>
            <a:pPr marL="0" marR="0" lvl="0" indent="0" algn="ctr" defTabSz="685783" rtl="0" eaLnBrk="1" fontAlgn="base" latinLnBrk="0" hangingPunct="1">
              <a:lnSpc>
                <a:spcPct val="90000"/>
              </a:lnSpc>
              <a:spcBef>
                <a:spcPts val="750"/>
              </a:spcBef>
              <a:spcAft>
                <a:spcPct val="0"/>
              </a:spcAft>
              <a:buClr>
                <a:srgbClr val="009845"/>
              </a:buClr>
              <a:buSzTx/>
              <a:buFont typeface="Arial" charset="0"/>
              <a:buNone/>
              <a:tabLst/>
              <a:defRPr/>
            </a:pPr>
            <a:endPar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3" name="Text Placeholder 62">
            <a:extLst>
              <a:ext uri="{FF2B5EF4-FFF2-40B4-BE49-F238E27FC236}">
                <a16:creationId xmlns:a16="http://schemas.microsoft.com/office/drawing/2014/main" id="{B29030F5-92B6-5F7C-EF70-6DD4AAC8409E}"/>
              </a:ext>
            </a:extLst>
          </p:cNvPr>
          <p:cNvSpPr txBox="1">
            <a:spLocks/>
          </p:cNvSpPr>
          <p:nvPr/>
        </p:nvSpPr>
        <p:spPr>
          <a:xfrm>
            <a:off x="5017379" y="1053247"/>
            <a:ext cx="1506132" cy="231732"/>
          </a:xfrm>
          <a:prstGeom prst="rect">
            <a:avLst/>
          </a:prstGeom>
        </p:spPr>
        <p:txBody>
          <a:bodyPr/>
          <a:lstStyle>
            <a:lvl1pPr marL="228594" indent="-228594" algn="l" defTabSz="914377" rtl="0" eaLnBrk="1" fontAlgn="base" hangingPunct="1">
              <a:lnSpc>
                <a:spcPct val="90000"/>
              </a:lnSpc>
              <a:spcBef>
                <a:spcPts val="1000"/>
              </a:spcBef>
              <a:spcAft>
                <a:spcPct val="0"/>
              </a:spcAft>
              <a:buClr>
                <a:schemeClr val="accent5"/>
              </a:buClr>
              <a:buFont typeface="Arial" charset="0"/>
              <a:buChar char="•"/>
              <a:defRPr sz="28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685783" indent="-228594" algn="l" defTabSz="914377" rtl="0" eaLnBrk="1" fontAlgn="base" hangingPunct="1">
              <a:lnSpc>
                <a:spcPct val="90000"/>
              </a:lnSpc>
              <a:spcBef>
                <a:spcPts val="500"/>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1142971" indent="-228594" algn="l" defTabSz="914377" rtl="0" eaLnBrk="1" fontAlgn="base" hangingPunct="1">
              <a:lnSpc>
                <a:spcPct val="90000"/>
              </a:lnSpc>
              <a:spcBef>
                <a:spcPts val="500"/>
              </a:spcBef>
              <a:spcAft>
                <a:spcPct val="0"/>
              </a:spcAft>
              <a:buClr>
                <a:schemeClr val="accent5"/>
              </a:buClr>
              <a:buFont typeface="Arial" charset="0"/>
              <a:buChar char="•"/>
              <a:defRPr sz="20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600160"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2057349"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base" latinLnBrk="0" hangingPunct="1">
              <a:lnSpc>
                <a:spcPct val="90000"/>
              </a:lnSpc>
              <a:spcBef>
                <a:spcPts val="750"/>
              </a:spcBef>
              <a:spcAft>
                <a:spcPct val="0"/>
              </a:spcAft>
              <a:buClr>
                <a:srgbClr val="009845"/>
              </a:buClr>
              <a:buSzTx/>
              <a:buFont typeface="Arial" charset="0"/>
              <a:buNone/>
              <a:tabLst/>
              <a:defRPr/>
            </a:pPr>
            <a:r>
              <a:rPr kumimoji="0" lang="en-US" sz="1500" b="1"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rPr>
              <a:t>Predictive</a:t>
            </a:r>
          </a:p>
          <a:p>
            <a:pPr marL="0" marR="0" lvl="0" indent="0" algn="l" defTabSz="685783" rtl="0" eaLnBrk="1" fontAlgn="base" latinLnBrk="0" hangingPunct="1">
              <a:lnSpc>
                <a:spcPct val="90000"/>
              </a:lnSpc>
              <a:spcBef>
                <a:spcPts val="750"/>
              </a:spcBef>
              <a:spcAft>
                <a:spcPct val="0"/>
              </a:spcAft>
              <a:buClr>
                <a:srgbClr val="009845"/>
              </a:buClr>
              <a:buSzTx/>
              <a:buFont typeface="Arial" charset="0"/>
              <a:buNone/>
              <a:tabLst/>
              <a:defRPr/>
            </a:pPr>
            <a:endParaRPr kumimoji="0" lang="en-US" sz="1500" b="1"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4" name="Text Placeholder 64">
            <a:extLst>
              <a:ext uri="{FF2B5EF4-FFF2-40B4-BE49-F238E27FC236}">
                <a16:creationId xmlns:a16="http://schemas.microsoft.com/office/drawing/2014/main" id="{F8D089A4-3DCE-F695-A431-2A8EBEB06FA3}"/>
              </a:ext>
            </a:extLst>
          </p:cNvPr>
          <p:cNvSpPr txBox="1">
            <a:spLocks/>
          </p:cNvSpPr>
          <p:nvPr/>
        </p:nvSpPr>
        <p:spPr>
          <a:xfrm>
            <a:off x="6851564" y="1284978"/>
            <a:ext cx="1506132" cy="744744"/>
          </a:xfrm>
          <a:prstGeom prst="rect">
            <a:avLst/>
          </a:prstGeom>
        </p:spPr>
        <p:txBody>
          <a:bodyPr/>
          <a:lstStyle>
            <a:lvl1pPr marL="228594" indent="-228594" algn="l" defTabSz="914377" rtl="0" eaLnBrk="1" fontAlgn="base" hangingPunct="1">
              <a:lnSpc>
                <a:spcPct val="90000"/>
              </a:lnSpc>
              <a:spcBef>
                <a:spcPts val="1000"/>
              </a:spcBef>
              <a:spcAft>
                <a:spcPct val="0"/>
              </a:spcAft>
              <a:buClr>
                <a:schemeClr val="accent5"/>
              </a:buClr>
              <a:buFont typeface="Arial" charset="0"/>
              <a:buChar char="•"/>
              <a:defRPr sz="28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685783" indent="-228594" algn="l" defTabSz="914377" rtl="0" eaLnBrk="1" fontAlgn="base" hangingPunct="1">
              <a:lnSpc>
                <a:spcPct val="90000"/>
              </a:lnSpc>
              <a:spcBef>
                <a:spcPts val="500"/>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1142971" indent="-228594" algn="l" defTabSz="914377" rtl="0" eaLnBrk="1" fontAlgn="base" hangingPunct="1">
              <a:lnSpc>
                <a:spcPct val="90000"/>
              </a:lnSpc>
              <a:spcBef>
                <a:spcPts val="500"/>
              </a:spcBef>
              <a:spcAft>
                <a:spcPct val="0"/>
              </a:spcAft>
              <a:buClr>
                <a:schemeClr val="accent5"/>
              </a:buClr>
              <a:buFont typeface="Arial" charset="0"/>
              <a:buChar char="•"/>
              <a:defRPr sz="20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600160"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2057349"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685783" rtl="0" eaLnBrk="1" fontAlgn="base" latinLnBrk="0" hangingPunct="1">
              <a:lnSpc>
                <a:spcPct val="90000"/>
              </a:lnSpc>
              <a:spcBef>
                <a:spcPts val="750"/>
              </a:spcBef>
              <a:spcAft>
                <a:spcPct val="0"/>
              </a:spcAft>
              <a:buClr>
                <a:srgbClr val="009845"/>
              </a:buClr>
              <a:buSzTx/>
              <a:buFont typeface="Arial" charset="0"/>
              <a:buNone/>
              <a:tabLst/>
              <a:defRPr/>
            </a:pPr>
            <a:r>
              <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rPr>
              <a:t>What action to take?</a:t>
            </a:r>
          </a:p>
          <a:p>
            <a:pPr marL="0" marR="0" lvl="0" indent="0" algn="ctr" defTabSz="685783" rtl="0" eaLnBrk="1" fontAlgn="base" latinLnBrk="0" hangingPunct="1">
              <a:lnSpc>
                <a:spcPct val="90000"/>
              </a:lnSpc>
              <a:spcBef>
                <a:spcPts val="750"/>
              </a:spcBef>
              <a:spcAft>
                <a:spcPct val="0"/>
              </a:spcAft>
              <a:buClr>
                <a:srgbClr val="009845"/>
              </a:buClr>
              <a:buSzTx/>
              <a:buFont typeface="Arial" charset="0"/>
              <a:buNone/>
              <a:tabLst/>
              <a:defRPr/>
            </a:pPr>
            <a:endPar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5" name="Text Placeholder 66">
            <a:extLst>
              <a:ext uri="{FF2B5EF4-FFF2-40B4-BE49-F238E27FC236}">
                <a16:creationId xmlns:a16="http://schemas.microsoft.com/office/drawing/2014/main" id="{D8545144-9585-9239-5382-9529D900A8DB}"/>
              </a:ext>
            </a:extLst>
          </p:cNvPr>
          <p:cNvSpPr txBox="1">
            <a:spLocks/>
          </p:cNvSpPr>
          <p:nvPr/>
        </p:nvSpPr>
        <p:spPr>
          <a:xfrm>
            <a:off x="6990263" y="1053247"/>
            <a:ext cx="1506132" cy="231732"/>
          </a:xfrm>
          <a:prstGeom prst="rect">
            <a:avLst/>
          </a:prstGeom>
        </p:spPr>
        <p:txBody>
          <a:bodyPr/>
          <a:lstStyle>
            <a:lvl1pPr marL="228594" indent="-228594" algn="l" defTabSz="914377" rtl="0" eaLnBrk="1" fontAlgn="base" hangingPunct="1">
              <a:lnSpc>
                <a:spcPct val="90000"/>
              </a:lnSpc>
              <a:spcBef>
                <a:spcPts val="1000"/>
              </a:spcBef>
              <a:spcAft>
                <a:spcPct val="0"/>
              </a:spcAft>
              <a:buClr>
                <a:schemeClr val="accent5"/>
              </a:buClr>
              <a:buFont typeface="Arial" charset="0"/>
              <a:buChar char="•"/>
              <a:defRPr sz="28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685783" indent="-228594" algn="l" defTabSz="914377" rtl="0" eaLnBrk="1" fontAlgn="base" hangingPunct="1">
              <a:lnSpc>
                <a:spcPct val="90000"/>
              </a:lnSpc>
              <a:spcBef>
                <a:spcPts val="500"/>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1142971" indent="-228594" algn="l" defTabSz="914377" rtl="0" eaLnBrk="1" fontAlgn="base" hangingPunct="1">
              <a:lnSpc>
                <a:spcPct val="90000"/>
              </a:lnSpc>
              <a:spcBef>
                <a:spcPts val="500"/>
              </a:spcBef>
              <a:spcAft>
                <a:spcPct val="0"/>
              </a:spcAft>
              <a:buClr>
                <a:schemeClr val="accent5"/>
              </a:buClr>
              <a:buFont typeface="Arial" charset="0"/>
              <a:buChar char="•"/>
              <a:defRPr sz="20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600160"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2057349"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base" latinLnBrk="0" hangingPunct="1">
              <a:lnSpc>
                <a:spcPct val="90000"/>
              </a:lnSpc>
              <a:spcBef>
                <a:spcPts val="750"/>
              </a:spcBef>
              <a:spcAft>
                <a:spcPct val="0"/>
              </a:spcAft>
              <a:buClr>
                <a:srgbClr val="009845"/>
              </a:buClr>
              <a:buSzTx/>
              <a:buFont typeface="Arial" charset="0"/>
              <a:buNone/>
              <a:tabLst/>
              <a:defRPr/>
            </a:pPr>
            <a:r>
              <a:rPr kumimoji="0" lang="en-US" sz="1500" b="1"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rPr>
              <a:t>Prescriptive</a:t>
            </a:r>
          </a:p>
          <a:p>
            <a:pPr marL="0" marR="0" lvl="0" indent="0" algn="l" defTabSz="685783" rtl="0" eaLnBrk="1" fontAlgn="base" latinLnBrk="0" hangingPunct="1">
              <a:lnSpc>
                <a:spcPct val="90000"/>
              </a:lnSpc>
              <a:spcBef>
                <a:spcPts val="750"/>
              </a:spcBef>
              <a:spcAft>
                <a:spcPct val="0"/>
              </a:spcAft>
              <a:buClr>
                <a:srgbClr val="009845"/>
              </a:buClr>
              <a:buSzTx/>
              <a:buFont typeface="Arial" charset="0"/>
              <a:buNone/>
              <a:tabLst/>
              <a:defRPr/>
            </a:pPr>
            <a:endParaRPr kumimoji="0" lang="en-US" sz="1500" b="1"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pic>
        <p:nvPicPr>
          <p:cNvPr id="67" name="Picture 66">
            <a:extLst>
              <a:ext uri="{FF2B5EF4-FFF2-40B4-BE49-F238E27FC236}">
                <a16:creationId xmlns:a16="http://schemas.microsoft.com/office/drawing/2014/main" id="{D256105E-A6E1-FDFB-C517-E09145209548}"/>
              </a:ext>
            </a:extLst>
          </p:cNvPr>
          <p:cNvPicPr>
            <a:picLocks noChangeAspect="1"/>
          </p:cNvPicPr>
          <p:nvPr/>
        </p:nvPicPr>
        <p:blipFill>
          <a:blip r:embed="rId4"/>
          <a:stretch>
            <a:fillRect/>
          </a:stretch>
        </p:blipFill>
        <p:spPr>
          <a:xfrm>
            <a:off x="957408" y="2409506"/>
            <a:ext cx="753100" cy="617220"/>
          </a:xfrm>
          <a:prstGeom prst="rect">
            <a:avLst/>
          </a:prstGeom>
        </p:spPr>
      </p:pic>
      <p:sp>
        <p:nvSpPr>
          <p:cNvPr id="68" name="Text Placeholder 25">
            <a:extLst>
              <a:ext uri="{FF2B5EF4-FFF2-40B4-BE49-F238E27FC236}">
                <a16:creationId xmlns:a16="http://schemas.microsoft.com/office/drawing/2014/main" id="{2399E715-66DF-3180-E39A-3DC0ECEF0F39}"/>
              </a:ext>
            </a:extLst>
          </p:cNvPr>
          <p:cNvSpPr txBox="1">
            <a:spLocks/>
          </p:cNvSpPr>
          <p:nvPr/>
        </p:nvSpPr>
        <p:spPr>
          <a:xfrm>
            <a:off x="584085" y="3620634"/>
            <a:ext cx="1506132" cy="744744"/>
          </a:xfrm>
          <a:prstGeom prst="rect">
            <a:avLst/>
          </a:prstGeom>
        </p:spPr>
        <p:txBody>
          <a:bodyPr vert="horz" lIns="0" tIns="0" rIns="0" bIns="0" rtlCol="0">
            <a:noAutofit/>
          </a:bodyPr>
          <a:lstStyle>
            <a:lvl1pPr marL="0" indent="0" algn="ctr" defTabSz="685800" rtl="0" eaLnBrk="1" fontAlgn="base" hangingPunct="1">
              <a:lnSpc>
                <a:spcPct val="90000"/>
              </a:lnSpc>
              <a:spcBef>
                <a:spcPts val="750"/>
              </a:spcBef>
              <a:spcAft>
                <a:spcPct val="0"/>
              </a:spcAft>
              <a:buClr>
                <a:schemeClr val="accent5"/>
              </a:buClr>
              <a:buFontTx/>
              <a:buNone/>
              <a:defRPr sz="16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342900" indent="0" algn="ctr" defTabSz="685800" rtl="0" eaLnBrk="1" fontAlgn="base" hangingPunct="1">
              <a:lnSpc>
                <a:spcPct val="90000"/>
              </a:lnSpc>
              <a:spcBef>
                <a:spcPts val="375"/>
              </a:spcBef>
              <a:spcAft>
                <a:spcPct val="0"/>
              </a:spcAft>
              <a:buClr>
                <a:schemeClr val="accent5"/>
              </a:buClr>
              <a:buFontTx/>
              <a:buNone/>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685800" indent="0" algn="ctr" defTabSz="685800" rtl="0" eaLnBrk="1" fontAlgn="base" hangingPunct="1">
              <a:lnSpc>
                <a:spcPct val="90000"/>
              </a:lnSpc>
              <a:spcBef>
                <a:spcPts val="375"/>
              </a:spcBef>
              <a:spcAft>
                <a:spcPct val="0"/>
              </a:spcAft>
              <a:buClr>
                <a:schemeClr val="accent5"/>
              </a:buClr>
              <a:buFontTx/>
              <a:buNone/>
              <a:defRPr sz="15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028700" indent="0" algn="ctr" defTabSz="685800" rtl="0" eaLnBrk="1" fontAlgn="base" hangingPunct="1">
              <a:lnSpc>
                <a:spcPct val="90000"/>
              </a:lnSpc>
              <a:spcBef>
                <a:spcPts val="375"/>
              </a:spcBef>
              <a:spcAft>
                <a:spcPct val="0"/>
              </a:spcAft>
              <a:buClr>
                <a:schemeClr val="accent5"/>
              </a:buClr>
              <a:buFontTx/>
              <a:buNone/>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1371600" indent="0" algn="ctr" defTabSz="685800" rtl="0" eaLnBrk="1" fontAlgn="base" hangingPunct="1">
              <a:lnSpc>
                <a:spcPct val="90000"/>
              </a:lnSpc>
              <a:spcBef>
                <a:spcPts val="375"/>
              </a:spcBef>
              <a:spcAft>
                <a:spcPct val="0"/>
              </a:spcAft>
              <a:buClr>
                <a:schemeClr val="accent5"/>
              </a:buClr>
              <a:buFontTx/>
              <a:buNone/>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base" latinLnBrk="0" hangingPunct="1">
              <a:lnSpc>
                <a:spcPct val="90000"/>
              </a:lnSpc>
              <a:spcBef>
                <a:spcPts val="750"/>
              </a:spcBef>
              <a:spcAft>
                <a:spcPct val="0"/>
              </a:spcAft>
              <a:buClr>
                <a:srgbClr val="009845"/>
              </a:buClr>
              <a:buSzTx/>
              <a:buFontTx/>
              <a:buNone/>
              <a:tabLst/>
              <a:defRPr/>
            </a:pPr>
            <a:r>
              <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rPr>
              <a:t>Vitals</a:t>
            </a:r>
          </a:p>
          <a:p>
            <a:pPr marL="0" marR="0" lvl="0" indent="0" algn="ctr" defTabSz="685783" rtl="0" eaLnBrk="1" fontAlgn="base" latinLnBrk="0" hangingPunct="1">
              <a:lnSpc>
                <a:spcPct val="90000"/>
              </a:lnSpc>
              <a:spcBef>
                <a:spcPts val="750"/>
              </a:spcBef>
              <a:spcAft>
                <a:spcPct val="0"/>
              </a:spcAft>
              <a:buClr>
                <a:srgbClr val="009845"/>
              </a:buClr>
              <a:buSzTx/>
              <a:buFontTx/>
              <a:buNone/>
              <a:tabLst/>
              <a:defRPr/>
            </a:pPr>
            <a:endPar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9" name="Text Placeholder 25">
            <a:extLst>
              <a:ext uri="{FF2B5EF4-FFF2-40B4-BE49-F238E27FC236}">
                <a16:creationId xmlns:a16="http://schemas.microsoft.com/office/drawing/2014/main" id="{59A6A4C6-5B68-E5C7-1B74-880AF305B7B6}"/>
              </a:ext>
            </a:extLst>
          </p:cNvPr>
          <p:cNvSpPr txBox="1">
            <a:spLocks/>
          </p:cNvSpPr>
          <p:nvPr/>
        </p:nvSpPr>
        <p:spPr>
          <a:xfrm>
            <a:off x="2680556" y="3620634"/>
            <a:ext cx="1506132" cy="744744"/>
          </a:xfrm>
          <a:prstGeom prst="rect">
            <a:avLst/>
          </a:prstGeom>
        </p:spPr>
        <p:txBody>
          <a:bodyPr vert="horz" lIns="0" tIns="0" rIns="0" bIns="0" rtlCol="0">
            <a:noAutofit/>
          </a:bodyPr>
          <a:lstStyle>
            <a:lvl1pPr marL="0" indent="0" algn="ctr" defTabSz="685800" rtl="0" eaLnBrk="1" fontAlgn="base" hangingPunct="1">
              <a:lnSpc>
                <a:spcPct val="90000"/>
              </a:lnSpc>
              <a:spcBef>
                <a:spcPts val="750"/>
              </a:spcBef>
              <a:spcAft>
                <a:spcPct val="0"/>
              </a:spcAft>
              <a:buClr>
                <a:schemeClr val="accent5"/>
              </a:buClr>
              <a:buFontTx/>
              <a:buNone/>
              <a:defRPr sz="16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342900" indent="0" algn="ctr" defTabSz="685800" rtl="0" eaLnBrk="1" fontAlgn="base" hangingPunct="1">
              <a:lnSpc>
                <a:spcPct val="90000"/>
              </a:lnSpc>
              <a:spcBef>
                <a:spcPts val="375"/>
              </a:spcBef>
              <a:spcAft>
                <a:spcPct val="0"/>
              </a:spcAft>
              <a:buClr>
                <a:schemeClr val="accent5"/>
              </a:buClr>
              <a:buFontTx/>
              <a:buNone/>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685800" indent="0" algn="ctr" defTabSz="685800" rtl="0" eaLnBrk="1" fontAlgn="base" hangingPunct="1">
              <a:lnSpc>
                <a:spcPct val="90000"/>
              </a:lnSpc>
              <a:spcBef>
                <a:spcPts val="375"/>
              </a:spcBef>
              <a:spcAft>
                <a:spcPct val="0"/>
              </a:spcAft>
              <a:buClr>
                <a:schemeClr val="accent5"/>
              </a:buClr>
              <a:buFontTx/>
              <a:buNone/>
              <a:defRPr sz="15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028700" indent="0" algn="ctr" defTabSz="685800" rtl="0" eaLnBrk="1" fontAlgn="base" hangingPunct="1">
              <a:lnSpc>
                <a:spcPct val="90000"/>
              </a:lnSpc>
              <a:spcBef>
                <a:spcPts val="375"/>
              </a:spcBef>
              <a:spcAft>
                <a:spcPct val="0"/>
              </a:spcAft>
              <a:buClr>
                <a:schemeClr val="accent5"/>
              </a:buClr>
              <a:buFontTx/>
              <a:buNone/>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1371600" indent="0" algn="ctr" defTabSz="685800" rtl="0" eaLnBrk="1" fontAlgn="base" hangingPunct="1">
              <a:lnSpc>
                <a:spcPct val="90000"/>
              </a:lnSpc>
              <a:spcBef>
                <a:spcPts val="375"/>
              </a:spcBef>
              <a:spcAft>
                <a:spcPct val="0"/>
              </a:spcAft>
              <a:buClr>
                <a:schemeClr val="accent5"/>
              </a:buClr>
              <a:buFontTx/>
              <a:buNone/>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base" latinLnBrk="0" hangingPunct="1">
              <a:lnSpc>
                <a:spcPct val="90000"/>
              </a:lnSpc>
              <a:spcBef>
                <a:spcPts val="750"/>
              </a:spcBef>
              <a:spcAft>
                <a:spcPct val="0"/>
              </a:spcAft>
              <a:buClr>
                <a:srgbClr val="009845"/>
              </a:buClr>
              <a:buSzTx/>
              <a:buFontTx/>
              <a:buNone/>
              <a:tabLst/>
              <a:defRPr/>
            </a:pPr>
            <a:r>
              <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rPr>
              <a:t>If symptoms or vitals are off, run tests and ask questions to see root cause of that problem</a:t>
            </a:r>
          </a:p>
          <a:p>
            <a:pPr marL="0" marR="0" lvl="0" indent="0" algn="ctr" defTabSz="685783" rtl="0" eaLnBrk="1" fontAlgn="base" latinLnBrk="0" hangingPunct="1">
              <a:lnSpc>
                <a:spcPct val="90000"/>
              </a:lnSpc>
              <a:spcBef>
                <a:spcPts val="750"/>
              </a:spcBef>
              <a:spcAft>
                <a:spcPct val="0"/>
              </a:spcAft>
              <a:buClr>
                <a:srgbClr val="009845"/>
              </a:buClr>
              <a:buSzTx/>
              <a:buFontTx/>
              <a:buNone/>
              <a:tabLst/>
              <a:defRPr/>
            </a:pPr>
            <a:endPar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a:p>
            <a:pPr marL="0" marR="0" lvl="0" indent="0" algn="ctr" defTabSz="685783" rtl="0" eaLnBrk="1" fontAlgn="base" latinLnBrk="0" hangingPunct="1">
              <a:lnSpc>
                <a:spcPct val="90000"/>
              </a:lnSpc>
              <a:spcBef>
                <a:spcPts val="750"/>
              </a:spcBef>
              <a:spcAft>
                <a:spcPct val="0"/>
              </a:spcAft>
              <a:buClr>
                <a:srgbClr val="009845"/>
              </a:buClr>
              <a:buSzTx/>
              <a:buFontTx/>
              <a:buNone/>
              <a:tabLst/>
              <a:defRPr/>
            </a:pPr>
            <a:endPar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71" name="Text Placeholder 25">
            <a:extLst>
              <a:ext uri="{FF2B5EF4-FFF2-40B4-BE49-F238E27FC236}">
                <a16:creationId xmlns:a16="http://schemas.microsoft.com/office/drawing/2014/main" id="{DB7D7A1E-0374-98C8-95A7-1638B8AE9827}"/>
              </a:ext>
            </a:extLst>
          </p:cNvPr>
          <p:cNvSpPr txBox="1">
            <a:spLocks/>
          </p:cNvSpPr>
          <p:nvPr/>
        </p:nvSpPr>
        <p:spPr>
          <a:xfrm>
            <a:off x="4772403" y="3620634"/>
            <a:ext cx="1506132" cy="744744"/>
          </a:xfrm>
          <a:prstGeom prst="rect">
            <a:avLst/>
          </a:prstGeom>
        </p:spPr>
        <p:txBody>
          <a:bodyPr vert="horz" lIns="0" tIns="0" rIns="0" bIns="0" rtlCol="0">
            <a:noAutofit/>
          </a:bodyPr>
          <a:lstStyle>
            <a:lvl1pPr marL="0" indent="0" algn="ctr" defTabSz="685800" rtl="0" eaLnBrk="1" fontAlgn="base" hangingPunct="1">
              <a:lnSpc>
                <a:spcPct val="90000"/>
              </a:lnSpc>
              <a:spcBef>
                <a:spcPts val="750"/>
              </a:spcBef>
              <a:spcAft>
                <a:spcPct val="0"/>
              </a:spcAft>
              <a:buClr>
                <a:schemeClr val="accent5"/>
              </a:buClr>
              <a:buFontTx/>
              <a:buNone/>
              <a:defRPr sz="16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342900" indent="0" algn="ctr" defTabSz="685800" rtl="0" eaLnBrk="1" fontAlgn="base" hangingPunct="1">
              <a:lnSpc>
                <a:spcPct val="90000"/>
              </a:lnSpc>
              <a:spcBef>
                <a:spcPts val="375"/>
              </a:spcBef>
              <a:spcAft>
                <a:spcPct val="0"/>
              </a:spcAft>
              <a:buClr>
                <a:schemeClr val="accent5"/>
              </a:buClr>
              <a:buFontTx/>
              <a:buNone/>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685800" indent="0" algn="ctr" defTabSz="685800" rtl="0" eaLnBrk="1" fontAlgn="base" hangingPunct="1">
              <a:lnSpc>
                <a:spcPct val="90000"/>
              </a:lnSpc>
              <a:spcBef>
                <a:spcPts val="375"/>
              </a:spcBef>
              <a:spcAft>
                <a:spcPct val="0"/>
              </a:spcAft>
              <a:buClr>
                <a:schemeClr val="accent5"/>
              </a:buClr>
              <a:buFontTx/>
              <a:buNone/>
              <a:defRPr sz="15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028700" indent="0" algn="ctr" defTabSz="685800" rtl="0" eaLnBrk="1" fontAlgn="base" hangingPunct="1">
              <a:lnSpc>
                <a:spcPct val="90000"/>
              </a:lnSpc>
              <a:spcBef>
                <a:spcPts val="375"/>
              </a:spcBef>
              <a:spcAft>
                <a:spcPct val="0"/>
              </a:spcAft>
              <a:buClr>
                <a:schemeClr val="accent5"/>
              </a:buClr>
              <a:buFontTx/>
              <a:buNone/>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1371600" indent="0" algn="ctr" defTabSz="685800" rtl="0" eaLnBrk="1" fontAlgn="base" hangingPunct="1">
              <a:lnSpc>
                <a:spcPct val="90000"/>
              </a:lnSpc>
              <a:spcBef>
                <a:spcPts val="375"/>
              </a:spcBef>
              <a:spcAft>
                <a:spcPct val="0"/>
              </a:spcAft>
              <a:buClr>
                <a:schemeClr val="accent5"/>
              </a:buClr>
              <a:buFontTx/>
              <a:buNone/>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base" latinLnBrk="0" hangingPunct="1">
              <a:lnSpc>
                <a:spcPct val="90000"/>
              </a:lnSpc>
              <a:spcBef>
                <a:spcPts val="750"/>
              </a:spcBef>
              <a:spcAft>
                <a:spcPct val="0"/>
              </a:spcAft>
              <a:buClr>
                <a:srgbClr val="009845"/>
              </a:buClr>
              <a:buSzTx/>
              <a:buFontTx/>
              <a:buNone/>
              <a:tabLst/>
              <a:defRPr/>
            </a:pPr>
            <a:r>
              <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rPr>
              <a:t>Based off vitals predict health outcome</a:t>
            </a:r>
          </a:p>
          <a:p>
            <a:pPr marL="0" marR="0" lvl="0" indent="0" algn="ctr" defTabSz="685783" rtl="0" eaLnBrk="1" fontAlgn="base" latinLnBrk="0" hangingPunct="1">
              <a:lnSpc>
                <a:spcPct val="90000"/>
              </a:lnSpc>
              <a:spcBef>
                <a:spcPts val="750"/>
              </a:spcBef>
              <a:spcAft>
                <a:spcPct val="0"/>
              </a:spcAft>
              <a:buClr>
                <a:srgbClr val="009845"/>
              </a:buClr>
              <a:buSzTx/>
              <a:buFontTx/>
              <a:buNone/>
              <a:tabLst/>
              <a:defRPr/>
            </a:pPr>
            <a:endPar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73" name="Text Placeholder 25">
            <a:extLst>
              <a:ext uri="{FF2B5EF4-FFF2-40B4-BE49-F238E27FC236}">
                <a16:creationId xmlns:a16="http://schemas.microsoft.com/office/drawing/2014/main" id="{031784DC-423B-FF59-A6EF-4C26429C2884}"/>
              </a:ext>
            </a:extLst>
          </p:cNvPr>
          <p:cNvSpPr txBox="1">
            <a:spLocks/>
          </p:cNvSpPr>
          <p:nvPr/>
        </p:nvSpPr>
        <p:spPr>
          <a:xfrm>
            <a:off x="6845461" y="3620634"/>
            <a:ext cx="1506132" cy="744744"/>
          </a:xfrm>
          <a:prstGeom prst="rect">
            <a:avLst/>
          </a:prstGeom>
        </p:spPr>
        <p:txBody>
          <a:bodyPr vert="horz" lIns="0" tIns="0" rIns="0" bIns="0" rtlCol="0">
            <a:noAutofit/>
          </a:bodyPr>
          <a:lstStyle>
            <a:lvl1pPr marL="0" indent="0" algn="ctr" defTabSz="685800" rtl="0" eaLnBrk="1" fontAlgn="base" hangingPunct="1">
              <a:lnSpc>
                <a:spcPct val="90000"/>
              </a:lnSpc>
              <a:spcBef>
                <a:spcPts val="750"/>
              </a:spcBef>
              <a:spcAft>
                <a:spcPct val="0"/>
              </a:spcAft>
              <a:buClr>
                <a:schemeClr val="accent5"/>
              </a:buClr>
              <a:buFontTx/>
              <a:buNone/>
              <a:defRPr sz="16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342900" indent="0" algn="ctr" defTabSz="685800" rtl="0" eaLnBrk="1" fontAlgn="base" hangingPunct="1">
              <a:lnSpc>
                <a:spcPct val="90000"/>
              </a:lnSpc>
              <a:spcBef>
                <a:spcPts val="375"/>
              </a:spcBef>
              <a:spcAft>
                <a:spcPct val="0"/>
              </a:spcAft>
              <a:buClr>
                <a:schemeClr val="accent5"/>
              </a:buClr>
              <a:buFontTx/>
              <a:buNone/>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685800" indent="0" algn="ctr" defTabSz="685800" rtl="0" eaLnBrk="1" fontAlgn="base" hangingPunct="1">
              <a:lnSpc>
                <a:spcPct val="90000"/>
              </a:lnSpc>
              <a:spcBef>
                <a:spcPts val="375"/>
              </a:spcBef>
              <a:spcAft>
                <a:spcPct val="0"/>
              </a:spcAft>
              <a:buClr>
                <a:schemeClr val="accent5"/>
              </a:buClr>
              <a:buFontTx/>
              <a:buNone/>
              <a:defRPr sz="15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028700" indent="0" algn="ctr" defTabSz="685800" rtl="0" eaLnBrk="1" fontAlgn="base" hangingPunct="1">
              <a:lnSpc>
                <a:spcPct val="90000"/>
              </a:lnSpc>
              <a:spcBef>
                <a:spcPts val="375"/>
              </a:spcBef>
              <a:spcAft>
                <a:spcPct val="0"/>
              </a:spcAft>
              <a:buClr>
                <a:schemeClr val="accent5"/>
              </a:buClr>
              <a:buFontTx/>
              <a:buNone/>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1371600" indent="0" algn="ctr" defTabSz="685800" rtl="0" eaLnBrk="1" fontAlgn="base" hangingPunct="1">
              <a:lnSpc>
                <a:spcPct val="90000"/>
              </a:lnSpc>
              <a:spcBef>
                <a:spcPts val="375"/>
              </a:spcBef>
              <a:spcAft>
                <a:spcPct val="0"/>
              </a:spcAft>
              <a:buClr>
                <a:schemeClr val="accent5"/>
              </a:buClr>
              <a:buFontTx/>
              <a:buNone/>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783" rtl="0" eaLnBrk="1" fontAlgn="base" latinLnBrk="0" hangingPunct="1">
              <a:lnSpc>
                <a:spcPct val="90000"/>
              </a:lnSpc>
              <a:spcBef>
                <a:spcPts val="750"/>
              </a:spcBef>
              <a:spcAft>
                <a:spcPct val="0"/>
              </a:spcAft>
              <a:buClr>
                <a:srgbClr val="009845"/>
              </a:buClr>
              <a:buSzTx/>
              <a:buFontTx/>
              <a:buNone/>
              <a:tabLst/>
              <a:defRPr/>
            </a:pPr>
            <a:r>
              <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rPr>
              <a:t>Prescribe medication or change in lifestyle</a:t>
            </a:r>
          </a:p>
          <a:p>
            <a:pPr marL="0" marR="0" lvl="0" indent="0" algn="ctr" defTabSz="685783" rtl="0" eaLnBrk="1" fontAlgn="base" latinLnBrk="0" hangingPunct="1">
              <a:lnSpc>
                <a:spcPct val="90000"/>
              </a:lnSpc>
              <a:spcBef>
                <a:spcPts val="750"/>
              </a:spcBef>
              <a:spcAft>
                <a:spcPct val="0"/>
              </a:spcAft>
              <a:buClr>
                <a:srgbClr val="009845"/>
              </a:buClr>
              <a:buSzTx/>
              <a:buFontTx/>
              <a:buNone/>
              <a:tabLst/>
              <a:defRPr/>
            </a:pPr>
            <a:endPar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pic>
        <p:nvPicPr>
          <p:cNvPr id="74" name="Picture 73">
            <a:extLst>
              <a:ext uri="{FF2B5EF4-FFF2-40B4-BE49-F238E27FC236}">
                <a16:creationId xmlns:a16="http://schemas.microsoft.com/office/drawing/2014/main" id="{9BEAFEFC-4964-EAF6-1ACB-0EDC4F566935}"/>
              </a:ext>
            </a:extLst>
          </p:cNvPr>
          <p:cNvPicPr>
            <a:picLocks noChangeAspect="1"/>
          </p:cNvPicPr>
          <p:nvPr/>
        </p:nvPicPr>
        <p:blipFill>
          <a:blip r:embed="rId5"/>
          <a:stretch>
            <a:fillRect/>
          </a:stretch>
        </p:blipFill>
        <p:spPr>
          <a:xfrm>
            <a:off x="3093654" y="2375244"/>
            <a:ext cx="619237" cy="617220"/>
          </a:xfrm>
          <a:prstGeom prst="rect">
            <a:avLst/>
          </a:prstGeom>
        </p:spPr>
      </p:pic>
      <p:pic>
        <p:nvPicPr>
          <p:cNvPr id="75" name="Picture 74">
            <a:extLst>
              <a:ext uri="{FF2B5EF4-FFF2-40B4-BE49-F238E27FC236}">
                <a16:creationId xmlns:a16="http://schemas.microsoft.com/office/drawing/2014/main" id="{52575115-662D-77B1-47D2-18053FEB10FD}"/>
              </a:ext>
            </a:extLst>
          </p:cNvPr>
          <p:cNvPicPr>
            <a:picLocks noChangeAspect="1"/>
          </p:cNvPicPr>
          <p:nvPr/>
        </p:nvPicPr>
        <p:blipFill>
          <a:blip r:embed="rId6"/>
          <a:stretch>
            <a:fillRect/>
          </a:stretch>
        </p:blipFill>
        <p:spPr>
          <a:xfrm>
            <a:off x="7336911" y="2360105"/>
            <a:ext cx="619532" cy="617220"/>
          </a:xfrm>
          <a:prstGeom prst="rect">
            <a:avLst/>
          </a:prstGeom>
        </p:spPr>
      </p:pic>
      <p:pic>
        <p:nvPicPr>
          <p:cNvPr id="76" name="Picture 75">
            <a:extLst>
              <a:ext uri="{FF2B5EF4-FFF2-40B4-BE49-F238E27FC236}">
                <a16:creationId xmlns:a16="http://schemas.microsoft.com/office/drawing/2014/main" id="{7EE0B995-FFE6-830B-7021-27A31EB02B70}"/>
              </a:ext>
            </a:extLst>
          </p:cNvPr>
          <p:cNvPicPr>
            <a:picLocks noChangeAspect="1"/>
          </p:cNvPicPr>
          <p:nvPr/>
        </p:nvPicPr>
        <p:blipFill>
          <a:blip r:embed="rId7"/>
          <a:stretch>
            <a:fillRect/>
          </a:stretch>
        </p:blipFill>
        <p:spPr>
          <a:xfrm>
            <a:off x="5188784" y="2333195"/>
            <a:ext cx="617220" cy="617220"/>
          </a:xfrm>
          <a:prstGeom prst="rect">
            <a:avLst/>
          </a:prstGeom>
        </p:spPr>
      </p:pic>
    </p:spTree>
    <p:custDataLst>
      <p:tags r:id="rId1"/>
    </p:custDataLst>
    <p:extLst>
      <p:ext uri="{BB962C8B-B14F-4D97-AF65-F5344CB8AC3E}">
        <p14:creationId xmlns:p14="http://schemas.microsoft.com/office/powerpoint/2010/main" val="798459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subTnLst>
                                    <p:animClr clrSpc="rgb" dir="cw">
                                      <p:cBhvr override="childStyle">
                                        <p:cTn dur="1" fill="hold" display="0" masterRel="nextClick" afterEffect="1"/>
                                        <p:tgtEl>
                                          <p:spTgt spid="49"/>
                                        </p:tgtEl>
                                        <p:attrNameLst>
                                          <p:attrName>ppt_c</p:attrName>
                                        </p:attrNameLst>
                                      </p:cBhvr>
                                      <p:to>
                                        <a:srgbClr val="B2B2B2"/>
                                      </p:to>
                                    </p:animClr>
                                  </p:subTnLst>
                                </p:cTn>
                              </p:par>
                              <p:par>
                                <p:cTn id="7" presetID="1" presetClass="entr" presetSubtype="0" fill="hold" grpId="0" nodeType="withEffect">
                                  <p:stCondLst>
                                    <p:cond delay="0"/>
                                  </p:stCondLst>
                                  <p:childTnLst>
                                    <p:set>
                                      <p:cBhvr>
                                        <p:cTn id="8" dur="1" fill="hold">
                                          <p:stCondLst>
                                            <p:cond delay="0"/>
                                          </p:stCondLst>
                                        </p:cTn>
                                        <p:tgtEl>
                                          <p:spTgt spid="5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7"/>
                                        </p:tgtEl>
                                        <p:attrNameLst>
                                          <p:attrName>style.visibility</p:attrName>
                                        </p:attrNameLst>
                                      </p:cBhvr>
                                      <p:to>
                                        <p:strVal val="visible"/>
                                      </p:to>
                                    </p:set>
                                  </p:childTnLst>
                                  <p:subTnLst>
                                    <p:animClr clrSpc="rgb" dir="cw">
                                      <p:cBhvr override="childStyle">
                                        <p:cTn dur="1" fill="hold" display="0" masterRel="nextClick" afterEffect="1"/>
                                        <p:tgtEl>
                                          <p:spTgt spid="67"/>
                                        </p:tgtEl>
                                        <p:attrNameLst>
                                          <p:attrName>ppt_c</p:attrName>
                                        </p:attrNameLst>
                                      </p:cBhvr>
                                      <p:to>
                                        <a:schemeClr val="tx1"/>
                                      </p:to>
                                    </p:animClr>
                                  </p:subTnLst>
                                </p:cTn>
                              </p:par>
                              <p:par>
                                <p:cTn id="13" presetID="1" presetClass="entr" presetSubtype="0" fill="hold" grpId="0" nodeType="withEffect">
                                  <p:stCondLst>
                                    <p:cond delay="0"/>
                                  </p:stCondLst>
                                  <p:childTnLst>
                                    <p:set>
                                      <p:cBhvr>
                                        <p:cTn id="14" dur="1" fill="hold">
                                          <p:stCondLst>
                                            <p:cond delay="0"/>
                                          </p:stCondLst>
                                        </p:cTn>
                                        <p:tgtEl>
                                          <p:spTgt spid="6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0"/>
                                        </p:tgtEl>
                                        <p:attrNameLst>
                                          <p:attrName>style.visibility</p:attrName>
                                        </p:attrNameLst>
                                      </p:cBhvr>
                                      <p:to>
                                        <p:strVal val="visible"/>
                                      </p:to>
                                    </p:set>
                                  </p:childTnLst>
                                  <p:subTnLst>
                                    <p:animClr clrSpc="rgb" dir="cw">
                                      <p:cBhvr override="childStyle">
                                        <p:cTn dur="1" fill="hold" display="0" masterRel="nextClick" afterEffect="1"/>
                                        <p:tgtEl>
                                          <p:spTgt spid="50"/>
                                        </p:tgtEl>
                                        <p:attrNameLst>
                                          <p:attrName>ppt_c</p:attrName>
                                        </p:attrNameLst>
                                      </p:cBhvr>
                                      <p:to>
                                        <a:srgbClr val="B2B2B2"/>
                                      </p:to>
                                    </p:animClr>
                                  </p:subTnLst>
                                </p:cTn>
                              </p:par>
                              <p:par>
                                <p:cTn id="19" presetID="1" presetClass="entr" presetSubtype="0" fill="hold" grpId="0" nodeType="withEffect">
                                  <p:stCondLst>
                                    <p:cond delay="0"/>
                                  </p:stCondLst>
                                  <p:childTnLst>
                                    <p:set>
                                      <p:cBhvr>
                                        <p:cTn id="20" dur="1" fill="hold">
                                          <p:stCondLst>
                                            <p:cond delay="0"/>
                                          </p:stCondLst>
                                        </p:cTn>
                                        <p:tgtEl>
                                          <p:spTgt spid="5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4"/>
                                        </p:tgtEl>
                                        <p:attrNameLst>
                                          <p:attrName>style.visibility</p:attrName>
                                        </p:attrNameLst>
                                      </p:cBhvr>
                                      <p:to>
                                        <p:strVal val="visible"/>
                                      </p:to>
                                    </p:set>
                                  </p:childTnLst>
                                  <p:subTnLst>
                                    <p:animClr clrSpc="rgb" dir="cw">
                                      <p:cBhvr override="childStyle">
                                        <p:cTn dur="1" fill="hold" display="0" masterRel="nextClick" afterEffect="1"/>
                                        <p:tgtEl>
                                          <p:spTgt spid="74"/>
                                        </p:tgtEl>
                                        <p:attrNameLst>
                                          <p:attrName>ppt_c</p:attrName>
                                        </p:attrNameLst>
                                      </p:cBhvr>
                                      <p:to>
                                        <a:schemeClr val="tx1"/>
                                      </p:to>
                                    </p:animClr>
                                  </p:sub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2"/>
                                        </p:tgtEl>
                                        <p:attrNameLst>
                                          <p:attrName>style.visibility</p:attrName>
                                        </p:attrNameLst>
                                      </p:cBhvr>
                                      <p:to>
                                        <p:strVal val="visible"/>
                                      </p:to>
                                    </p:set>
                                  </p:childTnLst>
                                  <p:subTnLst>
                                    <p:animClr clrSpc="rgb" dir="cw">
                                      <p:cBhvr override="childStyle">
                                        <p:cTn dur="1" fill="hold" display="0" masterRel="nextClick" afterEffect="1"/>
                                        <p:tgtEl>
                                          <p:spTgt spid="52"/>
                                        </p:tgtEl>
                                        <p:attrNameLst>
                                          <p:attrName>ppt_c</p:attrName>
                                        </p:attrNameLst>
                                      </p:cBhvr>
                                      <p:to>
                                        <a:srgbClr val="B2B2B2"/>
                                      </p:to>
                                    </p:animClr>
                                  </p:subTnLst>
                                </p:cTn>
                              </p:par>
                              <p:par>
                                <p:cTn id="31" presetID="1"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7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6"/>
                                        </p:tgtEl>
                                        <p:attrNameLst>
                                          <p:attrName>style.visibility</p:attrName>
                                        </p:attrNameLst>
                                      </p:cBhvr>
                                      <p:to>
                                        <p:strVal val="visible"/>
                                      </p:to>
                                    </p:set>
                                  </p:childTnLst>
                                  <p:subTnLst>
                                    <p:animClr clrSpc="rgb" dir="cw">
                                      <p:cBhvr override="childStyle">
                                        <p:cTn dur="1" fill="hold" display="0" masterRel="nextClick" afterEffect="1"/>
                                        <p:tgtEl>
                                          <p:spTgt spid="76"/>
                                        </p:tgtEl>
                                        <p:attrNameLst>
                                          <p:attrName>ppt_c</p:attrName>
                                        </p:attrNameLst>
                                      </p:cBhvr>
                                      <p:to>
                                        <a:schemeClr val="tx1"/>
                                      </p:to>
                                    </p:animClr>
                                  </p:sub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1"/>
                                        </p:tgtEl>
                                        <p:attrNameLst>
                                          <p:attrName>style.visibility</p:attrName>
                                        </p:attrNameLst>
                                      </p:cBhvr>
                                      <p:to>
                                        <p:strVal val="visible"/>
                                      </p:to>
                                    </p:set>
                                  </p:childTnLst>
                                  <p:subTnLst>
                                    <p:animClr clrSpc="rgb" dir="cw">
                                      <p:cBhvr override="childStyle">
                                        <p:cTn dur="1" fill="hold" display="0" masterRel="nextClick" afterEffect="1"/>
                                        <p:tgtEl>
                                          <p:spTgt spid="51"/>
                                        </p:tgtEl>
                                        <p:attrNameLst>
                                          <p:attrName>ppt_c</p:attrName>
                                        </p:attrNameLst>
                                      </p:cBhvr>
                                      <p:to>
                                        <a:srgbClr val="B2B2B2"/>
                                      </p:to>
                                    </p:animClr>
                                  </p:subTnLst>
                                </p:cTn>
                              </p:par>
                              <p:par>
                                <p:cTn id="43" presetID="1" presetClass="entr" presetSubtype="0" fill="hold" grpId="0" nodeType="withEffect">
                                  <p:stCondLst>
                                    <p:cond delay="0"/>
                                  </p:stCondLst>
                                  <p:childTnLst>
                                    <p:set>
                                      <p:cBhvr>
                                        <p:cTn id="44" dur="1" fill="hold">
                                          <p:stCondLst>
                                            <p:cond delay="0"/>
                                          </p:stCondLst>
                                        </p:cTn>
                                        <p:tgtEl>
                                          <p:spTgt spid="6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7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75"/>
                                        </p:tgtEl>
                                        <p:attrNameLst>
                                          <p:attrName>style.visibility</p:attrName>
                                        </p:attrNameLst>
                                      </p:cBhvr>
                                      <p:to>
                                        <p:strVal val="visible"/>
                                      </p:to>
                                    </p:set>
                                  </p:childTnLst>
                                  <p:subTnLst>
                                    <p:animClr clrSpc="rgb" dir="cw">
                                      <p:cBhvr override="childStyle">
                                        <p:cTn dur="1" fill="hold" display="0" masterRel="nextClick" afterEffect="1"/>
                                        <p:tgtEl>
                                          <p:spTgt spid="75"/>
                                        </p:tgtEl>
                                        <p:attrNameLst>
                                          <p:attrName>ppt_c</p:attrName>
                                        </p:attrNameLst>
                                      </p:cBhvr>
                                      <p:to>
                                        <a:schemeClr val="tx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0" grpId="0" animBg="1"/>
      <p:bldP spid="51" grpId="0" animBg="1"/>
      <p:bldP spid="52" grpId="0" animBg="1"/>
      <p:bldP spid="53" grpId="0"/>
      <p:bldP spid="54" grpId="0"/>
      <p:bldP spid="55" grpId="0"/>
      <p:bldP spid="56" grpId="0"/>
      <p:bldP spid="57" grpId="0"/>
      <p:bldP spid="63" grpId="0"/>
      <p:bldP spid="64" grpId="0"/>
      <p:bldP spid="65" grpId="0"/>
      <p:bldP spid="68" grpId="0"/>
      <p:bldP spid="69" grpId="0"/>
      <p:bldP spid="71" grpId="0"/>
      <p:bldP spid="7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56C247-9F62-C257-3A3F-FCE1CAFF97A3}"/>
            </a:ext>
          </a:extLst>
        </p:cNvPr>
        <p:cNvGrpSpPr/>
        <p:nvPr/>
      </p:nvGrpSpPr>
      <p:grpSpPr>
        <a:xfrm>
          <a:off x="0" y="0"/>
          <a:ext cx="0" cy="0"/>
          <a:chOff x="0" y="0"/>
          <a:chExt cx="0" cy="0"/>
        </a:xfrm>
      </p:grpSpPr>
      <p:sp>
        <p:nvSpPr>
          <p:cNvPr id="16" name="Title 15">
            <a:extLst>
              <a:ext uri="{FF2B5EF4-FFF2-40B4-BE49-F238E27FC236}">
                <a16:creationId xmlns:a16="http://schemas.microsoft.com/office/drawing/2014/main" id="{98DCFC10-4723-AEE7-3544-2F8F53459E63}"/>
              </a:ext>
            </a:extLst>
          </p:cNvPr>
          <p:cNvSpPr>
            <a:spLocks noGrp="1"/>
          </p:cNvSpPr>
          <p:nvPr>
            <p:ph type="title"/>
          </p:nvPr>
        </p:nvSpPr>
        <p:spPr>
          <a:xfrm>
            <a:off x="495300" y="158361"/>
            <a:ext cx="8534400" cy="290849"/>
          </a:xfrm>
        </p:spPr>
        <p:txBody>
          <a:bodyPr/>
          <a:lstStyle/>
          <a:p>
            <a:pPr algn="l"/>
            <a:r>
              <a:rPr lang="en-US" sz="2100" dirty="0">
                <a:solidFill>
                  <a:srgbClr val="54565A"/>
                </a:solidFill>
              </a:rPr>
              <a:t>Example – Employee Productivity</a:t>
            </a:r>
          </a:p>
        </p:txBody>
      </p:sp>
      <p:sp>
        <p:nvSpPr>
          <p:cNvPr id="49" name="Oval 48">
            <a:extLst>
              <a:ext uri="{FF2B5EF4-FFF2-40B4-BE49-F238E27FC236}">
                <a16:creationId xmlns:a16="http://schemas.microsoft.com/office/drawing/2014/main" id="{D220C756-DAC6-6585-8A27-FF7CFE56351B}"/>
              </a:ext>
            </a:extLst>
          </p:cNvPr>
          <p:cNvSpPr/>
          <p:nvPr/>
        </p:nvSpPr>
        <p:spPr>
          <a:xfrm>
            <a:off x="691966" y="2072784"/>
            <a:ext cx="1290373" cy="1290373"/>
          </a:xfrm>
          <a:prstGeom prst="ellipse">
            <a:avLst/>
          </a:prstGeom>
          <a:solidFill>
            <a:schemeClr val="tx1">
              <a:lumMod val="40000"/>
              <a:lumOff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Oval 49">
            <a:extLst>
              <a:ext uri="{FF2B5EF4-FFF2-40B4-BE49-F238E27FC236}">
                <a16:creationId xmlns:a16="http://schemas.microsoft.com/office/drawing/2014/main" id="{0F4A9F3B-8E06-654E-FB78-FA8291DCA387}"/>
              </a:ext>
            </a:extLst>
          </p:cNvPr>
          <p:cNvSpPr/>
          <p:nvPr/>
        </p:nvSpPr>
        <p:spPr>
          <a:xfrm>
            <a:off x="2789940" y="2067201"/>
            <a:ext cx="1290373" cy="1290373"/>
          </a:xfrm>
          <a:prstGeom prst="ellipse">
            <a:avLst/>
          </a:prstGeom>
          <a:solidFill>
            <a:schemeClr val="tx1">
              <a:lumMod val="40000"/>
              <a:lumOff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1" name="Oval 50">
            <a:extLst>
              <a:ext uri="{FF2B5EF4-FFF2-40B4-BE49-F238E27FC236}">
                <a16:creationId xmlns:a16="http://schemas.microsoft.com/office/drawing/2014/main" id="{FA975D9F-B1F1-E170-B2EB-53652F94EFDC}"/>
              </a:ext>
            </a:extLst>
          </p:cNvPr>
          <p:cNvSpPr/>
          <p:nvPr/>
        </p:nvSpPr>
        <p:spPr>
          <a:xfrm>
            <a:off x="6988689" y="2057371"/>
            <a:ext cx="1290373" cy="1290373"/>
          </a:xfrm>
          <a:prstGeom prst="ellipse">
            <a:avLst/>
          </a:prstGeom>
          <a:solidFill>
            <a:schemeClr val="tx1">
              <a:lumMod val="40000"/>
              <a:lumOff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2" name="Oval 51">
            <a:extLst>
              <a:ext uri="{FF2B5EF4-FFF2-40B4-BE49-F238E27FC236}">
                <a16:creationId xmlns:a16="http://schemas.microsoft.com/office/drawing/2014/main" id="{ED79C95B-4BE5-CFAE-32EF-CC42CF373697}"/>
              </a:ext>
            </a:extLst>
          </p:cNvPr>
          <p:cNvSpPr/>
          <p:nvPr/>
        </p:nvSpPr>
        <p:spPr>
          <a:xfrm>
            <a:off x="4885928" y="2038792"/>
            <a:ext cx="1290373" cy="1290373"/>
          </a:xfrm>
          <a:prstGeom prst="ellipse">
            <a:avLst/>
          </a:prstGeom>
          <a:solidFill>
            <a:schemeClr val="tx1">
              <a:lumMod val="40000"/>
              <a:lumOff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3" name="Text Placeholder 25">
            <a:extLst>
              <a:ext uri="{FF2B5EF4-FFF2-40B4-BE49-F238E27FC236}">
                <a16:creationId xmlns:a16="http://schemas.microsoft.com/office/drawing/2014/main" id="{50532391-672A-D6CD-79F8-653BDF9B79A5}"/>
              </a:ext>
            </a:extLst>
          </p:cNvPr>
          <p:cNvSpPr txBox="1">
            <a:spLocks/>
          </p:cNvSpPr>
          <p:nvPr/>
        </p:nvSpPr>
        <p:spPr>
          <a:xfrm>
            <a:off x="501186" y="1315800"/>
            <a:ext cx="1506132" cy="744744"/>
          </a:xfrm>
          <a:prstGeom prst="rect">
            <a:avLst/>
          </a:prstGeom>
        </p:spPr>
        <p:txBody>
          <a:bodyPr/>
          <a:lstStyle>
            <a:lvl1pPr marL="228594" indent="-228594" algn="l" defTabSz="914377" rtl="0" eaLnBrk="1" fontAlgn="base" hangingPunct="1">
              <a:lnSpc>
                <a:spcPct val="90000"/>
              </a:lnSpc>
              <a:spcBef>
                <a:spcPts val="1000"/>
              </a:spcBef>
              <a:spcAft>
                <a:spcPct val="0"/>
              </a:spcAft>
              <a:buClr>
                <a:schemeClr val="accent5"/>
              </a:buClr>
              <a:buFont typeface="Arial" charset="0"/>
              <a:buChar char="•"/>
              <a:defRPr sz="28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685783" indent="-228594" algn="l" defTabSz="914377" rtl="0" eaLnBrk="1" fontAlgn="base" hangingPunct="1">
              <a:lnSpc>
                <a:spcPct val="90000"/>
              </a:lnSpc>
              <a:spcBef>
                <a:spcPts val="500"/>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1142971" indent="-228594" algn="l" defTabSz="914377" rtl="0" eaLnBrk="1" fontAlgn="base" hangingPunct="1">
              <a:lnSpc>
                <a:spcPct val="90000"/>
              </a:lnSpc>
              <a:spcBef>
                <a:spcPts val="500"/>
              </a:spcBef>
              <a:spcAft>
                <a:spcPct val="0"/>
              </a:spcAft>
              <a:buClr>
                <a:schemeClr val="accent5"/>
              </a:buClr>
              <a:buFont typeface="Arial" charset="0"/>
              <a:buChar char="•"/>
              <a:defRPr sz="20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600160"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2057349"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685783" rtl="0" eaLnBrk="1" fontAlgn="base" latinLnBrk="0" hangingPunct="1">
              <a:lnSpc>
                <a:spcPct val="90000"/>
              </a:lnSpc>
              <a:spcBef>
                <a:spcPts val="750"/>
              </a:spcBef>
              <a:spcAft>
                <a:spcPct val="0"/>
              </a:spcAft>
              <a:buClr>
                <a:srgbClr val="009845"/>
              </a:buClr>
              <a:buSzTx/>
              <a:buFont typeface="Arial" charset="0"/>
              <a:buNone/>
              <a:tabLst/>
              <a:defRPr/>
            </a:pPr>
            <a:r>
              <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rPr>
              <a:t>What Happened?</a:t>
            </a:r>
          </a:p>
          <a:p>
            <a:pPr marL="0" marR="0" lvl="0" indent="0" algn="ctr" defTabSz="685783" rtl="0" eaLnBrk="1" fontAlgn="base" latinLnBrk="0" hangingPunct="1">
              <a:lnSpc>
                <a:spcPct val="90000"/>
              </a:lnSpc>
              <a:spcBef>
                <a:spcPts val="750"/>
              </a:spcBef>
              <a:spcAft>
                <a:spcPct val="0"/>
              </a:spcAft>
              <a:buClr>
                <a:srgbClr val="009845"/>
              </a:buClr>
              <a:buSzTx/>
              <a:buFont typeface="Arial" charset="0"/>
              <a:buNone/>
              <a:tabLst/>
              <a:defRPr/>
            </a:pPr>
            <a:endPar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54" name="Text Placeholder 27">
            <a:extLst>
              <a:ext uri="{FF2B5EF4-FFF2-40B4-BE49-F238E27FC236}">
                <a16:creationId xmlns:a16="http://schemas.microsoft.com/office/drawing/2014/main" id="{4AF86150-8E80-DA74-DF58-3660EB7D2190}"/>
              </a:ext>
            </a:extLst>
          </p:cNvPr>
          <p:cNvSpPr txBox="1">
            <a:spLocks/>
          </p:cNvSpPr>
          <p:nvPr/>
        </p:nvSpPr>
        <p:spPr>
          <a:xfrm>
            <a:off x="660116" y="1053247"/>
            <a:ext cx="1506132" cy="231732"/>
          </a:xfrm>
          <a:prstGeom prst="rect">
            <a:avLst/>
          </a:prstGeom>
        </p:spPr>
        <p:txBody>
          <a:bodyPr/>
          <a:lstStyle>
            <a:lvl1pPr marL="228594" indent="-228594" algn="l" defTabSz="914377" rtl="0" eaLnBrk="1" fontAlgn="base" hangingPunct="1">
              <a:lnSpc>
                <a:spcPct val="90000"/>
              </a:lnSpc>
              <a:spcBef>
                <a:spcPts val="1000"/>
              </a:spcBef>
              <a:spcAft>
                <a:spcPct val="0"/>
              </a:spcAft>
              <a:buClr>
                <a:schemeClr val="accent5"/>
              </a:buClr>
              <a:buFont typeface="Arial" charset="0"/>
              <a:buChar char="•"/>
              <a:defRPr sz="28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685783" indent="-228594" algn="l" defTabSz="914377" rtl="0" eaLnBrk="1" fontAlgn="base" hangingPunct="1">
              <a:lnSpc>
                <a:spcPct val="90000"/>
              </a:lnSpc>
              <a:spcBef>
                <a:spcPts val="500"/>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1142971" indent="-228594" algn="l" defTabSz="914377" rtl="0" eaLnBrk="1" fontAlgn="base" hangingPunct="1">
              <a:lnSpc>
                <a:spcPct val="90000"/>
              </a:lnSpc>
              <a:spcBef>
                <a:spcPts val="500"/>
              </a:spcBef>
              <a:spcAft>
                <a:spcPct val="0"/>
              </a:spcAft>
              <a:buClr>
                <a:schemeClr val="accent5"/>
              </a:buClr>
              <a:buFont typeface="Arial" charset="0"/>
              <a:buChar char="•"/>
              <a:defRPr sz="20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600160"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2057349"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base" latinLnBrk="0" hangingPunct="1">
              <a:lnSpc>
                <a:spcPct val="90000"/>
              </a:lnSpc>
              <a:spcBef>
                <a:spcPts val="750"/>
              </a:spcBef>
              <a:spcAft>
                <a:spcPct val="0"/>
              </a:spcAft>
              <a:buClr>
                <a:srgbClr val="009845"/>
              </a:buClr>
              <a:buSzTx/>
              <a:buFont typeface="Arial" charset="0"/>
              <a:buNone/>
              <a:tabLst/>
              <a:defRPr/>
            </a:pPr>
            <a:r>
              <a:rPr kumimoji="0" lang="en-US" sz="1500" b="1"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rPr>
              <a:t>Descriptive</a:t>
            </a:r>
          </a:p>
          <a:p>
            <a:pPr marL="0" marR="0" lvl="0" indent="0" algn="l" defTabSz="685783" rtl="0" eaLnBrk="1" fontAlgn="base" latinLnBrk="0" hangingPunct="1">
              <a:lnSpc>
                <a:spcPct val="90000"/>
              </a:lnSpc>
              <a:spcBef>
                <a:spcPts val="750"/>
              </a:spcBef>
              <a:spcAft>
                <a:spcPct val="0"/>
              </a:spcAft>
              <a:buClr>
                <a:srgbClr val="009845"/>
              </a:buClr>
              <a:buSzTx/>
              <a:buFont typeface="Arial" charset="0"/>
              <a:buNone/>
              <a:tabLst/>
              <a:defRPr/>
            </a:pPr>
            <a:endParaRPr kumimoji="0" lang="en-US" sz="1500" b="1"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55" name="Text Placeholder 56">
            <a:extLst>
              <a:ext uri="{FF2B5EF4-FFF2-40B4-BE49-F238E27FC236}">
                <a16:creationId xmlns:a16="http://schemas.microsoft.com/office/drawing/2014/main" id="{E8A6D227-D836-7937-C532-3126B6C83324}"/>
              </a:ext>
            </a:extLst>
          </p:cNvPr>
          <p:cNvSpPr txBox="1">
            <a:spLocks/>
          </p:cNvSpPr>
          <p:nvPr/>
        </p:nvSpPr>
        <p:spPr>
          <a:xfrm>
            <a:off x="2686659" y="1315800"/>
            <a:ext cx="1506132" cy="744744"/>
          </a:xfrm>
          <a:prstGeom prst="rect">
            <a:avLst/>
          </a:prstGeom>
        </p:spPr>
        <p:txBody>
          <a:bodyPr/>
          <a:lstStyle>
            <a:lvl1pPr marL="228594" indent="-228594" algn="l" defTabSz="914377" rtl="0" eaLnBrk="1" fontAlgn="base" hangingPunct="1">
              <a:lnSpc>
                <a:spcPct val="90000"/>
              </a:lnSpc>
              <a:spcBef>
                <a:spcPts val="1000"/>
              </a:spcBef>
              <a:spcAft>
                <a:spcPct val="0"/>
              </a:spcAft>
              <a:buClr>
                <a:schemeClr val="accent5"/>
              </a:buClr>
              <a:buFont typeface="Arial" charset="0"/>
              <a:buChar char="•"/>
              <a:defRPr sz="28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685783" indent="-228594" algn="l" defTabSz="914377" rtl="0" eaLnBrk="1" fontAlgn="base" hangingPunct="1">
              <a:lnSpc>
                <a:spcPct val="90000"/>
              </a:lnSpc>
              <a:spcBef>
                <a:spcPts val="500"/>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1142971" indent="-228594" algn="l" defTabSz="914377" rtl="0" eaLnBrk="1" fontAlgn="base" hangingPunct="1">
              <a:lnSpc>
                <a:spcPct val="90000"/>
              </a:lnSpc>
              <a:spcBef>
                <a:spcPts val="500"/>
              </a:spcBef>
              <a:spcAft>
                <a:spcPct val="0"/>
              </a:spcAft>
              <a:buClr>
                <a:schemeClr val="accent5"/>
              </a:buClr>
              <a:buFont typeface="Arial" charset="0"/>
              <a:buChar char="•"/>
              <a:defRPr sz="20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600160"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2057349"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685783" rtl="0" eaLnBrk="1" fontAlgn="base" latinLnBrk="0" hangingPunct="1">
              <a:lnSpc>
                <a:spcPct val="90000"/>
              </a:lnSpc>
              <a:spcBef>
                <a:spcPts val="750"/>
              </a:spcBef>
              <a:spcAft>
                <a:spcPct val="0"/>
              </a:spcAft>
              <a:buClr>
                <a:srgbClr val="009845"/>
              </a:buClr>
              <a:buSzTx/>
              <a:buFont typeface="Arial" charset="0"/>
              <a:buNone/>
              <a:tabLst/>
              <a:defRPr/>
            </a:pPr>
            <a:r>
              <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rPr>
              <a:t>Why did it happen?</a:t>
            </a:r>
          </a:p>
          <a:p>
            <a:pPr marL="0" marR="0" lvl="0" indent="0" algn="ctr" defTabSz="685783" rtl="0" eaLnBrk="1" fontAlgn="base" latinLnBrk="0" hangingPunct="1">
              <a:lnSpc>
                <a:spcPct val="90000"/>
              </a:lnSpc>
              <a:spcBef>
                <a:spcPts val="750"/>
              </a:spcBef>
              <a:spcAft>
                <a:spcPct val="0"/>
              </a:spcAft>
              <a:buClr>
                <a:srgbClr val="009845"/>
              </a:buClr>
              <a:buSzTx/>
              <a:buFont typeface="Arial" charset="0"/>
              <a:buNone/>
              <a:tabLst/>
              <a:defRPr/>
            </a:pPr>
            <a:endPar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56" name="Text Placeholder 58">
            <a:extLst>
              <a:ext uri="{FF2B5EF4-FFF2-40B4-BE49-F238E27FC236}">
                <a16:creationId xmlns:a16="http://schemas.microsoft.com/office/drawing/2014/main" id="{E1264800-4B1A-9C0C-E3E7-723738B4AE3A}"/>
              </a:ext>
            </a:extLst>
          </p:cNvPr>
          <p:cNvSpPr txBox="1">
            <a:spLocks/>
          </p:cNvSpPr>
          <p:nvPr/>
        </p:nvSpPr>
        <p:spPr>
          <a:xfrm>
            <a:off x="2871591" y="1053247"/>
            <a:ext cx="1506132" cy="231732"/>
          </a:xfrm>
          <a:prstGeom prst="rect">
            <a:avLst/>
          </a:prstGeom>
        </p:spPr>
        <p:txBody>
          <a:bodyPr/>
          <a:lstStyle>
            <a:lvl1pPr marL="228594" indent="-228594" algn="l" defTabSz="914377" rtl="0" eaLnBrk="1" fontAlgn="base" hangingPunct="1">
              <a:lnSpc>
                <a:spcPct val="90000"/>
              </a:lnSpc>
              <a:spcBef>
                <a:spcPts val="1000"/>
              </a:spcBef>
              <a:spcAft>
                <a:spcPct val="0"/>
              </a:spcAft>
              <a:buClr>
                <a:schemeClr val="accent5"/>
              </a:buClr>
              <a:buFont typeface="Arial" charset="0"/>
              <a:buChar char="•"/>
              <a:defRPr sz="28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685783" indent="-228594" algn="l" defTabSz="914377" rtl="0" eaLnBrk="1" fontAlgn="base" hangingPunct="1">
              <a:lnSpc>
                <a:spcPct val="90000"/>
              </a:lnSpc>
              <a:spcBef>
                <a:spcPts val="500"/>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1142971" indent="-228594" algn="l" defTabSz="914377" rtl="0" eaLnBrk="1" fontAlgn="base" hangingPunct="1">
              <a:lnSpc>
                <a:spcPct val="90000"/>
              </a:lnSpc>
              <a:spcBef>
                <a:spcPts val="500"/>
              </a:spcBef>
              <a:spcAft>
                <a:spcPct val="0"/>
              </a:spcAft>
              <a:buClr>
                <a:schemeClr val="accent5"/>
              </a:buClr>
              <a:buFont typeface="Arial" charset="0"/>
              <a:buChar char="•"/>
              <a:defRPr sz="20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600160"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2057349"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base" latinLnBrk="0" hangingPunct="1">
              <a:lnSpc>
                <a:spcPct val="90000"/>
              </a:lnSpc>
              <a:spcBef>
                <a:spcPts val="750"/>
              </a:spcBef>
              <a:spcAft>
                <a:spcPct val="0"/>
              </a:spcAft>
              <a:buClr>
                <a:srgbClr val="009845"/>
              </a:buClr>
              <a:buSzTx/>
              <a:buFont typeface="Arial" charset="0"/>
              <a:buNone/>
              <a:tabLst/>
              <a:defRPr/>
            </a:pPr>
            <a:r>
              <a:rPr kumimoji="0" lang="en-US" sz="1500" b="1"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rPr>
              <a:t>Diagnostic</a:t>
            </a:r>
          </a:p>
          <a:p>
            <a:pPr marL="0" marR="0" lvl="0" indent="0" algn="l" defTabSz="685783" rtl="0" eaLnBrk="1" fontAlgn="base" latinLnBrk="0" hangingPunct="1">
              <a:lnSpc>
                <a:spcPct val="90000"/>
              </a:lnSpc>
              <a:spcBef>
                <a:spcPts val="750"/>
              </a:spcBef>
              <a:spcAft>
                <a:spcPct val="0"/>
              </a:spcAft>
              <a:buClr>
                <a:srgbClr val="009845"/>
              </a:buClr>
              <a:buSzTx/>
              <a:buFont typeface="Arial" charset="0"/>
              <a:buNone/>
              <a:tabLst/>
              <a:defRPr/>
            </a:pPr>
            <a:endParaRPr kumimoji="0" lang="en-US" sz="1500" b="1"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57" name="Text Placeholder 60">
            <a:extLst>
              <a:ext uri="{FF2B5EF4-FFF2-40B4-BE49-F238E27FC236}">
                <a16:creationId xmlns:a16="http://schemas.microsoft.com/office/drawing/2014/main" id="{DA9F1B81-01B3-94FC-8ECE-36C5A04B6DB7}"/>
              </a:ext>
            </a:extLst>
          </p:cNvPr>
          <p:cNvSpPr txBox="1">
            <a:spLocks/>
          </p:cNvSpPr>
          <p:nvPr/>
        </p:nvSpPr>
        <p:spPr>
          <a:xfrm>
            <a:off x="4778506" y="1284978"/>
            <a:ext cx="1506132" cy="744744"/>
          </a:xfrm>
          <a:prstGeom prst="rect">
            <a:avLst/>
          </a:prstGeom>
        </p:spPr>
        <p:txBody>
          <a:bodyPr/>
          <a:lstStyle>
            <a:lvl1pPr marL="228594" indent="-228594" algn="l" defTabSz="914377" rtl="0" eaLnBrk="1" fontAlgn="base" hangingPunct="1">
              <a:lnSpc>
                <a:spcPct val="90000"/>
              </a:lnSpc>
              <a:spcBef>
                <a:spcPts val="1000"/>
              </a:spcBef>
              <a:spcAft>
                <a:spcPct val="0"/>
              </a:spcAft>
              <a:buClr>
                <a:schemeClr val="accent5"/>
              </a:buClr>
              <a:buFont typeface="Arial" charset="0"/>
              <a:buChar char="•"/>
              <a:defRPr sz="28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685783" indent="-228594" algn="l" defTabSz="914377" rtl="0" eaLnBrk="1" fontAlgn="base" hangingPunct="1">
              <a:lnSpc>
                <a:spcPct val="90000"/>
              </a:lnSpc>
              <a:spcBef>
                <a:spcPts val="500"/>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1142971" indent="-228594" algn="l" defTabSz="914377" rtl="0" eaLnBrk="1" fontAlgn="base" hangingPunct="1">
              <a:lnSpc>
                <a:spcPct val="90000"/>
              </a:lnSpc>
              <a:spcBef>
                <a:spcPts val="500"/>
              </a:spcBef>
              <a:spcAft>
                <a:spcPct val="0"/>
              </a:spcAft>
              <a:buClr>
                <a:schemeClr val="accent5"/>
              </a:buClr>
              <a:buFont typeface="Arial" charset="0"/>
              <a:buChar char="•"/>
              <a:defRPr sz="20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600160"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2057349"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685783" rtl="0" eaLnBrk="1" fontAlgn="base" latinLnBrk="0" hangingPunct="1">
              <a:lnSpc>
                <a:spcPct val="90000"/>
              </a:lnSpc>
              <a:spcBef>
                <a:spcPts val="750"/>
              </a:spcBef>
              <a:spcAft>
                <a:spcPct val="0"/>
              </a:spcAft>
              <a:buClr>
                <a:srgbClr val="009845"/>
              </a:buClr>
              <a:buSzTx/>
              <a:buFont typeface="Arial" charset="0"/>
              <a:buNone/>
              <a:tabLst/>
              <a:defRPr/>
            </a:pPr>
            <a:r>
              <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rPr>
              <a:t>What will happen?</a:t>
            </a:r>
          </a:p>
          <a:p>
            <a:pPr marL="0" marR="0" lvl="0" indent="0" algn="ctr" defTabSz="685783" rtl="0" eaLnBrk="1" fontAlgn="base" latinLnBrk="0" hangingPunct="1">
              <a:lnSpc>
                <a:spcPct val="90000"/>
              </a:lnSpc>
              <a:spcBef>
                <a:spcPts val="750"/>
              </a:spcBef>
              <a:spcAft>
                <a:spcPct val="0"/>
              </a:spcAft>
              <a:buClr>
                <a:srgbClr val="009845"/>
              </a:buClr>
              <a:buSzTx/>
              <a:buFont typeface="Arial" charset="0"/>
              <a:buNone/>
              <a:tabLst/>
              <a:defRPr/>
            </a:pPr>
            <a:endPar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3" name="Text Placeholder 62">
            <a:extLst>
              <a:ext uri="{FF2B5EF4-FFF2-40B4-BE49-F238E27FC236}">
                <a16:creationId xmlns:a16="http://schemas.microsoft.com/office/drawing/2014/main" id="{378865AA-7946-EFF2-CA80-6F8702E5FBA3}"/>
              </a:ext>
            </a:extLst>
          </p:cNvPr>
          <p:cNvSpPr txBox="1">
            <a:spLocks/>
          </p:cNvSpPr>
          <p:nvPr/>
        </p:nvSpPr>
        <p:spPr>
          <a:xfrm>
            <a:off x="5017379" y="1053247"/>
            <a:ext cx="1506132" cy="231732"/>
          </a:xfrm>
          <a:prstGeom prst="rect">
            <a:avLst/>
          </a:prstGeom>
        </p:spPr>
        <p:txBody>
          <a:bodyPr/>
          <a:lstStyle>
            <a:lvl1pPr marL="228594" indent="-228594" algn="l" defTabSz="914377" rtl="0" eaLnBrk="1" fontAlgn="base" hangingPunct="1">
              <a:lnSpc>
                <a:spcPct val="90000"/>
              </a:lnSpc>
              <a:spcBef>
                <a:spcPts val="1000"/>
              </a:spcBef>
              <a:spcAft>
                <a:spcPct val="0"/>
              </a:spcAft>
              <a:buClr>
                <a:schemeClr val="accent5"/>
              </a:buClr>
              <a:buFont typeface="Arial" charset="0"/>
              <a:buChar char="•"/>
              <a:defRPr sz="28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685783" indent="-228594" algn="l" defTabSz="914377" rtl="0" eaLnBrk="1" fontAlgn="base" hangingPunct="1">
              <a:lnSpc>
                <a:spcPct val="90000"/>
              </a:lnSpc>
              <a:spcBef>
                <a:spcPts val="500"/>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1142971" indent="-228594" algn="l" defTabSz="914377" rtl="0" eaLnBrk="1" fontAlgn="base" hangingPunct="1">
              <a:lnSpc>
                <a:spcPct val="90000"/>
              </a:lnSpc>
              <a:spcBef>
                <a:spcPts val="500"/>
              </a:spcBef>
              <a:spcAft>
                <a:spcPct val="0"/>
              </a:spcAft>
              <a:buClr>
                <a:schemeClr val="accent5"/>
              </a:buClr>
              <a:buFont typeface="Arial" charset="0"/>
              <a:buChar char="•"/>
              <a:defRPr sz="20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600160"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2057349"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base" latinLnBrk="0" hangingPunct="1">
              <a:lnSpc>
                <a:spcPct val="90000"/>
              </a:lnSpc>
              <a:spcBef>
                <a:spcPts val="750"/>
              </a:spcBef>
              <a:spcAft>
                <a:spcPct val="0"/>
              </a:spcAft>
              <a:buClr>
                <a:srgbClr val="009845"/>
              </a:buClr>
              <a:buSzTx/>
              <a:buFont typeface="Arial" charset="0"/>
              <a:buNone/>
              <a:tabLst/>
              <a:defRPr/>
            </a:pPr>
            <a:r>
              <a:rPr kumimoji="0" lang="en-US" sz="1500" b="1"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rPr>
              <a:t>Predictive</a:t>
            </a:r>
          </a:p>
          <a:p>
            <a:pPr marL="0" marR="0" lvl="0" indent="0" algn="l" defTabSz="685783" rtl="0" eaLnBrk="1" fontAlgn="base" latinLnBrk="0" hangingPunct="1">
              <a:lnSpc>
                <a:spcPct val="90000"/>
              </a:lnSpc>
              <a:spcBef>
                <a:spcPts val="750"/>
              </a:spcBef>
              <a:spcAft>
                <a:spcPct val="0"/>
              </a:spcAft>
              <a:buClr>
                <a:srgbClr val="009845"/>
              </a:buClr>
              <a:buSzTx/>
              <a:buFont typeface="Arial" charset="0"/>
              <a:buNone/>
              <a:tabLst/>
              <a:defRPr/>
            </a:pPr>
            <a:endParaRPr kumimoji="0" lang="en-US" sz="1500" b="1"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4" name="Text Placeholder 64">
            <a:extLst>
              <a:ext uri="{FF2B5EF4-FFF2-40B4-BE49-F238E27FC236}">
                <a16:creationId xmlns:a16="http://schemas.microsoft.com/office/drawing/2014/main" id="{14DF149C-9AAA-C8AC-7C58-35DE1480676A}"/>
              </a:ext>
            </a:extLst>
          </p:cNvPr>
          <p:cNvSpPr txBox="1">
            <a:spLocks/>
          </p:cNvSpPr>
          <p:nvPr/>
        </p:nvSpPr>
        <p:spPr>
          <a:xfrm>
            <a:off x="6851564" y="1284978"/>
            <a:ext cx="1506132" cy="744744"/>
          </a:xfrm>
          <a:prstGeom prst="rect">
            <a:avLst/>
          </a:prstGeom>
        </p:spPr>
        <p:txBody>
          <a:bodyPr/>
          <a:lstStyle>
            <a:lvl1pPr marL="228594" indent="-228594" algn="l" defTabSz="914377" rtl="0" eaLnBrk="1" fontAlgn="base" hangingPunct="1">
              <a:lnSpc>
                <a:spcPct val="90000"/>
              </a:lnSpc>
              <a:spcBef>
                <a:spcPts val="1000"/>
              </a:spcBef>
              <a:spcAft>
                <a:spcPct val="0"/>
              </a:spcAft>
              <a:buClr>
                <a:schemeClr val="accent5"/>
              </a:buClr>
              <a:buFont typeface="Arial" charset="0"/>
              <a:buChar char="•"/>
              <a:defRPr sz="28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685783" indent="-228594" algn="l" defTabSz="914377" rtl="0" eaLnBrk="1" fontAlgn="base" hangingPunct="1">
              <a:lnSpc>
                <a:spcPct val="90000"/>
              </a:lnSpc>
              <a:spcBef>
                <a:spcPts val="500"/>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1142971" indent="-228594" algn="l" defTabSz="914377" rtl="0" eaLnBrk="1" fontAlgn="base" hangingPunct="1">
              <a:lnSpc>
                <a:spcPct val="90000"/>
              </a:lnSpc>
              <a:spcBef>
                <a:spcPts val="500"/>
              </a:spcBef>
              <a:spcAft>
                <a:spcPct val="0"/>
              </a:spcAft>
              <a:buClr>
                <a:schemeClr val="accent5"/>
              </a:buClr>
              <a:buFont typeface="Arial" charset="0"/>
              <a:buChar char="•"/>
              <a:defRPr sz="20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600160"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2057349"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685783" rtl="0" eaLnBrk="1" fontAlgn="base" latinLnBrk="0" hangingPunct="1">
              <a:lnSpc>
                <a:spcPct val="90000"/>
              </a:lnSpc>
              <a:spcBef>
                <a:spcPts val="750"/>
              </a:spcBef>
              <a:spcAft>
                <a:spcPct val="0"/>
              </a:spcAft>
              <a:buClr>
                <a:srgbClr val="009845"/>
              </a:buClr>
              <a:buSzTx/>
              <a:buFont typeface="Arial" charset="0"/>
              <a:buNone/>
              <a:tabLst/>
              <a:defRPr/>
            </a:pPr>
            <a:r>
              <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rPr>
              <a:t>What action to take?</a:t>
            </a:r>
          </a:p>
          <a:p>
            <a:pPr marL="0" marR="0" lvl="0" indent="0" algn="ctr" defTabSz="685783" rtl="0" eaLnBrk="1" fontAlgn="base" latinLnBrk="0" hangingPunct="1">
              <a:lnSpc>
                <a:spcPct val="90000"/>
              </a:lnSpc>
              <a:spcBef>
                <a:spcPts val="750"/>
              </a:spcBef>
              <a:spcAft>
                <a:spcPct val="0"/>
              </a:spcAft>
              <a:buClr>
                <a:srgbClr val="009845"/>
              </a:buClr>
              <a:buSzTx/>
              <a:buFont typeface="Arial" charset="0"/>
              <a:buNone/>
              <a:tabLst/>
              <a:defRPr/>
            </a:pPr>
            <a:endParaRPr kumimoji="0" lang="en-US" sz="15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5" name="Text Placeholder 66">
            <a:extLst>
              <a:ext uri="{FF2B5EF4-FFF2-40B4-BE49-F238E27FC236}">
                <a16:creationId xmlns:a16="http://schemas.microsoft.com/office/drawing/2014/main" id="{7789CE8C-62C5-CB09-24C1-B10240EB1E23}"/>
              </a:ext>
            </a:extLst>
          </p:cNvPr>
          <p:cNvSpPr txBox="1">
            <a:spLocks/>
          </p:cNvSpPr>
          <p:nvPr/>
        </p:nvSpPr>
        <p:spPr>
          <a:xfrm>
            <a:off x="6990263" y="1053247"/>
            <a:ext cx="1506132" cy="231732"/>
          </a:xfrm>
          <a:prstGeom prst="rect">
            <a:avLst/>
          </a:prstGeom>
        </p:spPr>
        <p:txBody>
          <a:bodyPr/>
          <a:lstStyle>
            <a:lvl1pPr marL="228594" indent="-228594" algn="l" defTabSz="914377" rtl="0" eaLnBrk="1" fontAlgn="base" hangingPunct="1">
              <a:lnSpc>
                <a:spcPct val="90000"/>
              </a:lnSpc>
              <a:spcBef>
                <a:spcPts val="1000"/>
              </a:spcBef>
              <a:spcAft>
                <a:spcPct val="0"/>
              </a:spcAft>
              <a:buClr>
                <a:schemeClr val="accent5"/>
              </a:buClr>
              <a:buFont typeface="Arial" charset="0"/>
              <a:buChar char="•"/>
              <a:defRPr sz="28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685783" indent="-228594" algn="l" defTabSz="914377" rtl="0" eaLnBrk="1" fontAlgn="base" hangingPunct="1">
              <a:lnSpc>
                <a:spcPct val="90000"/>
              </a:lnSpc>
              <a:spcBef>
                <a:spcPts val="500"/>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1142971" indent="-228594" algn="l" defTabSz="914377" rtl="0" eaLnBrk="1" fontAlgn="base" hangingPunct="1">
              <a:lnSpc>
                <a:spcPct val="90000"/>
              </a:lnSpc>
              <a:spcBef>
                <a:spcPts val="500"/>
              </a:spcBef>
              <a:spcAft>
                <a:spcPct val="0"/>
              </a:spcAft>
              <a:buClr>
                <a:schemeClr val="accent5"/>
              </a:buClr>
              <a:buFont typeface="Arial" charset="0"/>
              <a:buChar char="•"/>
              <a:defRPr sz="20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600160"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2057349"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783" rtl="0" eaLnBrk="1" fontAlgn="base" latinLnBrk="0" hangingPunct="1">
              <a:lnSpc>
                <a:spcPct val="90000"/>
              </a:lnSpc>
              <a:spcBef>
                <a:spcPts val="750"/>
              </a:spcBef>
              <a:spcAft>
                <a:spcPct val="0"/>
              </a:spcAft>
              <a:buClr>
                <a:srgbClr val="009845"/>
              </a:buClr>
              <a:buSzTx/>
              <a:buFont typeface="Arial" charset="0"/>
              <a:buNone/>
              <a:tabLst/>
              <a:defRPr/>
            </a:pPr>
            <a:r>
              <a:rPr kumimoji="0" lang="en-US" sz="1500" b="1"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rPr>
              <a:t>Prescriptive</a:t>
            </a:r>
          </a:p>
          <a:p>
            <a:pPr marL="0" marR="0" lvl="0" indent="0" algn="l" defTabSz="685783" rtl="0" eaLnBrk="1" fontAlgn="base" latinLnBrk="0" hangingPunct="1">
              <a:lnSpc>
                <a:spcPct val="90000"/>
              </a:lnSpc>
              <a:spcBef>
                <a:spcPts val="750"/>
              </a:spcBef>
              <a:spcAft>
                <a:spcPct val="0"/>
              </a:spcAft>
              <a:buClr>
                <a:srgbClr val="009845"/>
              </a:buClr>
              <a:buSzTx/>
              <a:buFont typeface="Arial" charset="0"/>
              <a:buNone/>
              <a:tabLst/>
              <a:defRPr/>
            </a:pPr>
            <a:endParaRPr kumimoji="0" lang="en-US" sz="1500" b="1"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pic>
        <p:nvPicPr>
          <p:cNvPr id="67" name="Picture 66">
            <a:extLst>
              <a:ext uri="{FF2B5EF4-FFF2-40B4-BE49-F238E27FC236}">
                <a16:creationId xmlns:a16="http://schemas.microsoft.com/office/drawing/2014/main" id="{BCAA7E3A-638A-674B-97F7-42CF0C9646E0}"/>
              </a:ext>
            </a:extLst>
          </p:cNvPr>
          <p:cNvPicPr>
            <a:picLocks noChangeAspect="1"/>
          </p:cNvPicPr>
          <p:nvPr/>
        </p:nvPicPr>
        <p:blipFill>
          <a:blip r:embed="rId4"/>
          <a:stretch>
            <a:fillRect/>
          </a:stretch>
        </p:blipFill>
        <p:spPr>
          <a:xfrm>
            <a:off x="957408" y="2409506"/>
            <a:ext cx="753100" cy="617220"/>
          </a:xfrm>
          <a:prstGeom prst="rect">
            <a:avLst/>
          </a:prstGeom>
        </p:spPr>
      </p:pic>
      <p:sp>
        <p:nvSpPr>
          <p:cNvPr id="68" name="Text Placeholder 25">
            <a:extLst>
              <a:ext uri="{FF2B5EF4-FFF2-40B4-BE49-F238E27FC236}">
                <a16:creationId xmlns:a16="http://schemas.microsoft.com/office/drawing/2014/main" id="{C8159BBC-9486-686E-1BD0-B420B8AA6C03}"/>
              </a:ext>
            </a:extLst>
          </p:cNvPr>
          <p:cNvSpPr txBox="1">
            <a:spLocks/>
          </p:cNvSpPr>
          <p:nvPr/>
        </p:nvSpPr>
        <p:spPr>
          <a:xfrm>
            <a:off x="584085" y="3620634"/>
            <a:ext cx="1506132" cy="744744"/>
          </a:xfrm>
          <a:prstGeom prst="rect">
            <a:avLst/>
          </a:prstGeom>
        </p:spPr>
        <p:txBody>
          <a:bodyPr vert="horz" lIns="0" tIns="0" rIns="0" bIns="0" rtlCol="0">
            <a:noAutofit/>
          </a:bodyPr>
          <a:lstStyle>
            <a:lvl1pPr marL="0" indent="0" algn="ctr" defTabSz="685800" rtl="0" eaLnBrk="1" fontAlgn="base" hangingPunct="1">
              <a:lnSpc>
                <a:spcPct val="90000"/>
              </a:lnSpc>
              <a:spcBef>
                <a:spcPts val="750"/>
              </a:spcBef>
              <a:spcAft>
                <a:spcPct val="0"/>
              </a:spcAft>
              <a:buClr>
                <a:schemeClr val="accent5"/>
              </a:buClr>
              <a:buFontTx/>
              <a:buNone/>
              <a:defRPr sz="16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342900" indent="0" algn="ctr" defTabSz="685800" rtl="0" eaLnBrk="1" fontAlgn="base" hangingPunct="1">
              <a:lnSpc>
                <a:spcPct val="90000"/>
              </a:lnSpc>
              <a:spcBef>
                <a:spcPts val="375"/>
              </a:spcBef>
              <a:spcAft>
                <a:spcPct val="0"/>
              </a:spcAft>
              <a:buClr>
                <a:schemeClr val="accent5"/>
              </a:buClr>
              <a:buFontTx/>
              <a:buNone/>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685800" indent="0" algn="ctr" defTabSz="685800" rtl="0" eaLnBrk="1" fontAlgn="base" hangingPunct="1">
              <a:lnSpc>
                <a:spcPct val="90000"/>
              </a:lnSpc>
              <a:spcBef>
                <a:spcPts val="375"/>
              </a:spcBef>
              <a:spcAft>
                <a:spcPct val="0"/>
              </a:spcAft>
              <a:buClr>
                <a:schemeClr val="accent5"/>
              </a:buClr>
              <a:buFontTx/>
              <a:buNone/>
              <a:defRPr sz="15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028700" indent="0" algn="ctr" defTabSz="685800" rtl="0" eaLnBrk="1" fontAlgn="base" hangingPunct="1">
              <a:lnSpc>
                <a:spcPct val="90000"/>
              </a:lnSpc>
              <a:spcBef>
                <a:spcPts val="375"/>
              </a:spcBef>
              <a:spcAft>
                <a:spcPct val="0"/>
              </a:spcAft>
              <a:buClr>
                <a:schemeClr val="accent5"/>
              </a:buClr>
              <a:buFontTx/>
              <a:buNone/>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1371600" indent="0" algn="ctr" defTabSz="685800" rtl="0" eaLnBrk="1" fontAlgn="base" hangingPunct="1">
              <a:lnSpc>
                <a:spcPct val="90000"/>
              </a:lnSpc>
              <a:spcBef>
                <a:spcPts val="375"/>
              </a:spcBef>
              <a:spcAft>
                <a:spcPct val="0"/>
              </a:spcAft>
              <a:buClr>
                <a:schemeClr val="accent5"/>
              </a:buClr>
              <a:buFontTx/>
              <a:buNone/>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defTabSz="685783">
              <a:buClr>
                <a:srgbClr val="009845"/>
              </a:buClr>
              <a:defRPr/>
            </a:pPr>
            <a:r>
              <a:rPr lang="en-US" sz="1500" dirty="0">
                <a:solidFill>
                  <a:srgbClr val="545659"/>
                </a:solidFill>
              </a:rPr>
              <a:t>How many hours did employees work last week?</a:t>
            </a:r>
            <a:endParaRPr kumimoji="0" lang="en-US" sz="1500" b="0" i="0" u="none" strike="noStrike" kern="1200" cap="none" spc="0" normalizeH="0" baseline="0" noProof="0" dirty="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a:p>
            <a:pPr marL="0" marR="0" lvl="0" indent="0" algn="ctr" defTabSz="685783" rtl="0" eaLnBrk="1" fontAlgn="base" latinLnBrk="0" hangingPunct="1">
              <a:lnSpc>
                <a:spcPct val="90000"/>
              </a:lnSpc>
              <a:spcBef>
                <a:spcPts val="750"/>
              </a:spcBef>
              <a:spcAft>
                <a:spcPct val="0"/>
              </a:spcAft>
              <a:buClr>
                <a:srgbClr val="009845"/>
              </a:buClr>
              <a:buSzTx/>
              <a:buFontTx/>
              <a:buNone/>
              <a:tabLst/>
              <a:defRPr/>
            </a:pPr>
            <a:endParaRPr kumimoji="0" lang="en-US" sz="1500" b="0" i="0" u="none" strike="noStrike" kern="1200" cap="none" spc="0" normalizeH="0" baseline="0" noProof="0" dirty="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9" name="Text Placeholder 25">
            <a:extLst>
              <a:ext uri="{FF2B5EF4-FFF2-40B4-BE49-F238E27FC236}">
                <a16:creationId xmlns:a16="http://schemas.microsoft.com/office/drawing/2014/main" id="{D20E6B88-8C92-F49D-895B-5213839D3CFB}"/>
              </a:ext>
            </a:extLst>
          </p:cNvPr>
          <p:cNvSpPr txBox="1">
            <a:spLocks/>
          </p:cNvSpPr>
          <p:nvPr/>
        </p:nvSpPr>
        <p:spPr>
          <a:xfrm>
            <a:off x="2680556" y="3620634"/>
            <a:ext cx="1506132" cy="744744"/>
          </a:xfrm>
          <a:prstGeom prst="rect">
            <a:avLst/>
          </a:prstGeom>
        </p:spPr>
        <p:txBody>
          <a:bodyPr vert="horz" lIns="0" tIns="0" rIns="0" bIns="0" rtlCol="0">
            <a:noAutofit/>
          </a:bodyPr>
          <a:lstStyle>
            <a:lvl1pPr marL="0" indent="0" algn="ctr" defTabSz="685800" rtl="0" eaLnBrk="1" fontAlgn="base" hangingPunct="1">
              <a:lnSpc>
                <a:spcPct val="90000"/>
              </a:lnSpc>
              <a:spcBef>
                <a:spcPts val="750"/>
              </a:spcBef>
              <a:spcAft>
                <a:spcPct val="0"/>
              </a:spcAft>
              <a:buClr>
                <a:schemeClr val="accent5"/>
              </a:buClr>
              <a:buFontTx/>
              <a:buNone/>
              <a:defRPr sz="16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342900" indent="0" algn="ctr" defTabSz="685800" rtl="0" eaLnBrk="1" fontAlgn="base" hangingPunct="1">
              <a:lnSpc>
                <a:spcPct val="90000"/>
              </a:lnSpc>
              <a:spcBef>
                <a:spcPts val="375"/>
              </a:spcBef>
              <a:spcAft>
                <a:spcPct val="0"/>
              </a:spcAft>
              <a:buClr>
                <a:schemeClr val="accent5"/>
              </a:buClr>
              <a:buFontTx/>
              <a:buNone/>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685800" indent="0" algn="ctr" defTabSz="685800" rtl="0" eaLnBrk="1" fontAlgn="base" hangingPunct="1">
              <a:lnSpc>
                <a:spcPct val="90000"/>
              </a:lnSpc>
              <a:spcBef>
                <a:spcPts val="375"/>
              </a:spcBef>
              <a:spcAft>
                <a:spcPct val="0"/>
              </a:spcAft>
              <a:buClr>
                <a:schemeClr val="accent5"/>
              </a:buClr>
              <a:buFontTx/>
              <a:buNone/>
              <a:defRPr sz="15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028700" indent="0" algn="ctr" defTabSz="685800" rtl="0" eaLnBrk="1" fontAlgn="base" hangingPunct="1">
              <a:lnSpc>
                <a:spcPct val="90000"/>
              </a:lnSpc>
              <a:spcBef>
                <a:spcPts val="375"/>
              </a:spcBef>
              <a:spcAft>
                <a:spcPct val="0"/>
              </a:spcAft>
              <a:buClr>
                <a:schemeClr val="accent5"/>
              </a:buClr>
              <a:buFontTx/>
              <a:buNone/>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1371600" indent="0" algn="ctr" defTabSz="685800" rtl="0" eaLnBrk="1" fontAlgn="base" hangingPunct="1">
              <a:lnSpc>
                <a:spcPct val="90000"/>
              </a:lnSpc>
              <a:spcBef>
                <a:spcPts val="375"/>
              </a:spcBef>
              <a:spcAft>
                <a:spcPct val="0"/>
              </a:spcAft>
              <a:buClr>
                <a:schemeClr val="accent5"/>
              </a:buClr>
              <a:buFontTx/>
              <a:buNone/>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defTabSz="685783">
              <a:buClr>
                <a:srgbClr val="009845"/>
              </a:buClr>
              <a:defRPr/>
            </a:pPr>
            <a:r>
              <a:rPr lang="en-US" sz="1500" dirty="0">
                <a:solidFill>
                  <a:srgbClr val="545659"/>
                </a:solidFill>
              </a:rPr>
              <a:t>Why did productivity drop in Team A last month?</a:t>
            </a:r>
            <a:endParaRPr kumimoji="0" lang="en-US" sz="1500" b="0" i="0" u="none" strike="noStrike" kern="1200" cap="none" spc="0" normalizeH="0" baseline="0" noProof="0" dirty="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71" name="Text Placeholder 25">
            <a:extLst>
              <a:ext uri="{FF2B5EF4-FFF2-40B4-BE49-F238E27FC236}">
                <a16:creationId xmlns:a16="http://schemas.microsoft.com/office/drawing/2014/main" id="{B31A96D6-512A-B7DC-67C9-E9B32DAAFB2C}"/>
              </a:ext>
            </a:extLst>
          </p:cNvPr>
          <p:cNvSpPr txBox="1">
            <a:spLocks/>
          </p:cNvSpPr>
          <p:nvPr/>
        </p:nvSpPr>
        <p:spPr>
          <a:xfrm>
            <a:off x="4772403" y="3620634"/>
            <a:ext cx="1506132" cy="744744"/>
          </a:xfrm>
          <a:prstGeom prst="rect">
            <a:avLst/>
          </a:prstGeom>
        </p:spPr>
        <p:txBody>
          <a:bodyPr vert="horz" lIns="0" tIns="0" rIns="0" bIns="0" rtlCol="0">
            <a:noAutofit/>
          </a:bodyPr>
          <a:lstStyle>
            <a:lvl1pPr marL="0" indent="0" algn="ctr" defTabSz="685800" rtl="0" eaLnBrk="1" fontAlgn="base" hangingPunct="1">
              <a:lnSpc>
                <a:spcPct val="90000"/>
              </a:lnSpc>
              <a:spcBef>
                <a:spcPts val="750"/>
              </a:spcBef>
              <a:spcAft>
                <a:spcPct val="0"/>
              </a:spcAft>
              <a:buClr>
                <a:schemeClr val="accent5"/>
              </a:buClr>
              <a:buFontTx/>
              <a:buNone/>
              <a:defRPr sz="16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342900" indent="0" algn="ctr" defTabSz="685800" rtl="0" eaLnBrk="1" fontAlgn="base" hangingPunct="1">
              <a:lnSpc>
                <a:spcPct val="90000"/>
              </a:lnSpc>
              <a:spcBef>
                <a:spcPts val="375"/>
              </a:spcBef>
              <a:spcAft>
                <a:spcPct val="0"/>
              </a:spcAft>
              <a:buClr>
                <a:schemeClr val="accent5"/>
              </a:buClr>
              <a:buFontTx/>
              <a:buNone/>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685800" indent="0" algn="ctr" defTabSz="685800" rtl="0" eaLnBrk="1" fontAlgn="base" hangingPunct="1">
              <a:lnSpc>
                <a:spcPct val="90000"/>
              </a:lnSpc>
              <a:spcBef>
                <a:spcPts val="375"/>
              </a:spcBef>
              <a:spcAft>
                <a:spcPct val="0"/>
              </a:spcAft>
              <a:buClr>
                <a:schemeClr val="accent5"/>
              </a:buClr>
              <a:buFontTx/>
              <a:buNone/>
              <a:defRPr sz="15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028700" indent="0" algn="ctr" defTabSz="685800" rtl="0" eaLnBrk="1" fontAlgn="base" hangingPunct="1">
              <a:lnSpc>
                <a:spcPct val="90000"/>
              </a:lnSpc>
              <a:spcBef>
                <a:spcPts val="375"/>
              </a:spcBef>
              <a:spcAft>
                <a:spcPct val="0"/>
              </a:spcAft>
              <a:buClr>
                <a:schemeClr val="accent5"/>
              </a:buClr>
              <a:buFontTx/>
              <a:buNone/>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1371600" indent="0" algn="ctr" defTabSz="685800" rtl="0" eaLnBrk="1" fontAlgn="base" hangingPunct="1">
              <a:lnSpc>
                <a:spcPct val="90000"/>
              </a:lnSpc>
              <a:spcBef>
                <a:spcPts val="375"/>
              </a:spcBef>
              <a:spcAft>
                <a:spcPct val="0"/>
              </a:spcAft>
              <a:buClr>
                <a:schemeClr val="accent5"/>
              </a:buClr>
              <a:buFontTx/>
              <a:buNone/>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defTabSz="685783">
              <a:buClr>
                <a:srgbClr val="009845"/>
              </a:buClr>
              <a:defRPr/>
            </a:pPr>
            <a:r>
              <a:rPr lang="en-US" sz="1500" dirty="0">
                <a:solidFill>
                  <a:srgbClr val="545659"/>
                </a:solidFill>
              </a:rPr>
              <a:t>Which teams are at risk of burnout based on current workload trends?</a:t>
            </a:r>
            <a:endParaRPr kumimoji="0" lang="en-US" sz="1500" b="0" i="0" u="none" strike="noStrike" kern="1200" cap="none" spc="0" normalizeH="0" baseline="0" noProof="0" dirty="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73" name="Text Placeholder 25">
            <a:extLst>
              <a:ext uri="{FF2B5EF4-FFF2-40B4-BE49-F238E27FC236}">
                <a16:creationId xmlns:a16="http://schemas.microsoft.com/office/drawing/2014/main" id="{3714A858-ABC9-0F11-A33D-0D3C46893391}"/>
              </a:ext>
            </a:extLst>
          </p:cNvPr>
          <p:cNvSpPr txBox="1">
            <a:spLocks/>
          </p:cNvSpPr>
          <p:nvPr/>
        </p:nvSpPr>
        <p:spPr>
          <a:xfrm>
            <a:off x="6845461" y="3620634"/>
            <a:ext cx="1506132" cy="744744"/>
          </a:xfrm>
          <a:prstGeom prst="rect">
            <a:avLst/>
          </a:prstGeom>
        </p:spPr>
        <p:txBody>
          <a:bodyPr vert="horz" lIns="0" tIns="0" rIns="0" bIns="0" rtlCol="0">
            <a:noAutofit/>
          </a:bodyPr>
          <a:lstStyle>
            <a:lvl1pPr marL="0" indent="0" algn="ctr" defTabSz="685800" rtl="0" eaLnBrk="1" fontAlgn="base" hangingPunct="1">
              <a:lnSpc>
                <a:spcPct val="90000"/>
              </a:lnSpc>
              <a:spcBef>
                <a:spcPts val="750"/>
              </a:spcBef>
              <a:spcAft>
                <a:spcPct val="0"/>
              </a:spcAft>
              <a:buClr>
                <a:schemeClr val="accent5"/>
              </a:buClr>
              <a:buFontTx/>
              <a:buNone/>
              <a:defRPr sz="16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342900" indent="0" algn="ctr" defTabSz="685800" rtl="0" eaLnBrk="1" fontAlgn="base" hangingPunct="1">
              <a:lnSpc>
                <a:spcPct val="90000"/>
              </a:lnSpc>
              <a:spcBef>
                <a:spcPts val="375"/>
              </a:spcBef>
              <a:spcAft>
                <a:spcPct val="0"/>
              </a:spcAft>
              <a:buClr>
                <a:schemeClr val="accent5"/>
              </a:buClr>
              <a:buFontTx/>
              <a:buNone/>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685800" indent="0" algn="ctr" defTabSz="685800" rtl="0" eaLnBrk="1" fontAlgn="base" hangingPunct="1">
              <a:lnSpc>
                <a:spcPct val="90000"/>
              </a:lnSpc>
              <a:spcBef>
                <a:spcPts val="375"/>
              </a:spcBef>
              <a:spcAft>
                <a:spcPct val="0"/>
              </a:spcAft>
              <a:buClr>
                <a:schemeClr val="accent5"/>
              </a:buClr>
              <a:buFontTx/>
              <a:buNone/>
              <a:defRPr sz="15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028700" indent="0" algn="ctr" defTabSz="685800" rtl="0" eaLnBrk="1" fontAlgn="base" hangingPunct="1">
              <a:lnSpc>
                <a:spcPct val="90000"/>
              </a:lnSpc>
              <a:spcBef>
                <a:spcPts val="375"/>
              </a:spcBef>
              <a:spcAft>
                <a:spcPct val="0"/>
              </a:spcAft>
              <a:buClr>
                <a:schemeClr val="accent5"/>
              </a:buClr>
              <a:buFontTx/>
              <a:buNone/>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1371600" indent="0" algn="ctr" defTabSz="685800" rtl="0" eaLnBrk="1" fontAlgn="base" hangingPunct="1">
              <a:lnSpc>
                <a:spcPct val="90000"/>
              </a:lnSpc>
              <a:spcBef>
                <a:spcPts val="375"/>
              </a:spcBef>
              <a:spcAft>
                <a:spcPct val="0"/>
              </a:spcAft>
              <a:buClr>
                <a:schemeClr val="accent5"/>
              </a:buClr>
              <a:buFontTx/>
              <a:buNone/>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defTabSz="685783">
              <a:buClr>
                <a:srgbClr val="009845"/>
              </a:buClr>
              <a:defRPr/>
            </a:pPr>
            <a:r>
              <a:rPr lang="en-US" sz="1500" dirty="0">
                <a:solidFill>
                  <a:srgbClr val="545659"/>
                </a:solidFill>
              </a:rPr>
              <a:t>What changes in workload distribution can help improve productivity without burnout?</a:t>
            </a:r>
            <a:endParaRPr kumimoji="0" lang="en-US" sz="1500" b="0" i="0" u="none" strike="noStrike" kern="1200" cap="none" spc="0" normalizeH="0" baseline="0" noProof="0" dirty="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pic>
        <p:nvPicPr>
          <p:cNvPr id="74" name="Picture 73">
            <a:extLst>
              <a:ext uri="{FF2B5EF4-FFF2-40B4-BE49-F238E27FC236}">
                <a16:creationId xmlns:a16="http://schemas.microsoft.com/office/drawing/2014/main" id="{B6E2EA68-0C41-5080-12EC-4DD7502D7013}"/>
              </a:ext>
            </a:extLst>
          </p:cNvPr>
          <p:cNvPicPr>
            <a:picLocks noChangeAspect="1"/>
          </p:cNvPicPr>
          <p:nvPr/>
        </p:nvPicPr>
        <p:blipFill>
          <a:blip r:embed="rId5"/>
          <a:stretch>
            <a:fillRect/>
          </a:stretch>
        </p:blipFill>
        <p:spPr>
          <a:xfrm>
            <a:off x="3093654" y="2375244"/>
            <a:ext cx="619237" cy="617220"/>
          </a:xfrm>
          <a:prstGeom prst="rect">
            <a:avLst/>
          </a:prstGeom>
        </p:spPr>
      </p:pic>
      <p:pic>
        <p:nvPicPr>
          <p:cNvPr id="75" name="Picture 74">
            <a:extLst>
              <a:ext uri="{FF2B5EF4-FFF2-40B4-BE49-F238E27FC236}">
                <a16:creationId xmlns:a16="http://schemas.microsoft.com/office/drawing/2014/main" id="{D570186F-5946-3A82-57E8-D29FB3C702D5}"/>
              </a:ext>
            </a:extLst>
          </p:cNvPr>
          <p:cNvPicPr>
            <a:picLocks noChangeAspect="1"/>
          </p:cNvPicPr>
          <p:nvPr/>
        </p:nvPicPr>
        <p:blipFill>
          <a:blip r:embed="rId6"/>
          <a:stretch>
            <a:fillRect/>
          </a:stretch>
        </p:blipFill>
        <p:spPr>
          <a:xfrm>
            <a:off x="7336911" y="2360105"/>
            <a:ext cx="619532" cy="617220"/>
          </a:xfrm>
          <a:prstGeom prst="rect">
            <a:avLst/>
          </a:prstGeom>
        </p:spPr>
      </p:pic>
      <p:pic>
        <p:nvPicPr>
          <p:cNvPr id="76" name="Picture 75">
            <a:extLst>
              <a:ext uri="{FF2B5EF4-FFF2-40B4-BE49-F238E27FC236}">
                <a16:creationId xmlns:a16="http://schemas.microsoft.com/office/drawing/2014/main" id="{7814216F-5CF2-B693-1C99-3B2D5FA2808A}"/>
              </a:ext>
            </a:extLst>
          </p:cNvPr>
          <p:cNvPicPr>
            <a:picLocks noChangeAspect="1"/>
          </p:cNvPicPr>
          <p:nvPr/>
        </p:nvPicPr>
        <p:blipFill>
          <a:blip r:embed="rId7"/>
          <a:stretch>
            <a:fillRect/>
          </a:stretch>
        </p:blipFill>
        <p:spPr>
          <a:xfrm>
            <a:off x="5188784" y="2333195"/>
            <a:ext cx="617220" cy="617220"/>
          </a:xfrm>
          <a:prstGeom prst="rect">
            <a:avLst/>
          </a:prstGeom>
        </p:spPr>
      </p:pic>
    </p:spTree>
    <p:custDataLst>
      <p:tags r:id="rId1"/>
    </p:custDataLst>
    <p:extLst>
      <p:ext uri="{BB962C8B-B14F-4D97-AF65-F5344CB8AC3E}">
        <p14:creationId xmlns:p14="http://schemas.microsoft.com/office/powerpoint/2010/main" val="3065591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subTnLst>
                                    <p:animClr clrSpc="rgb" dir="cw">
                                      <p:cBhvr override="childStyle">
                                        <p:cTn dur="1" fill="hold" display="0" masterRel="nextClick" afterEffect="1"/>
                                        <p:tgtEl>
                                          <p:spTgt spid="49"/>
                                        </p:tgtEl>
                                        <p:attrNameLst>
                                          <p:attrName>ppt_c</p:attrName>
                                        </p:attrNameLst>
                                      </p:cBhvr>
                                      <p:to>
                                        <a:srgbClr val="B2B2B2"/>
                                      </p:to>
                                    </p:animClr>
                                  </p:subTnLst>
                                </p:cTn>
                              </p:par>
                              <p:par>
                                <p:cTn id="7" presetID="1" presetClass="entr" presetSubtype="0" fill="hold" grpId="0" nodeType="withEffect">
                                  <p:stCondLst>
                                    <p:cond delay="0"/>
                                  </p:stCondLst>
                                  <p:childTnLst>
                                    <p:set>
                                      <p:cBhvr>
                                        <p:cTn id="8" dur="1" fill="hold">
                                          <p:stCondLst>
                                            <p:cond delay="0"/>
                                          </p:stCondLst>
                                        </p:cTn>
                                        <p:tgtEl>
                                          <p:spTgt spid="5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7"/>
                                        </p:tgtEl>
                                        <p:attrNameLst>
                                          <p:attrName>style.visibility</p:attrName>
                                        </p:attrNameLst>
                                      </p:cBhvr>
                                      <p:to>
                                        <p:strVal val="visible"/>
                                      </p:to>
                                    </p:set>
                                  </p:childTnLst>
                                  <p:subTnLst>
                                    <p:animClr clrSpc="rgb" dir="cw">
                                      <p:cBhvr override="childStyle">
                                        <p:cTn dur="1" fill="hold" display="0" masterRel="nextClick" afterEffect="1"/>
                                        <p:tgtEl>
                                          <p:spTgt spid="67"/>
                                        </p:tgtEl>
                                        <p:attrNameLst>
                                          <p:attrName>ppt_c</p:attrName>
                                        </p:attrNameLst>
                                      </p:cBhvr>
                                      <p:to>
                                        <a:schemeClr val="tx1"/>
                                      </p:to>
                                    </p:animClr>
                                  </p:subTnLst>
                                </p:cTn>
                              </p:par>
                              <p:par>
                                <p:cTn id="13" presetID="1" presetClass="entr" presetSubtype="0" fill="hold" grpId="0" nodeType="withEffect">
                                  <p:stCondLst>
                                    <p:cond delay="0"/>
                                  </p:stCondLst>
                                  <p:childTnLst>
                                    <p:set>
                                      <p:cBhvr>
                                        <p:cTn id="14" dur="1" fill="hold">
                                          <p:stCondLst>
                                            <p:cond delay="0"/>
                                          </p:stCondLst>
                                        </p:cTn>
                                        <p:tgtEl>
                                          <p:spTgt spid="6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0"/>
                                        </p:tgtEl>
                                        <p:attrNameLst>
                                          <p:attrName>style.visibility</p:attrName>
                                        </p:attrNameLst>
                                      </p:cBhvr>
                                      <p:to>
                                        <p:strVal val="visible"/>
                                      </p:to>
                                    </p:set>
                                  </p:childTnLst>
                                  <p:subTnLst>
                                    <p:animClr clrSpc="rgb" dir="cw">
                                      <p:cBhvr override="childStyle">
                                        <p:cTn dur="1" fill="hold" display="0" masterRel="nextClick" afterEffect="1"/>
                                        <p:tgtEl>
                                          <p:spTgt spid="50"/>
                                        </p:tgtEl>
                                        <p:attrNameLst>
                                          <p:attrName>ppt_c</p:attrName>
                                        </p:attrNameLst>
                                      </p:cBhvr>
                                      <p:to>
                                        <a:srgbClr val="B2B2B2"/>
                                      </p:to>
                                    </p:animClr>
                                  </p:subTnLst>
                                </p:cTn>
                              </p:par>
                              <p:par>
                                <p:cTn id="19" presetID="1" presetClass="entr" presetSubtype="0" fill="hold" grpId="0" nodeType="withEffect">
                                  <p:stCondLst>
                                    <p:cond delay="0"/>
                                  </p:stCondLst>
                                  <p:childTnLst>
                                    <p:set>
                                      <p:cBhvr>
                                        <p:cTn id="20" dur="1" fill="hold">
                                          <p:stCondLst>
                                            <p:cond delay="0"/>
                                          </p:stCondLst>
                                        </p:cTn>
                                        <p:tgtEl>
                                          <p:spTgt spid="5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4"/>
                                        </p:tgtEl>
                                        <p:attrNameLst>
                                          <p:attrName>style.visibility</p:attrName>
                                        </p:attrNameLst>
                                      </p:cBhvr>
                                      <p:to>
                                        <p:strVal val="visible"/>
                                      </p:to>
                                    </p:set>
                                  </p:childTnLst>
                                  <p:subTnLst>
                                    <p:animClr clrSpc="rgb" dir="cw">
                                      <p:cBhvr override="childStyle">
                                        <p:cTn dur="1" fill="hold" display="0" masterRel="nextClick" afterEffect="1"/>
                                        <p:tgtEl>
                                          <p:spTgt spid="74"/>
                                        </p:tgtEl>
                                        <p:attrNameLst>
                                          <p:attrName>ppt_c</p:attrName>
                                        </p:attrNameLst>
                                      </p:cBhvr>
                                      <p:to>
                                        <a:schemeClr val="tx1"/>
                                      </p:to>
                                    </p:animClr>
                                  </p:sub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2"/>
                                        </p:tgtEl>
                                        <p:attrNameLst>
                                          <p:attrName>style.visibility</p:attrName>
                                        </p:attrNameLst>
                                      </p:cBhvr>
                                      <p:to>
                                        <p:strVal val="visible"/>
                                      </p:to>
                                    </p:set>
                                  </p:childTnLst>
                                  <p:subTnLst>
                                    <p:animClr clrSpc="rgb" dir="cw">
                                      <p:cBhvr override="childStyle">
                                        <p:cTn dur="1" fill="hold" display="0" masterRel="nextClick" afterEffect="1"/>
                                        <p:tgtEl>
                                          <p:spTgt spid="52"/>
                                        </p:tgtEl>
                                        <p:attrNameLst>
                                          <p:attrName>ppt_c</p:attrName>
                                        </p:attrNameLst>
                                      </p:cBhvr>
                                      <p:to>
                                        <a:srgbClr val="B2B2B2"/>
                                      </p:to>
                                    </p:animClr>
                                  </p:subTnLst>
                                </p:cTn>
                              </p:par>
                              <p:par>
                                <p:cTn id="31" presetID="1"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7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6"/>
                                        </p:tgtEl>
                                        <p:attrNameLst>
                                          <p:attrName>style.visibility</p:attrName>
                                        </p:attrNameLst>
                                      </p:cBhvr>
                                      <p:to>
                                        <p:strVal val="visible"/>
                                      </p:to>
                                    </p:set>
                                  </p:childTnLst>
                                  <p:subTnLst>
                                    <p:animClr clrSpc="rgb" dir="cw">
                                      <p:cBhvr override="childStyle">
                                        <p:cTn dur="1" fill="hold" display="0" masterRel="nextClick" afterEffect="1"/>
                                        <p:tgtEl>
                                          <p:spTgt spid="76"/>
                                        </p:tgtEl>
                                        <p:attrNameLst>
                                          <p:attrName>ppt_c</p:attrName>
                                        </p:attrNameLst>
                                      </p:cBhvr>
                                      <p:to>
                                        <a:schemeClr val="tx1"/>
                                      </p:to>
                                    </p:animClr>
                                  </p:sub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1"/>
                                        </p:tgtEl>
                                        <p:attrNameLst>
                                          <p:attrName>style.visibility</p:attrName>
                                        </p:attrNameLst>
                                      </p:cBhvr>
                                      <p:to>
                                        <p:strVal val="visible"/>
                                      </p:to>
                                    </p:set>
                                  </p:childTnLst>
                                  <p:subTnLst>
                                    <p:animClr clrSpc="rgb" dir="cw">
                                      <p:cBhvr override="childStyle">
                                        <p:cTn dur="1" fill="hold" display="0" masterRel="nextClick" afterEffect="1"/>
                                        <p:tgtEl>
                                          <p:spTgt spid="51"/>
                                        </p:tgtEl>
                                        <p:attrNameLst>
                                          <p:attrName>ppt_c</p:attrName>
                                        </p:attrNameLst>
                                      </p:cBhvr>
                                      <p:to>
                                        <a:srgbClr val="B2B2B2"/>
                                      </p:to>
                                    </p:animClr>
                                  </p:subTnLst>
                                </p:cTn>
                              </p:par>
                              <p:par>
                                <p:cTn id="43" presetID="1" presetClass="entr" presetSubtype="0" fill="hold" grpId="0" nodeType="withEffect">
                                  <p:stCondLst>
                                    <p:cond delay="0"/>
                                  </p:stCondLst>
                                  <p:childTnLst>
                                    <p:set>
                                      <p:cBhvr>
                                        <p:cTn id="44" dur="1" fill="hold">
                                          <p:stCondLst>
                                            <p:cond delay="0"/>
                                          </p:stCondLst>
                                        </p:cTn>
                                        <p:tgtEl>
                                          <p:spTgt spid="6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7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75"/>
                                        </p:tgtEl>
                                        <p:attrNameLst>
                                          <p:attrName>style.visibility</p:attrName>
                                        </p:attrNameLst>
                                      </p:cBhvr>
                                      <p:to>
                                        <p:strVal val="visible"/>
                                      </p:to>
                                    </p:set>
                                  </p:childTnLst>
                                  <p:subTnLst>
                                    <p:animClr clrSpc="rgb" dir="cw">
                                      <p:cBhvr override="childStyle">
                                        <p:cTn dur="1" fill="hold" display="0" masterRel="nextClick" afterEffect="1"/>
                                        <p:tgtEl>
                                          <p:spTgt spid="75"/>
                                        </p:tgtEl>
                                        <p:attrNameLst>
                                          <p:attrName>ppt_c</p:attrName>
                                        </p:attrNameLst>
                                      </p:cBhvr>
                                      <p:to>
                                        <a:schemeClr val="tx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0" grpId="0" animBg="1"/>
      <p:bldP spid="51" grpId="0" animBg="1"/>
      <p:bldP spid="52" grpId="0" animBg="1"/>
      <p:bldP spid="53" grpId="0"/>
      <p:bldP spid="54" grpId="0"/>
      <p:bldP spid="55" grpId="0"/>
      <p:bldP spid="56" grpId="0"/>
      <p:bldP spid="57" grpId="0"/>
      <p:bldP spid="63" grpId="0"/>
      <p:bldP spid="64" grpId="0"/>
      <p:bldP spid="65" grpId="0"/>
      <p:bldP spid="68" grpId="0"/>
      <p:bldP spid="69" grpId="0"/>
      <p:bldP spid="71" grpId="0"/>
      <p:bldP spid="73"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4">
            <a:extLst>
              <a:ext uri="{FF2B5EF4-FFF2-40B4-BE49-F238E27FC236}">
                <a16:creationId xmlns:a16="http://schemas.microsoft.com/office/drawing/2014/main" id="{FAFF11B3-92AA-F61C-1163-646845AE8AFA}"/>
              </a:ext>
            </a:extLst>
          </p:cNvPr>
          <p:cNvSpPr>
            <a:spLocks noGrp="1"/>
          </p:cNvSpPr>
          <p:nvPr>
            <p:ph type="body" sz="quarter" idx="14"/>
          </p:nvPr>
        </p:nvSpPr>
        <p:spPr>
          <a:xfrm>
            <a:off x="5841285" y="2507699"/>
            <a:ext cx="3417241" cy="443819"/>
          </a:xfrm>
        </p:spPr>
        <p:txBody>
          <a:bodyPr/>
          <a:lstStyle/>
          <a:p>
            <a:r>
              <a:rPr lang="en-US" sz="1600" b="1">
                <a:solidFill>
                  <a:schemeClr val="bg2"/>
                </a:solidFill>
                <a:latin typeface="Arial" panose="020B0604020202020204" pitchFamily="34" charset="0"/>
                <a:ea typeface="PS TT Commons DemiBold" charset="0"/>
                <a:cs typeface="Arial" panose="020B0604020202020204" pitchFamily="34" charset="0"/>
              </a:rPr>
              <a:t>Identify Alternative Solutions</a:t>
            </a:r>
            <a:endParaRPr lang="en-US" sz="1600">
              <a:solidFill>
                <a:schemeClr val="bg2"/>
              </a:solidFill>
              <a:latin typeface="Arial" panose="020B0604020202020204" pitchFamily="34" charset="0"/>
              <a:cs typeface="Arial" panose="020B0604020202020204" pitchFamily="34" charset="0"/>
            </a:endParaRPr>
          </a:p>
        </p:txBody>
      </p:sp>
      <p:sp>
        <p:nvSpPr>
          <p:cNvPr id="8" name="Text Placeholder 5">
            <a:extLst>
              <a:ext uri="{FF2B5EF4-FFF2-40B4-BE49-F238E27FC236}">
                <a16:creationId xmlns:a16="http://schemas.microsoft.com/office/drawing/2014/main" id="{AC077838-9F01-214E-631E-7816087C4114}"/>
              </a:ext>
            </a:extLst>
          </p:cNvPr>
          <p:cNvSpPr>
            <a:spLocks noGrp="1"/>
          </p:cNvSpPr>
          <p:nvPr>
            <p:ph type="body" sz="quarter" idx="16"/>
          </p:nvPr>
        </p:nvSpPr>
        <p:spPr>
          <a:xfrm>
            <a:off x="5858873" y="4069695"/>
            <a:ext cx="3297185" cy="379743"/>
          </a:xfrm>
        </p:spPr>
        <p:txBody>
          <a:bodyPr/>
          <a:lstStyle/>
          <a:p>
            <a:r>
              <a:rPr lang="en-US" sz="1600" b="1">
                <a:solidFill>
                  <a:schemeClr val="bg2"/>
                </a:solidFill>
                <a:latin typeface="Arial" panose="020B0604020202020204" pitchFamily="34" charset="0"/>
                <a:ea typeface="PS TT Commons DemiBold" charset="0"/>
                <a:cs typeface="Arial" panose="020B0604020202020204" pitchFamily="34" charset="0"/>
              </a:rPr>
              <a:t>Evaluate Your Assumptions</a:t>
            </a:r>
          </a:p>
        </p:txBody>
      </p:sp>
      <p:sp>
        <p:nvSpPr>
          <p:cNvPr id="9" name="Text Placeholder 6">
            <a:extLst>
              <a:ext uri="{FF2B5EF4-FFF2-40B4-BE49-F238E27FC236}">
                <a16:creationId xmlns:a16="http://schemas.microsoft.com/office/drawing/2014/main" id="{B680B5F5-C3C7-C487-8382-D18210BD8223}"/>
              </a:ext>
            </a:extLst>
          </p:cNvPr>
          <p:cNvSpPr txBox="1">
            <a:spLocks/>
          </p:cNvSpPr>
          <p:nvPr/>
        </p:nvSpPr>
        <p:spPr>
          <a:xfrm>
            <a:off x="6072779" y="3236076"/>
            <a:ext cx="2882665" cy="443819"/>
          </a:xfrm>
          <a:prstGeom prst="rect">
            <a:avLst/>
          </a:prstGeom>
          <a:ln>
            <a:noFill/>
          </a:ln>
        </p:spPr>
        <p:txBody>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base" latinLnBrk="0" hangingPunct="1">
              <a:lnSpc>
                <a:spcPct val="90000"/>
              </a:lnSpc>
              <a:spcBef>
                <a:spcPts val="750"/>
              </a:spcBef>
              <a:spcAft>
                <a:spcPct val="0"/>
              </a:spcAft>
              <a:buClr>
                <a:srgbClr val="009845"/>
              </a:buClr>
              <a:buSzTx/>
              <a:buFont typeface="Arial" charset="0"/>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PS TT Commons DemiBold" charset="0"/>
                <a:cs typeface="Arial" panose="020B0604020202020204" pitchFamily="34" charset="0"/>
                <a:sym typeface="Arial" panose="020B0604020202020204" pitchFamily="34" charset="0"/>
              </a:rPr>
              <a:t>Perspectives Check</a:t>
            </a:r>
            <a:endParaRPr kumimoji="0" lang="en-US" sz="1600" b="0" i="0" u="none" strike="noStrike" kern="1200" cap="none" spc="0" normalizeH="0" baseline="0" noProof="0">
              <a:ln>
                <a:noFill/>
              </a:ln>
              <a:solidFill>
                <a:schemeClr val="bg2"/>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8" name="Text Placeholder 4">
            <a:extLst>
              <a:ext uri="{FF2B5EF4-FFF2-40B4-BE49-F238E27FC236}">
                <a16:creationId xmlns:a16="http://schemas.microsoft.com/office/drawing/2014/main" id="{0CAA3081-88F6-DCE2-6E18-7A281900A564}"/>
              </a:ext>
            </a:extLst>
          </p:cNvPr>
          <p:cNvSpPr txBox="1">
            <a:spLocks/>
          </p:cNvSpPr>
          <p:nvPr/>
        </p:nvSpPr>
        <p:spPr>
          <a:xfrm>
            <a:off x="5861291" y="1562024"/>
            <a:ext cx="2882665" cy="443818"/>
          </a:xfrm>
          <a:prstGeom prst="rect">
            <a:avLst/>
          </a:prstGeom>
        </p:spPr>
        <p:txBody>
          <a:bodyPr vert="horz" lIns="182880" tIns="0" rIns="182880" bIns="0" rtlCol="0">
            <a:noAutofit/>
          </a:bodyPr>
          <a:lstStyle>
            <a:lvl1pPr marL="0" indent="0" algn="ctr" defTabSz="685800" rtl="0" eaLnBrk="1" fontAlgn="base" hangingPunct="1">
              <a:lnSpc>
                <a:spcPct val="100000"/>
              </a:lnSpc>
              <a:spcBef>
                <a:spcPts val="0"/>
              </a:spcBef>
              <a:spcAft>
                <a:spcPct val="0"/>
              </a:spcAft>
              <a:buClr>
                <a:schemeClr val="accent5"/>
              </a:buClr>
              <a:buFont typeface="Arial" charset="0"/>
              <a:buNone/>
              <a:defRPr sz="1700" b="0" i="0" kern="1200">
                <a:solidFill>
                  <a:schemeClr val="tx1"/>
                </a:solidFill>
                <a:latin typeface="+mn-lt"/>
                <a:ea typeface="PS TT Commons Light" charset="0"/>
                <a:cs typeface="PS TT Commons Light" charset="0"/>
                <a:sym typeface="Arial" panose="020B0604020202020204" pitchFamily="34" charset="0"/>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ts val="0"/>
              </a:spcBef>
              <a:spcAft>
                <a:spcPct val="0"/>
              </a:spcAft>
              <a:buClr>
                <a:srgbClr val="009845"/>
              </a:buClr>
              <a:buSzTx/>
              <a:buFont typeface="Arial" charset="0"/>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cs typeface="Arial" panose="020B0604020202020204" pitchFamily="34" charset="0"/>
                <a:sym typeface="Arial" panose="020B0604020202020204" pitchFamily="34" charset="0"/>
              </a:rPr>
              <a:t>Check Reasoning, Bias, and Fallacies</a:t>
            </a:r>
            <a:endParaRPr kumimoji="0" lang="en-US" sz="1600" b="0" i="0" u="none" strike="noStrike" kern="1200" cap="none" spc="0" normalizeH="0" baseline="0" noProof="0">
              <a:ln>
                <a:noFill/>
              </a:ln>
              <a:solidFill>
                <a:schemeClr val="bg2"/>
              </a:solidFill>
              <a:effectLst/>
              <a:uLnTx/>
              <a:uFillTx/>
              <a:latin typeface="Arial" panose="020B0604020202020204" pitchFamily="34" charset="0"/>
              <a:cs typeface="Arial" panose="020B0604020202020204" pitchFamily="34" charset="0"/>
              <a:sym typeface="Arial" panose="020B0604020202020204" pitchFamily="34" charset="0"/>
            </a:endParaRPr>
          </a:p>
        </p:txBody>
      </p:sp>
      <p:pic>
        <p:nvPicPr>
          <p:cNvPr id="20" name="Graphic 19" descr="Head with gears with solid fill">
            <a:extLst>
              <a:ext uri="{FF2B5EF4-FFF2-40B4-BE49-F238E27FC236}">
                <a16:creationId xmlns:a16="http://schemas.microsoft.com/office/drawing/2014/main" id="{B4E1A9DB-837F-0F66-2A23-C2B93168FE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194936" y="3908493"/>
            <a:ext cx="640080" cy="640080"/>
          </a:xfrm>
          <a:prstGeom prst="rect">
            <a:avLst/>
          </a:prstGeom>
        </p:spPr>
      </p:pic>
      <p:pic>
        <p:nvPicPr>
          <p:cNvPr id="22" name="Graphic 21" descr="Cheers with solid fill">
            <a:extLst>
              <a:ext uri="{FF2B5EF4-FFF2-40B4-BE49-F238E27FC236}">
                <a16:creationId xmlns:a16="http://schemas.microsoft.com/office/drawing/2014/main" id="{C958A1AE-21BF-9168-0832-B41C53B048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70178" y="3137946"/>
            <a:ext cx="640080" cy="640080"/>
          </a:xfrm>
          <a:prstGeom prst="rect">
            <a:avLst/>
          </a:prstGeom>
        </p:spPr>
      </p:pic>
      <p:pic>
        <p:nvPicPr>
          <p:cNvPr id="24" name="Graphic 23" descr="Chevron arrows with solid fill">
            <a:extLst>
              <a:ext uri="{FF2B5EF4-FFF2-40B4-BE49-F238E27FC236}">
                <a16:creationId xmlns:a16="http://schemas.microsoft.com/office/drawing/2014/main" id="{55ACC4CB-F22A-AFAC-1B86-848CF3FB245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57136" y="2339372"/>
            <a:ext cx="640080" cy="640080"/>
          </a:xfrm>
          <a:prstGeom prst="rect">
            <a:avLst/>
          </a:prstGeom>
        </p:spPr>
      </p:pic>
      <p:pic>
        <p:nvPicPr>
          <p:cNvPr id="27" name="Graphic 26" descr="Close with solid fill">
            <a:extLst>
              <a:ext uri="{FF2B5EF4-FFF2-40B4-BE49-F238E27FC236}">
                <a16:creationId xmlns:a16="http://schemas.microsoft.com/office/drawing/2014/main" id="{F0BA8DC1-18F7-F25E-2F89-749D3DD5C7B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10110" y="1440535"/>
            <a:ext cx="548640" cy="548640"/>
          </a:xfrm>
          <a:prstGeom prst="rect">
            <a:avLst/>
          </a:prstGeom>
        </p:spPr>
      </p:pic>
      <p:sp>
        <p:nvSpPr>
          <p:cNvPr id="30" name="Title 5">
            <a:extLst>
              <a:ext uri="{FF2B5EF4-FFF2-40B4-BE49-F238E27FC236}">
                <a16:creationId xmlns:a16="http://schemas.microsoft.com/office/drawing/2014/main" id="{969375FD-7F31-10EB-FF32-6E713E5E5BAC}"/>
              </a:ext>
            </a:extLst>
          </p:cNvPr>
          <p:cNvSpPr>
            <a:spLocks noGrp="1"/>
          </p:cNvSpPr>
          <p:nvPr>
            <p:ph type="title"/>
          </p:nvPr>
        </p:nvSpPr>
        <p:spPr>
          <a:xfrm>
            <a:off x="495300" y="107490"/>
            <a:ext cx="8106305" cy="443818"/>
          </a:xfrm>
        </p:spPr>
        <p:txBody>
          <a:bodyPr/>
          <a:lstStyle/>
          <a:p>
            <a:r>
              <a:rPr lang="en-US" sz="2100"/>
              <a:t>Validate &amp; Verify</a:t>
            </a:r>
          </a:p>
        </p:txBody>
      </p:sp>
      <p:pic>
        <p:nvPicPr>
          <p:cNvPr id="2" name="Picture 1">
            <a:extLst>
              <a:ext uri="{FF2B5EF4-FFF2-40B4-BE49-F238E27FC236}">
                <a16:creationId xmlns:a16="http://schemas.microsoft.com/office/drawing/2014/main" id="{CBA4CD7D-9262-2BC9-DE37-5B30C6380CD1}"/>
              </a:ext>
            </a:extLst>
          </p:cNvPr>
          <p:cNvPicPr>
            <a:picLocks noChangeAspect="1"/>
          </p:cNvPicPr>
          <p:nvPr/>
        </p:nvPicPr>
        <p:blipFill>
          <a:blip r:embed="rId11"/>
          <a:stretch>
            <a:fillRect/>
          </a:stretch>
        </p:blipFill>
        <p:spPr>
          <a:xfrm>
            <a:off x="435007" y="1016734"/>
            <a:ext cx="3805972" cy="3218141"/>
          </a:xfrm>
          <a:prstGeom prst="rect">
            <a:avLst/>
          </a:prstGeom>
        </p:spPr>
      </p:pic>
      <p:sp>
        <p:nvSpPr>
          <p:cNvPr id="3" name="Oval 2">
            <a:extLst>
              <a:ext uri="{FF2B5EF4-FFF2-40B4-BE49-F238E27FC236}">
                <a16:creationId xmlns:a16="http://schemas.microsoft.com/office/drawing/2014/main" id="{9DAB82CF-AADC-086A-A53B-1FC41C39E58E}"/>
              </a:ext>
            </a:extLst>
          </p:cNvPr>
          <p:cNvSpPr/>
          <p:nvPr/>
        </p:nvSpPr>
        <p:spPr>
          <a:xfrm>
            <a:off x="1682152" y="2406369"/>
            <a:ext cx="776377" cy="4388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Text Placeholder 4">
            <a:extLst>
              <a:ext uri="{FF2B5EF4-FFF2-40B4-BE49-F238E27FC236}">
                <a16:creationId xmlns:a16="http://schemas.microsoft.com/office/drawing/2014/main" id="{3252550C-B7B7-270A-0AD2-7E8D419D860E}"/>
              </a:ext>
            </a:extLst>
          </p:cNvPr>
          <p:cNvSpPr txBox="1">
            <a:spLocks/>
          </p:cNvSpPr>
          <p:nvPr/>
        </p:nvSpPr>
        <p:spPr>
          <a:xfrm>
            <a:off x="5894050" y="814652"/>
            <a:ext cx="2882665" cy="443818"/>
          </a:xfrm>
          <a:prstGeom prst="rect">
            <a:avLst/>
          </a:prstGeom>
        </p:spPr>
        <p:txBody>
          <a:bodyPr vert="horz" lIns="182880" tIns="0" rIns="182880" bIns="0" rtlCol="0">
            <a:noAutofit/>
          </a:bodyPr>
          <a:lstStyle>
            <a:lvl1pPr marL="0" indent="0" algn="ctr" defTabSz="685800" rtl="0" eaLnBrk="1" fontAlgn="base" hangingPunct="1">
              <a:lnSpc>
                <a:spcPct val="100000"/>
              </a:lnSpc>
              <a:spcBef>
                <a:spcPts val="0"/>
              </a:spcBef>
              <a:spcAft>
                <a:spcPct val="0"/>
              </a:spcAft>
              <a:buClr>
                <a:schemeClr val="accent5"/>
              </a:buClr>
              <a:buFont typeface="Arial" charset="0"/>
              <a:buNone/>
              <a:defRPr sz="1700" b="0" i="0" kern="1200">
                <a:solidFill>
                  <a:schemeClr val="tx1"/>
                </a:solidFill>
                <a:latin typeface="+mn-lt"/>
                <a:ea typeface="PS TT Commons Light" charset="0"/>
                <a:cs typeface="PS TT Commons Light" charset="0"/>
                <a:sym typeface="Arial" panose="020B0604020202020204" pitchFamily="34" charset="0"/>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ts val="0"/>
              </a:spcBef>
              <a:spcAft>
                <a:spcPct val="0"/>
              </a:spcAft>
              <a:buClr>
                <a:srgbClr val="009845"/>
              </a:buClr>
              <a:buSzTx/>
              <a:buFont typeface="Arial" charset="0"/>
              <a:buNone/>
              <a:tabLst/>
              <a:defRPr/>
            </a:pPr>
            <a:r>
              <a:rPr lang="en-US" sz="1600" b="1">
                <a:solidFill>
                  <a:schemeClr val="bg2"/>
                </a:solidFill>
                <a:latin typeface="Arial" panose="020B0604020202020204" pitchFamily="34" charset="0"/>
                <a:cs typeface="Arial" panose="020B0604020202020204" pitchFamily="34" charset="0"/>
              </a:rPr>
              <a:t>Insight Quality Validation</a:t>
            </a:r>
            <a:endParaRPr kumimoji="0" lang="en-US" sz="1600" b="0" i="0" u="none" strike="noStrike" kern="1200" cap="none" spc="0" normalizeH="0" baseline="0" noProof="0">
              <a:ln>
                <a:noFill/>
              </a:ln>
              <a:solidFill>
                <a:schemeClr val="bg2"/>
              </a:solidFill>
              <a:effectLst/>
              <a:uLnTx/>
              <a:uFillTx/>
              <a:latin typeface="Arial" panose="020B0604020202020204" pitchFamily="34" charset="0"/>
              <a:cs typeface="Arial" panose="020B0604020202020204" pitchFamily="34" charset="0"/>
              <a:sym typeface="Arial" panose="020B0604020202020204" pitchFamily="34" charset="0"/>
            </a:endParaRPr>
          </a:p>
        </p:txBody>
      </p:sp>
      <p:pic>
        <p:nvPicPr>
          <p:cNvPr id="10" name="Graphic 9" descr="Checklist with solid fill">
            <a:extLst>
              <a:ext uri="{FF2B5EF4-FFF2-40B4-BE49-F238E27FC236}">
                <a16:creationId xmlns:a16="http://schemas.microsoft.com/office/drawing/2014/main" id="{FB20191E-869D-9C30-EF66-76AFD9EC22B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194933" y="715218"/>
            <a:ext cx="548640" cy="548640"/>
          </a:xfrm>
          <a:prstGeom prst="rect">
            <a:avLst/>
          </a:prstGeom>
        </p:spPr>
      </p:pic>
    </p:spTree>
    <p:extLst>
      <p:ext uri="{BB962C8B-B14F-4D97-AF65-F5344CB8AC3E}">
        <p14:creationId xmlns:p14="http://schemas.microsoft.com/office/powerpoint/2010/main" val="2971385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subTnLst>
                                    <p:animClr clrSpc="rgb" dir="cw">
                                      <p:cBhvr override="childStyle">
                                        <p:cTn dur="1" fill="hold" display="0" masterRel="nextClick" afterEffect="1"/>
                                        <p:tgtEl>
                                          <p:spTgt spid="4"/>
                                        </p:tgtEl>
                                        <p:attrNameLst>
                                          <p:attrName>ppt_c</p:attrName>
                                        </p:attrNameLst>
                                      </p:cBhvr>
                                      <p:to>
                                        <a:schemeClr val="tx1"/>
                                      </p:to>
                                    </p:animClr>
                                  </p:sub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subTnLst>
                                    <p:animClr clrSpc="rgb" dir="cw">
                                      <p:cBhvr override="childStyle">
                                        <p:cTn dur="1" fill="hold" display="0" masterRel="nextClick" afterEffect="1"/>
                                        <p:tgtEl>
                                          <p:spTgt spid="10"/>
                                        </p:tgtEl>
                                        <p:attrNameLst>
                                          <p:attrName>ppt_c</p:attrName>
                                        </p:attrNameLst>
                                      </p:cBhvr>
                                      <p:to>
                                        <a:srgbClr val="B2B2B2"/>
                                      </p:to>
                                    </p:animClr>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subTnLst>
                                    <p:animClr clrSpc="rgb" dir="cw">
                                      <p:cBhvr override="childStyle">
                                        <p:cTn dur="1" fill="hold" display="0" masterRel="nextClick" afterEffect="1"/>
                                        <p:tgtEl>
                                          <p:spTgt spid="18"/>
                                        </p:tgtEl>
                                        <p:attrNameLst>
                                          <p:attrName>ppt_c</p:attrName>
                                        </p:attrNameLst>
                                      </p:cBhvr>
                                      <p:to>
                                        <a:schemeClr val="tx1"/>
                                      </p:to>
                                    </p:animClr>
                                  </p:subTnLst>
                                </p:cTn>
                              </p:par>
                              <p:par>
                                <p:cTn id="13" presetID="1" presetClass="entr" presetSubtype="0" fill="hold"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subTnLst>
                                    <p:animClr clrSpc="rgb" dir="cw">
                                      <p:cBhvr override="childStyle">
                                        <p:cTn dur="1" fill="hold" display="0" masterRel="nextClick" afterEffect="1"/>
                                        <p:tgtEl>
                                          <p:spTgt spid="27"/>
                                        </p:tgtEl>
                                        <p:attrNameLst>
                                          <p:attrName>ppt_c</p:attrName>
                                        </p:attrNameLst>
                                      </p:cBhvr>
                                      <p:to>
                                        <a:srgbClr val="B2B2B2"/>
                                      </p:to>
                                    </p:animClr>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7">
                                            <p:txEl>
                                              <p:pRg st="0" end="0"/>
                                            </p:txEl>
                                          </p:spTgt>
                                        </p:tgtEl>
                                        <p:attrNameLst>
                                          <p:attrName>ppt_c</p:attrName>
                                        </p:attrNameLst>
                                      </p:cBhvr>
                                      <p:to>
                                        <a:schemeClr val="tx1"/>
                                      </p:to>
                                    </p:animClr>
                                  </p:subTnLst>
                                </p:cTn>
                              </p:par>
                              <p:par>
                                <p:cTn id="19" presetID="1" presetClass="entr" presetSubtype="0" fill="hold"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subTnLst>
                                    <p:animClr clrSpc="rgb" dir="cw">
                                      <p:cBhvr override="childStyle">
                                        <p:cTn dur="1" fill="hold" display="0" masterRel="nextClick" afterEffect="1"/>
                                        <p:tgtEl>
                                          <p:spTgt spid="24"/>
                                        </p:tgtEl>
                                        <p:attrNameLst>
                                          <p:attrName>ppt_c</p:attrName>
                                        </p:attrNameLst>
                                      </p:cBhvr>
                                      <p:to>
                                        <a:srgbClr val="B2B2B2"/>
                                      </p:to>
                                    </p:animClr>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subTnLst>
                                    <p:animClr clrSpc="rgb" dir="cw">
                                      <p:cBhvr override="childStyle">
                                        <p:cTn dur="1" fill="hold" display="0" masterRel="nextClick" afterEffect="1"/>
                                        <p:tgtEl>
                                          <p:spTgt spid="9"/>
                                        </p:tgtEl>
                                        <p:attrNameLst>
                                          <p:attrName>ppt_c</p:attrName>
                                        </p:attrNameLst>
                                      </p:cBhvr>
                                      <p:to>
                                        <a:schemeClr val="tx1"/>
                                      </p:to>
                                    </p:animClr>
                                  </p:subTnLst>
                                </p:cTn>
                              </p:par>
                              <p:par>
                                <p:cTn id="25" presetID="1" presetClass="entr" presetSubtype="0" fill="hold" nodeType="withEffect">
                                  <p:stCondLst>
                                    <p:cond delay="0"/>
                                  </p:stCondLst>
                                  <p:childTnLst>
                                    <p:set>
                                      <p:cBhvr>
                                        <p:cTn id="26" dur="1" fill="hold">
                                          <p:stCondLst>
                                            <p:cond delay="0"/>
                                          </p:stCondLst>
                                        </p:cTn>
                                        <p:tgtEl>
                                          <p:spTgt spid="22"/>
                                        </p:tgtEl>
                                        <p:attrNameLst>
                                          <p:attrName>style.visibility</p:attrName>
                                        </p:attrNameLst>
                                      </p:cBhvr>
                                      <p:to>
                                        <p:strVal val="visible"/>
                                      </p:to>
                                    </p:set>
                                  </p:childTnLst>
                                  <p:subTnLst>
                                    <p:animClr clrSpc="rgb" dir="cw">
                                      <p:cBhvr override="childStyle">
                                        <p:cTn dur="1" fill="hold" display="0" masterRel="nextClick" afterEffect="1"/>
                                        <p:tgtEl>
                                          <p:spTgt spid="22"/>
                                        </p:tgtEl>
                                        <p:attrNameLst>
                                          <p:attrName>ppt_c</p:attrName>
                                        </p:attrNameLst>
                                      </p:cBhvr>
                                      <p:to>
                                        <a:srgbClr val="B2B2B2"/>
                                      </p:to>
                                    </p:animClr>
                                  </p:sub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8">
                                            <p:txEl>
                                              <p:pRg st="0" end="0"/>
                                            </p:txEl>
                                          </p:spTgt>
                                        </p:tgtEl>
                                        <p:attrNameLst>
                                          <p:attrName>ppt_c</p:attrName>
                                        </p:attrNameLst>
                                      </p:cBhvr>
                                      <p:to>
                                        <a:schemeClr val="tx1"/>
                                      </p:to>
                                    </p:animClr>
                                  </p:subTnLst>
                                </p:cTn>
                              </p:par>
                              <p:par>
                                <p:cTn id="31" presetID="1" presetClass="entr" presetSubtype="0" fill="hold" nodeType="withEffect">
                                  <p:stCondLst>
                                    <p:cond delay="0"/>
                                  </p:stCondLst>
                                  <p:childTnLst>
                                    <p:set>
                                      <p:cBhvr>
                                        <p:cTn id="32" dur="1" fill="hold">
                                          <p:stCondLst>
                                            <p:cond delay="0"/>
                                          </p:stCondLst>
                                        </p:cTn>
                                        <p:tgtEl>
                                          <p:spTgt spid="20"/>
                                        </p:tgtEl>
                                        <p:attrNameLst>
                                          <p:attrName>style.visibility</p:attrName>
                                        </p:attrNameLst>
                                      </p:cBhvr>
                                      <p:to>
                                        <p:strVal val="visible"/>
                                      </p:to>
                                    </p:set>
                                  </p:childTnLst>
                                  <p:subTnLst>
                                    <p:animClr clrSpc="rgb" dir="cw">
                                      <p:cBhvr override="childStyle">
                                        <p:cTn dur="1" fill="hold" display="0" masterRel="nextClick" afterEffect="1"/>
                                        <p:tgtEl>
                                          <p:spTgt spid="20"/>
                                        </p:tgtEl>
                                        <p:attrNameLst>
                                          <p:attrName>ppt_c</p:attrName>
                                        </p:attrNameLst>
                                      </p:cBhvr>
                                      <p:to>
                                        <a:srgbClr val="B2B2B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build="p"/>
      <p:bldP spid="9" grpId="0"/>
      <p:bldP spid="18" grpId="0"/>
      <p:bldP spid="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19CE2E-7711-D05B-37DD-A08219FAE672}"/>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51246860-463A-B4A8-1C0B-4797B8F32BB9}"/>
              </a:ext>
            </a:extLst>
          </p:cNvPr>
          <p:cNvSpPr>
            <a:spLocks noGrp="1"/>
          </p:cNvSpPr>
          <p:nvPr>
            <p:ph type="title"/>
          </p:nvPr>
        </p:nvSpPr>
        <p:spPr>
          <a:xfrm>
            <a:off x="504294" y="84445"/>
            <a:ext cx="8525406" cy="513211"/>
          </a:xfrm>
        </p:spPr>
        <p:txBody>
          <a:bodyPr/>
          <a:lstStyle/>
          <a:p>
            <a:r>
              <a:rPr lang="en-US" sz="2100"/>
              <a:t>Check Reasoning, Bias, Fallacies</a:t>
            </a:r>
          </a:p>
        </p:txBody>
      </p:sp>
      <p:sp>
        <p:nvSpPr>
          <p:cNvPr id="3" name="TextBox 2">
            <a:extLst>
              <a:ext uri="{FF2B5EF4-FFF2-40B4-BE49-F238E27FC236}">
                <a16:creationId xmlns:a16="http://schemas.microsoft.com/office/drawing/2014/main" id="{DE39D65A-2650-0FFA-BEA4-3201CA38419C}"/>
              </a:ext>
            </a:extLst>
          </p:cNvPr>
          <p:cNvSpPr txBox="1"/>
          <p:nvPr/>
        </p:nvSpPr>
        <p:spPr>
          <a:xfrm>
            <a:off x="1073392" y="1999361"/>
            <a:ext cx="1336204" cy="338554"/>
          </a:xfrm>
          <a:prstGeom prst="rect">
            <a:avLst/>
          </a:prstGeom>
          <a:noFill/>
        </p:spPr>
        <p:txBody>
          <a:bodyPr wrap="square">
            <a:spAutoFit/>
          </a:bodyPr>
          <a:lstStyle/>
          <a:p>
            <a:r>
              <a:rPr lang="en-US" sz="1600" b="1">
                <a:solidFill>
                  <a:srgbClr val="1C345E"/>
                </a:solidFill>
                <a:latin typeface="+mj-lt"/>
              </a:rPr>
              <a:t>Reasoning</a:t>
            </a:r>
            <a:endParaRPr lang="en-US" sz="1600">
              <a:solidFill>
                <a:srgbClr val="1C345E"/>
              </a:solidFill>
              <a:latin typeface="+mj-lt"/>
            </a:endParaRPr>
          </a:p>
        </p:txBody>
      </p:sp>
      <p:sp>
        <p:nvSpPr>
          <p:cNvPr id="4" name="TextBox 3">
            <a:extLst>
              <a:ext uri="{FF2B5EF4-FFF2-40B4-BE49-F238E27FC236}">
                <a16:creationId xmlns:a16="http://schemas.microsoft.com/office/drawing/2014/main" id="{B992CACE-6027-E6E5-14FD-A5683007E7CA}"/>
              </a:ext>
            </a:extLst>
          </p:cNvPr>
          <p:cNvSpPr txBox="1"/>
          <p:nvPr/>
        </p:nvSpPr>
        <p:spPr>
          <a:xfrm>
            <a:off x="4319922" y="1999361"/>
            <a:ext cx="1336204" cy="338554"/>
          </a:xfrm>
          <a:prstGeom prst="rect">
            <a:avLst/>
          </a:prstGeom>
          <a:noFill/>
        </p:spPr>
        <p:txBody>
          <a:bodyPr wrap="square">
            <a:spAutoFit/>
          </a:bodyPr>
          <a:lstStyle/>
          <a:p>
            <a:r>
              <a:rPr lang="en-US" sz="1600" b="1">
                <a:solidFill>
                  <a:srgbClr val="005CB9"/>
                </a:solidFill>
                <a:latin typeface="+mj-lt"/>
              </a:rPr>
              <a:t>Bias</a:t>
            </a:r>
            <a:endParaRPr lang="en-US" sz="1600">
              <a:solidFill>
                <a:srgbClr val="005CB9"/>
              </a:solidFill>
              <a:latin typeface="+mj-lt"/>
            </a:endParaRPr>
          </a:p>
        </p:txBody>
      </p:sp>
      <p:sp>
        <p:nvSpPr>
          <p:cNvPr id="6" name="TextBox 5">
            <a:extLst>
              <a:ext uri="{FF2B5EF4-FFF2-40B4-BE49-F238E27FC236}">
                <a16:creationId xmlns:a16="http://schemas.microsoft.com/office/drawing/2014/main" id="{E3ED784D-3663-D490-D6F3-CA6F2E5FB104}"/>
              </a:ext>
            </a:extLst>
          </p:cNvPr>
          <p:cNvSpPr txBox="1"/>
          <p:nvPr/>
        </p:nvSpPr>
        <p:spPr>
          <a:xfrm>
            <a:off x="6910508" y="1999361"/>
            <a:ext cx="1977440" cy="338554"/>
          </a:xfrm>
          <a:prstGeom prst="rect">
            <a:avLst/>
          </a:prstGeom>
          <a:noFill/>
        </p:spPr>
        <p:txBody>
          <a:bodyPr wrap="square">
            <a:spAutoFit/>
          </a:bodyPr>
          <a:lstStyle/>
          <a:p>
            <a:r>
              <a:rPr lang="en-US" sz="1600" b="1">
                <a:solidFill>
                  <a:schemeClr val="accent6"/>
                </a:solidFill>
                <a:latin typeface="+mj-lt"/>
              </a:rPr>
              <a:t>Fallacies</a:t>
            </a:r>
            <a:endParaRPr lang="en-US" sz="1600">
              <a:solidFill>
                <a:schemeClr val="accent6"/>
              </a:solidFill>
              <a:latin typeface="+mj-lt"/>
            </a:endParaRPr>
          </a:p>
        </p:txBody>
      </p:sp>
      <p:sp>
        <p:nvSpPr>
          <p:cNvPr id="10" name="TextBox 9">
            <a:extLst>
              <a:ext uri="{FF2B5EF4-FFF2-40B4-BE49-F238E27FC236}">
                <a16:creationId xmlns:a16="http://schemas.microsoft.com/office/drawing/2014/main" id="{45C5DE0B-A474-17BF-63E2-C28715B34199}"/>
              </a:ext>
            </a:extLst>
          </p:cNvPr>
          <p:cNvSpPr txBox="1"/>
          <p:nvPr/>
        </p:nvSpPr>
        <p:spPr>
          <a:xfrm>
            <a:off x="369894" y="2624757"/>
            <a:ext cx="2743200" cy="1384995"/>
          </a:xfrm>
          <a:prstGeom prst="rect">
            <a:avLst/>
          </a:prstGeom>
          <a:noFill/>
        </p:spPr>
        <p:txBody>
          <a:bodyPr wrap="square">
            <a:spAutoFit/>
          </a:bodyPr>
          <a:lstStyle/>
          <a:p>
            <a:r>
              <a:rPr lang="en-US" sz="1400" b="1">
                <a:solidFill>
                  <a:schemeClr val="bg2"/>
                </a:solidFill>
                <a:latin typeface="+mj-lt"/>
              </a:rPr>
              <a:t>Reasoning</a:t>
            </a:r>
            <a:r>
              <a:rPr lang="en-US" sz="1400">
                <a:latin typeface="+mj-lt"/>
              </a:rPr>
              <a:t> challenges arise from faulty or incomplete thought processes, leading to incorrect conclusions or misinterpretations of data due to gaps in logical analysis</a:t>
            </a:r>
          </a:p>
        </p:txBody>
      </p:sp>
      <p:sp>
        <p:nvSpPr>
          <p:cNvPr id="12" name="TextBox 11">
            <a:extLst>
              <a:ext uri="{FF2B5EF4-FFF2-40B4-BE49-F238E27FC236}">
                <a16:creationId xmlns:a16="http://schemas.microsoft.com/office/drawing/2014/main" id="{CFB2B161-D057-8BBE-B8A5-540295D29AD8}"/>
              </a:ext>
            </a:extLst>
          </p:cNvPr>
          <p:cNvSpPr txBox="1"/>
          <p:nvPr/>
        </p:nvSpPr>
        <p:spPr>
          <a:xfrm>
            <a:off x="3392201" y="2624758"/>
            <a:ext cx="2743200" cy="954107"/>
          </a:xfrm>
          <a:prstGeom prst="rect">
            <a:avLst/>
          </a:prstGeom>
          <a:noFill/>
        </p:spPr>
        <p:txBody>
          <a:bodyPr wrap="square">
            <a:spAutoFit/>
          </a:bodyPr>
          <a:lstStyle/>
          <a:p>
            <a:r>
              <a:rPr lang="en-US" sz="1400" b="1">
                <a:solidFill>
                  <a:schemeClr val="accent3"/>
                </a:solidFill>
                <a:latin typeface="+mj-lt"/>
              </a:rPr>
              <a:t>Bias</a:t>
            </a:r>
            <a:r>
              <a:rPr lang="en-US" sz="1400">
                <a:latin typeface="+mj-lt"/>
              </a:rPr>
              <a:t> challenges stem from cognitive shortcuts and personal inclinations that distort how data is interpreted</a:t>
            </a:r>
          </a:p>
        </p:txBody>
      </p:sp>
      <p:sp>
        <p:nvSpPr>
          <p:cNvPr id="14" name="TextBox 13">
            <a:extLst>
              <a:ext uri="{FF2B5EF4-FFF2-40B4-BE49-F238E27FC236}">
                <a16:creationId xmlns:a16="http://schemas.microsoft.com/office/drawing/2014/main" id="{0D2A199E-DECF-0A62-839B-8B8E81A6A620}"/>
              </a:ext>
            </a:extLst>
          </p:cNvPr>
          <p:cNvSpPr txBox="1"/>
          <p:nvPr/>
        </p:nvSpPr>
        <p:spPr>
          <a:xfrm>
            <a:off x="6254670" y="2624757"/>
            <a:ext cx="2743200" cy="954107"/>
          </a:xfrm>
          <a:prstGeom prst="rect">
            <a:avLst/>
          </a:prstGeom>
          <a:noFill/>
        </p:spPr>
        <p:txBody>
          <a:bodyPr wrap="square">
            <a:spAutoFit/>
          </a:bodyPr>
          <a:lstStyle/>
          <a:p>
            <a:r>
              <a:rPr lang="en-US" sz="1400" b="1">
                <a:solidFill>
                  <a:schemeClr val="accent6"/>
                </a:solidFill>
                <a:latin typeface="+mj-lt"/>
              </a:rPr>
              <a:t>Fallacies</a:t>
            </a:r>
            <a:r>
              <a:rPr lang="en-US" sz="1400">
                <a:latin typeface="+mj-lt"/>
              </a:rPr>
              <a:t> involve flawed logic or deceptive reasoning when analyzing and interpreting data or drawing conclusions</a:t>
            </a:r>
          </a:p>
        </p:txBody>
      </p:sp>
      <p:pic>
        <p:nvPicPr>
          <p:cNvPr id="16" name="Graphic 15">
            <a:extLst>
              <a:ext uri="{FF2B5EF4-FFF2-40B4-BE49-F238E27FC236}">
                <a16:creationId xmlns:a16="http://schemas.microsoft.com/office/drawing/2014/main" id="{DE47B5CD-2D8D-1E2E-BE09-02081F5C76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14800" y="976338"/>
            <a:ext cx="954157" cy="914400"/>
          </a:xfrm>
          <a:prstGeom prst="rect">
            <a:avLst/>
          </a:prstGeom>
        </p:spPr>
      </p:pic>
      <p:pic>
        <p:nvPicPr>
          <p:cNvPr id="18" name="Graphic 17">
            <a:extLst>
              <a:ext uri="{FF2B5EF4-FFF2-40B4-BE49-F238E27FC236}">
                <a16:creationId xmlns:a16="http://schemas.microsoft.com/office/drawing/2014/main" id="{96B449E4-50A0-73DA-9D29-7DC08D92D2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70271" y="976338"/>
            <a:ext cx="914400" cy="914400"/>
          </a:xfrm>
          <a:prstGeom prst="rect">
            <a:avLst/>
          </a:prstGeom>
        </p:spPr>
      </p:pic>
      <p:pic>
        <p:nvPicPr>
          <p:cNvPr id="20" name="Graphic 19">
            <a:extLst>
              <a:ext uri="{FF2B5EF4-FFF2-40B4-BE49-F238E27FC236}">
                <a16:creationId xmlns:a16="http://schemas.microsoft.com/office/drawing/2014/main" id="{FC7059F1-1E0E-6F7F-F7E3-974AC7426CF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84294" y="976338"/>
            <a:ext cx="914400" cy="914400"/>
          </a:xfrm>
          <a:prstGeom prst="rect">
            <a:avLst/>
          </a:prstGeom>
        </p:spPr>
      </p:pic>
    </p:spTree>
    <p:extLst>
      <p:ext uri="{BB962C8B-B14F-4D97-AF65-F5344CB8AC3E}">
        <p14:creationId xmlns:p14="http://schemas.microsoft.com/office/powerpoint/2010/main" val="992629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subTnLst>
                                    <p:animClr clrSpc="rgb" dir="cw">
                                      <p:cBhvr override="childStyle">
                                        <p:cTn dur="1" fill="hold" display="0" masterRel="nextClick" afterEffect="1"/>
                                        <p:tgtEl>
                                          <p:spTgt spid="3"/>
                                        </p:tgtEl>
                                        <p:attrNameLst>
                                          <p:attrName>ppt_c</p:attrName>
                                        </p:attrNameLst>
                                      </p:cBhvr>
                                      <p:to>
                                        <a:schemeClr val="tx1"/>
                                      </p:to>
                                    </p:animClr>
                                  </p:sub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subTnLst>
                                    <p:animClr clrSpc="rgb" dir="cw">
                                      <p:cBhvr override="childStyle">
                                        <p:cTn dur="1" fill="hold" display="0" masterRel="nextClick" afterEffect="1"/>
                                        <p:tgtEl>
                                          <p:spTgt spid="10"/>
                                        </p:tgtEl>
                                        <p:attrNameLst>
                                          <p:attrName>ppt_c</p:attrName>
                                        </p:attrNameLst>
                                      </p:cBhvr>
                                      <p:to>
                                        <a:schemeClr val="tx1"/>
                                      </p:to>
                                    </p:animClr>
                                  </p:subTnLst>
                                </p:cTn>
                              </p:par>
                              <p:par>
                                <p:cTn id="9" presetID="1" presetClass="entr" presetSubtype="0"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subTnLst>
                                    <p:animClr clrSpc="rgb" dir="cw">
                                      <p:cBhvr override="childStyle">
                                        <p:cTn dur="1" fill="hold" display="0" masterRel="nextClick" afterEffect="1"/>
                                        <p:tgtEl>
                                          <p:spTgt spid="20"/>
                                        </p:tgtEl>
                                        <p:attrNameLst>
                                          <p:attrName>ppt_c</p:attrName>
                                        </p:attrNameLst>
                                      </p:cBhvr>
                                      <p:to>
                                        <a:srgbClr val="B2B2B2"/>
                                      </p:to>
                                    </p:animClr>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subTnLst>
                                    <p:animClr clrSpc="rgb" dir="cw">
                                      <p:cBhvr override="childStyle">
                                        <p:cTn dur="1" fill="hold" display="0" masterRel="nextClick" afterEffect="1"/>
                                        <p:tgtEl>
                                          <p:spTgt spid="4"/>
                                        </p:tgtEl>
                                        <p:attrNameLst>
                                          <p:attrName>ppt_c</p:attrName>
                                        </p:attrNameLst>
                                      </p:cBhvr>
                                      <p:to>
                                        <a:schemeClr val="tx1"/>
                                      </p:to>
                                    </p:animClr>
                                  </p:sub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subTnLst>
                                    <p:animClr clrSpc="rgb" dir="cw">
                                      <p:cBhvr override="childStyle">
                                        <p:cTn dur="1" fill="hold" display="0" masterRel="nextClick" afterEffect="1"/>
                                        <p:tgtEl>
                                          <p:spTgt spid="12"/>
                                        </p:tgtEl>
                                        <p:attrNameLst>
                                          <p:attrName>ppt_c</p:attrName>
                                        </p:attrNameLst>
                                      </p:cBhvr>
                                      <p:to>
                                        <a:schemeClr val="tx1"/>
                                      </p:to>
                                    </p:animClr>
                                  </p:sub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subTnLst>
                                    <p:animClr clrSpc="rgb" dir="cw">
                                      <p:cBhvr override="childStyle">
                                        <p:cTn dur="1" fill="hold" display="0" masterRel="nextClick" afterEffect="1"/>
                                        <p:tgtEl>
                                          <p:spTgt spid="16"/>
                                        </p:tgtEl>
                                        <p:attrNameLst>
                                          <p:attrName>ppt_c</p:attrName>
                                        </p:attrNameLst>
                                      </p:cBhvr>
                                      <p:to>
                                        <a:srgbClr val="B2B2B2"/>
                                      </p:to>
                                    </p:animClr>
                                  </p:sub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subTnLst>
                                    <p:animClr clrSpc="rgb" dir="cw">
                                      <p:cBhvr override="childStyle">
                                        <p:cTn dur="1" fill="hold" display="0" masterRel="nextClick" afterEffect="1"/>
                                        <p:tgtEl>
                                          <p:spTgt spid="6"/>
                                        </p:tgtEl>
                                        <p:attrNameLst>
                                          <p:attrName>ppt_c</p:attrName>
                                        </p:attrNameLst>
                                      </p:cBhvr>
                                      <p:to>
                                        <a:schemeClr val="tx1"/>
                                      </p:to>
                                    </p:animClr>
                                  </p:sub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subTnLst>
                                    <p:animClr clrSpc="rgb" dir="cw">
                                      <p:cBhvr override="childStyle">
                                        <p:cTn dur="1" fill="hold" display="0" masterRel="nextClick" afterEffect="1"/>
                                        <p:tgtEl>
                                          <p:spTgt spid="14"/>
                                        </p:tgtEl>
                                        <p:attrNameLst>
                                          <p:attrName>ppt_c</p:attrName>
                                        </p:attrNameLst>
                                      </p:cBhvr>
                                      <p:to>
                                        <a:schemeClr val="tx1"/>
                                      </p:to>
                                    </p:animClr>
                                  </p:subTnLst>
                                </p:cTn>
                              </p:par>
                              <p:par>
                                <p:cTn id="25" presetID="1" presetClass="entr" presetSubtype="0" fill="hold"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subTnLst>
                                    <p:animClr clrSpc="rgb" dir="cw">
                                      <p:cBhvr override="childStyle">
                                        <p:cTn dur="1" fill="hold" display="0" masterRel="nextClick" afterEffect="1"/>
                                        <p:tgtEl>
                                          <p:spTgt spid="18"/>
                                        </p:tgtEl>
                                        <p:attrNameLst>
                                          <p:attrName>ppt_c</p:attrName>
                                        </p:attrNameLst>
                                      </p:cBhvr>
                                      <p:to>
                                        <a:srgbClr val="B2B2B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6" grpId="0"/>
      <p:bldP spid="10" grpId="0"/>
      <p:bldP spid="12" grpId="0"/>
      <p:bldP spid="1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CE5156-D818-DF7C-AFCD-3314C7B7A34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04CB55C-00E8-BC82-FA16-EF95FA13D9F9}"/>
              </a:ext>
            </a:extLst>
          </p:cNvPr>
          <p:cNvSpPr>
            <a:spLocks noGrp="1"/>
          </p:cNvSpPr>
          <p:nvPr>
            <p:ph type="title"/>
          </p:nvPr>
        </p:nvSpPr>
        <p:spPr>
          <a:xfrm>
            <a:off x="495300" y="143444"/>
            <a:ext cx="8106305" cy="513211"/>
          </a:xfrm>
        </p:spPr>
        <p:txBody>
          <a:bodyPr/>
          <a:lstStyle/>
          <a:p>
            <a:r>
              <a:rPr lang="en-US" sz="2100"/>
              <a:t>Learning Objectives</a:t>
            </a:r>
          </a:p>
        </p:txBody>
      </p:sp>
      <p:sp>
        <p:nvSpPr>
          <p:cNvPr id="6" name="Freeform 63">
            <a:extLst>
              <a:ext uri="{FF2B5EF4-FFF2-40B4-BE49-F238E27FC236}">
                <a16:creationId xmlns:a16="http://schemas.microsoft.com/office/drawing/2014/main" id="{42A8ED10-284F-30F6-E284-6FC502EF4DEA}"/>
              </a:ext>
            </a:extLst>
          </p:cNvPr>
          <p:cNvSpPr/>
          <p:nvPr/>
        </p:nvSpPr>
        <p:spPr>
          <a:xfrm>
            <a:off x="2879473" y="1152882"/>
            <a:ext cx="5594825" cy="594975"/>
          </a:xfrm>
          <a:custGeom>
            <a:avLst/>
            <a:gdLst>
              <a:gd name="connsiteX0" fmla="*/ 0 w 5870169"/>
              <a:gd name="connsiteY0" fmla="*/ 0 h 641684"/>
              <a:gd name="connsiteX1" fmla="*/ 5870169 w 5870169"/>
              <a:gd name="connsiteY1" fmla="*/ 0 h 641684"/>
              <a:gd name="connsiteX2" fmla="*/ 5870169 w 5870169"/>
              <a:gd name="connsiteY2" fmla="*/ 641684 h 641684"/>
              <a:gd name="connsiteX3" fmla="*/ 5130733 w 5870169"/>
              <a:gd name="connsiteY3" fmla="*/ 641684 h 641684"/>
              <a:gd name="connsiteX4" fmla="*/ 5130733 w 5870169"/>
              <a:gd name="connsiteY4" fmla="*/ 630596 h 641684"/>
              <a:gd name="connsiteX5" fmla="*/ 5859081 w 5870169"/>
              <a:gd name="connsiteY5" fmla="*/ 630596 h 641684"/>
              <a:gd name="connsiteX6" fmla="*/ 5859081 w 5870169"/>
              <a:gd name="connsiteY6" fmla="*/ 11088 h 641684"/>
              <a:gd name="connsiteX7" fmla="*/ 11088 w 5870169"/>
              <a:gd name="connsiteY7" fmla="*/ 11088 h 641684"/>
              <a:gd name="connsiteX8" fmla="*/ 11088 w 5870169"/>
              <a:gd name="connsiteY8" fmla="*/ 23492 h 641684"/>
              <a:gd name="connsiteX9" fmla="*/ 0 w 5870169"/>
              <a:gd name="connsiteY9" fmla="*/ 23492 h 64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70169" h="641684">
                <a:moveTo>
                  <a:pt x="0" y="0"/>
                </a:moveTo>
                <a:lnTo>
                  <a:pt x="5870169" y="0"/>
                </a:lnTo>
                <a:lnTo>
                  <a:pt x="5870169" y="641684"/>
                </a:lnTo>
                <a:lnTo>
                  <a:pt x="5130733" y="641684"/>
                </a:lnTo>
                <a:lnTo>
                  <a:pt x="5130733" y="630596"/>
                </a:lnTo>
                <a:lnTo>
                  <a:pt x="5859081" y="630596"/>
                </a:lnTo>
                <a:lnTo>
                  <a:pt x="5859081" y="11088"/>
                </a:lnTo>
                <a:lnTo>
                  <a:pt x="11088" y="11088"/>
                </a:lnTo>
                <a:lnTo>
                  <a:pt x="11088" y="23492"/>
                </a:lnTo>
                <a:lnTo>
                  <a:pt x="0" y="23492"/>
                </a:lnTo>
                <a:close/>
              </a:path>
            </a:pathLst>
          </a:custGeom>
          <a:solidFill>
            <a:srgbClr val="51C3CD"/>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00">
              <a:solidFill>
                <a:prstClr val="black"/>
              </a:solidFill>
              <a:latin typeface="Aptos" panose="020B0004020202020204" pitchFamily="34" charset="0"/>
              <a:ea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E6679F5A-E981-D3B0-73E3-3508FEA1643F}"/>
              </a:ext>
            </a:extLst>
          </p:cNvPr>
          <p:cNvSpPr/>
          <p:nvPr/>
        </p:nvSpPr>
        <p:spPr>
          <a:xfrm>
            <a:off x="3542814" y="1141274"/>
            <a:ext cx="4786848" cy="492443"/>
          </a:xfrm>
          <a:prstGeom prst="rect">
            <a:avLst/>
          </a:prstGeom>
        </p:spPr>
        <p:txBody>
          <a:bodyPr wrap="square">
            <a:spAutoFit/>
          </a:bodyPr>
          <a:lstStyle/>
          <a:p>
            <a:pPr>
              <a:defRPr/>
            </a:pPr>
            <a:r>
              <a:rPr lang="en-US" sz="1300">
                <a:latin typeface="Aptos" panose="020B0004020202020204" pitchFamily="34" charset="0"/>
              </a:rPr>
              <a:t>To transform complex business problems into actionable insights</a:t>
            </a:r>
            <a:endParaRPr lang="en-US" sz="1300" kern="0">
              <a:solidFill>
                <a:srgbClr val="545659">
                  <a:lumMod val="65000"/>
                  <a:lumOff val="35000"/>
                </a:srgbClr>
              </a:solidFill>
              <a:latin typeface="Aptos" panose="020B0004020202020204" pitchFamily="34" charset="0"/>
              <a:ea typeface="Calibri" panose="020F0502020204030204" pitchFamily="34" charset="0"/>
              <a:cs typeface="Calibri" panose="020F0502020204030204" pitchFamily="34" charset="0"/>
            </a:endParaRPr>
          </a:p>
        </p:txBody>
      </p:sp>
      <p:sp>
        <p:nvSpPr>
          <p:cNvPr id="9" name="Freeform 61">
            <a:extLst>
              <a:ext uri="{FF2B5EF4-FFF2-40B4-BE49-F238E27FC236}">
                <a16:creationId xmlns:a16="http://schemas.microsoft.com/office/drawing/2014/main" id="{61CF4C0E-749A-02B0-4A17-44ED0533CADA}"/>
              </a:ext>
            </a:extLst>
          </p:cNvPr>
          <p:cNvSpPr/>
          <p:nvPr/>
        </p:nvSpPr>
        <p:spPr>
          <a:xfrm>
            <a:off x="2879472" y="1957396"/>
            <a:ext cx="5594825" cy="594974"/>
          </a:xfrm>
          <a:custGeom>
            <a:avLst/>
            <a:gdLst>
              <a:gd name="connsiteX0" fmla="*/ 0 w 5870169"/>
              <a:gd name="connsiteY0" fmla="*/ 0 h 641684"/>
              <a:gd name="connsiteX1" fmla="*/ 5870169 w 5870169"/>
              <a:gd name="connsiteY1" fmla="*/ 0 h 641684"/>
              <a:gd name="connsiteX2" fmla="*/ 5870169 w 5870169"/>
              <a:gd name="connsiteY2" fmla="*/ 641684 h 641684"/>
              <a:gd name="connsiteX3" fmla="*/ 5130733 w 5870169"/>
              <a:gd name="connsiteY3" fmla="*/ 641684 h 641684"/>
              <a:gd name="connsiteX4" fmla="*/ 5130733 w 5870169"/>
              <a:gd name="connsiteY4" fmla="*/ 630596 h 641684"/>
              <a:gd name="connsiteX5" fmla="*/ 5859081 w 5870169"/>
              <a:gd name="connsiteY5" fmla="*/ 630596 h 641684"/>
              <a:gd name="connsiteX6" fmla="*/ 5859081 w 5870169"/>
              <a:gd name="connsiteY6" fmla="*/ 11088 h 641684"/>
              <a:gd name="connsiteX7" fmla="*/ 11088 w 5870169"/>
              <a:gd name="connsiteY7" fmla="*/ 11088 h 641684"/>
              <a:gd name="connsiteX8" fmla="*/ 11088 w 5870169"/>
              <a:gd name="connsiteY8" fmla="*/ 23492 h 641684"/>
              <a:gd name="connsiteX9" fmla="*/ 0 w 5870169"/>
              <a:gd name="connsiteY9" fmla="*/ 23492 h 64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70169" h="641684">
                <a:moveTo>
                  <a:pt x="0" y="0"/>
                </a:moveTo>
                <a:lnTo>
                  <a:pt x="5870169" y="0"/>
                </a:lnTo>
                <a:lnTo>
                  <a:pt x="5870169" y="641684"/>
                </a:lnTo>
                <a:lnTo>
                  <a:pt x="5130733" y="641684"/>
                </a:lnTo>
                <a:lnTo>
                  <a:pt x="5130733" y="630596"/>
                </a:lnTo>
                <a:lnTo>
                  <a:pt x="5859081" y="630596"/>
                </a:lnTo>
                <a:lnTo>
                  <a:pt x="5859081" y="11088"/>
                </a:lnTo>
                <a:lnTo>
                  <a:pt x="11088" y="11088"/>
                </a:lnTo>
                <a:lnTo>
                  <a:pt x="11088" y="23492"/>
                </a:lnTo>
                <a:lnTo>
                  <a:pt x="0" y="23492"/>
                </a:lnTo>
                <a:close/>
              </a:path>
            </a:pathLst>
          </a:custGeom>
          <a:solidFill>
            <a:srgbClr val="8ED8DE"/>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00">
              <a:solidFill>
                <a:prstClr val="black"/>
              </a:solidFill>
              <a:latin typeface="Aptos" panose="020B0004020202020204" pitchFamily="34" charset="0"/>
              <a:ea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C6730944-554F-AFF3-7815-72CD905F76AC}"/>
              </a:ext>
            </a:extLst>
          </p:cNvPr>
          <p:cNvSpPr/>
          <p:nvPr/>
        </p:nvSpPr>
        <p:spPr>
          <a:xfrm>
            <a:off x="3542813" y="1972233"/>
            <a:ext cx="4786848" cy="692497"/>
          </a:xfrm>
          <a:prstGeom prst="rect">
            <a:avLst/>
          </a:prstGeom>
        </p:spPr>
        <p:txBody>
          <a:bodyPr wrap="square">
            <a:spAutoFit/>
          </a:bodyPr>
          <a:lstStyle/>
          <a:p>
            <a:pPr algn="l"/>
            <a:r>
              <a:rPr lang="en-US" sz="1300">
                <a:latin typeface="Aptos" panose="020B0004020202020204" pitchFamily="34" charset="0"/>
              </a:rPr>
              <a:t>Using the six key validation criteria to minimize decision-making biases and avoid common analytical fallacies</a:t>
            </a:r>
          </a:p>
          <a:p>
            <a:pPr algn="l"/>
            <a:endParaRPr lang="en-US" sz="1300" b="1">
              <a:latin typeface="Aptos" panose="020B0004020202020204" pitchFamily="34" charset="0"/>
            </a:endParaRPr>
          </a:p>
        </p:txBody>
      </p:sp>
      <p:sp>
        <p:nvSpPr>
          <p:cNvPr id="16" name="Round Same Side Corner Rectangle 57">
            <a:extLst>
              <a:ext uri="{FF2B5EF4-FFF2-40B4-BE49-F238E27FC236}">
                <a16:creationId xmlns:a16="http://schemas.microsoft.com/office/drawing/2014/main" id="{6E478350-D9F4-16E8-999F-183A8C9A791A}"/>
              </a:ext>
            </a:extLst>
          </p:cNvPr>
          <p:cNvSpPr/>
          <p:nvPr/>
        </p:nvSpPr>
        <p:spPr>
          <a:xfrm rot="5400000">
            <a:off x="1991977" y="969458"/>
            <a:ext cx="581423" cy="2520250"/>
          </a:xfrm>
          <a:prstGeom prst="round2SameRect">
            <a:avLst>
              <a:gd name="adj1" fmla="val 5492"/>
              <a:gd name="adj2" fmla="val 0"/>
            </a:avLst>
          </a:prstGeom>
          <a:solidFill>
            <a:schemeClr val="bg2"/>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600">
              <a:solidFill>
                <a:prstClr val="white"/>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9A118D7D-669F-D214-D993-4D9E16F46919}"/>
              </a:ext>
            </a:extLst>
          </p:cNvPr>
          <p:cNvSpPr txBox="1"/>
          <p:nvPr/>
        </p:nvSpPr>
        <p:spPr>
          <a:xfrm>
            <a:off x="1047554" y="1957398"/>
            <a:ext cx="2167252" cy="619923"/>
          </a:xfrm>
          <a:prstGeom prst="rect">
            <a:avLst/>
          </a:prstGeom>
          <a:noFill/>
        </p:spPr>
        <p:txBody>
          <a:bodyPr wrap="square" rtlCol="0">
            <a:spAutoFit/>
          </a:bodyPr>
          <a:lstStyle/>
          <a:p>
            <a:r>
              <a:rPr lang="en-US" sz="1400" b="1">
                <a:solidFill>
                  <a:schemeClr val="bg1"/>
                </a:solidFill>
                <a:latin typeface="Aptos" panose="020B0004020202020204" pitchFamily="34" charset="0"/>
              </a:rPr>
              <a:t>Evaluate data quality and insights</a:t>
            </a:r>
            <a:endParaRPr lang="en-US" sz="1400" b="1">
              <a:solidFill>
                <a:schemeClr val="bg1"/>
              </a:solidFill>
              <a:latin typeface="Arial" panose="020B0604020202020204" pitchFamily="34" charset="0"/>
              <a:cs typeface="Arial" panose="020B0604020202020204" pitchFamily="34" charset="0"/>
            </a:endParaRPr>
          </a:p>
        </p:txBody>
      </p:sp>
      <p:sp>
        <p:nvSpPr>
          <p:cNvPr id="14" name="Round Same Side Corner Rectangle 51">
            <a:extLst>
              <a:ext uri="{FF2B5EF4-FFF2-40B4-BE49-F238E27FC236}">
                <a16:creationId xmlns:a16="http://schemas.microsoft.com/office/drawing/2014/main" id="{D911A0A7-8272-2C77-6CEE-1D0B85AA626B}"/>
              </a:ext>
            </a:extLst>
          </p:cNvPr>
          <p:cNvSpPr/>
          <p:nvPr/>
        </p:nvSpPr>
        <p:spPr>
          <a:xfrm rot="5400000">
            <a:off x="1991977" y="155215"/>
            <a:ext cx="581423" cy="2520250"/>
          </a:xfrm>
          <a:prstGeom prst="round2SameRect">
            <a:avLst>
              <a:gd name="adj1" fmla="val 5492"/>
              <a:gd name="adj2" fmla="val 0"/>
            </a:avLst>
          </a:prstGeom>
          <a:solidFill>
            <a:schemeClr val="bg2"/>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600">
              <a:solidFill>
                <a:prstClr val="white"/>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07600901-4616-591B-BC96-0FED7B13DA60}"/>
              </a:ext>
            </a:extLst>
          </p:cNvPr>
          <p:cNvSpPr txBox="1"/>
          <p:nvPr/>
        </p:nvSpPr>
        <p:spPr>
          <a:xfrm>
            <a:off x="1024056" y="1159325"/>
            <a:ext cx="2633548" cy="523219"/>
          </a:xfrm>
          <a:prstGeom prst="rect">
            <a:avLst/>
          </a:prstGeom>
          <a:noFill/>
        </p:spPr>
        <p:txBody>
          <a:bodyPr wrap="square" rtlCol="0">
            <a:spAutoFit/>
          </a:bodyPr>
          <a:lstStyle/>
          <a:p>
            <a:r>
              <a:rPr lang="en-US" sz="1400" b="1">
                <a:solidFill>
                  <a:schemeClr val="bg1"/>
                </a:solidFill>
                <a:latin typeface="Aptos" panose="020B0004020202020204" pitchFamily="34" charset="0"/>
              </a:rPr>
              <a:t>Apply a data-informed decision-making process</a:t>
            </a:r>
            <a:endParaRPr lang="en-US" sz="1400" b="1">
              <a:solidFill>
                <a:schemeClr val="bg1"/>
              </a:solidFill>
              <a:latin typeface="Arial" panose="020B0604020202020204" pitchFamily="34" charset="0"/>
              <a:cs typeface="Arial" panose="020B0604020202020204" pitchFamily="34" charset="0"/>
            </a:endParaRPr>
          </a:p>
        </p:txBody>
      </p:sp>
      <p:sp>
        <p:nvSpPr>
          <p:cNvPr id="19" name="Freeform 63">
            <a:extLst>
              <a:ext uri="{FF2B5EF4-FFF2-40B4-BE49-F238E27FC236}">
                <a16:creationId xmlns:a16="http://schemas.microsoft.com/office/drawing/2014/main" id="{CD3743E5-2877-6A4B-1464-7C31FDD55136}"/>
              </a:ext>
            </a:extLst>
          </p:cNvPr>
          <p:cNvSpPr/>
          <p:nvPr/>
        </p:nvSpPr>
        <p:spPr>
          <a:xfrm>
            <a:off x="2879472" y="2735794"/>
            <a:ext cx="5594825" cy="594975"/>
          </a:xfrm>
          <a:custGeom>
            <a:avLst/>
            <a:gdLst>
              <a:gd name="connsiteX0" fmla="*/ 0 w 5870169"/>
              <a:gd name="connsiteY0" fmla="*/ 0 h 641684"/>
              <a:gd name="connsiteX1" fmla="*/ 5870169 w 5870169"/>
              <a:gd name="connsiteY1" fmla="*/ 0 h 641684"/>
              <a:gd name="connsiteX2" fmla="*/ 5870169 w 5870169"/>
              <a:gd name="connsiteY2" fmla="*/ 641684 h 641684"/>
              <a:gd name="connsiteX3" fmla="*/ 5130733 w 5870169"/>
              <a:gd name="connsiteY3" fmla="*/ 641684 h 641684"/>
              <a:gd name="connsiteX4" fmla="*/ 5130733 w 5870169"/>
              <a:gd name="connsiteY4" fmla="*/ 630596 h 641684"/>
              <a:gd name="connsiteX5" fmla="*/ 5859081 w 5870169"/>
              <a:gd name="connsiteY5" fmla="*/ 630596 h 641684"/>
              <a:gd name="connsiteX6" fmla="*/ 5859081 w 5870169"/>
              <a:gd name="connsiteY6" fmla="*/ 11088 h 641684"/>
              <a:gd name="connsiteX7" fmla="*/ 11088 w 5870169"/>
              <a:gd name="connsiteY7" fmla="*/ 11088 h 641684"/>
              <a:gd name="connsiteX8" fmla="*/ 11088 w 5870169"/>
              <a:gd name="connsiteY8" fmla="*/ 23492 h 641684"/>
              <a:gd name="connsiteX9" fmla="*/ 0 w 5870169"/>
              <a:gd name="connsiteY9" fmla="*/ 23492 h 64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70169" h="641684">
                <a:moveTo>
                  <a:pt x="0" y="0"/>
                </a:moveTo>
                <a:lnTo>
                  <a:pt x="5870169" y="0"/>
                </a:lnTo>
                <a:lnTo>
                  <a:pt x="5870169" y="641684"/>
                </a:lnTo>
                <a:lnTo>
                  <a:pt x="5130733" y="641684"/>
                </a:lnTo>
                <a:lnTo>
                  <a:pt x="5130733" y="630596"/>
                </a:lnTo>
                <a:lnTo>
                  <a:pt x="5859081" y="630596"/>
                </a:lnTo>
                <a:lnTo>
                  <a:pt x="5859081" y="11088"/>
                </a:lnTo>
                <a:lnTo>
                  <a:pt x="11088" y="11088"/>
                </a:lnTo>
                <a:lnTo>
                  <a:pt x="11088" y="23492"/>
                </a:lnTo>
                <a:lnTo>
                  <a:pt x="0" y="23492"/>
                </a:lnTo>
                <a:close/>
              </a:path>
            </a:pathLst>
          </a:custGeom>
          <a:solidFill>
            <a:srgbClr val="51C3CD"/>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00">
              <a:solidFill>
                <a:prstClr val="black"/>
              </a:solidFill>
              <a:latin typeface="Aptos" panose="020B0004020202020204" pitchFamily="34" charset="0"/>
              <a:ea typeface="Calibri" panose="020F050202020403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79868B21-052F-BD92-FB11-D02C10E444AB}"/>
              </a:ext>
            </a:extLst>
          </p:cNvPr>
          <p:cNvSpPr/>
          <p:nvPr/>
        </p:nvSpPr>
        <p:spPr>
          <a:xfrm>
            <a:off x="3542813" y="2724186"/>
            <a:ext cx="4786848" cy="492443"/>
          </a:xfrm>
          <a:prstGeom prst="rect">
            <a:avLst/>
          </a:prstGeom>
        </p:spPr>
        <p:txBody>
          <a:bodyPr wrap="square">
            <a:spAutoFit/>
          </a:bodyPr>
          <a:lstStyle/>
          <a:p>
            <a:pPr>
              <a:defRPr/>
            </a:pPr>
            <a:r>
              <a:rPr lang="en-US" sz="1300" dirty="0">
                <a:latin typeface="Aptos" panose="020B0004020202020204" pitchFamily="34" charset="0"/>
              </a:rPr>
              <a:t>Identifying and analyzing multiple layers of a problem to develop more comprehensive solutions</a:t>
            </a:r>
            <a:endParaRPr lang="en-US" sz="1300" kern="0" dirty="0">
              <a:solidFill>
                <a:srgbClr val="545659">
                  <a:lumMod val="65000"/>
                  <a:lumOff val="35000"/>
                </a:srgbClr>
              </a:solidFill>
              <a:latin typeface="Aptos" panose="020B0004020202020204" pitchFamily="34" charset="0"/>
              <a:ea typeface="Calibri" panose="020F0502020204030204" pitchFamily="34" charset="0"/>
              <a:cs typeface="Calibri" panose="020F0502020204030204" pitchFamily="34" charset="0"/>
            </a:endParaRPr>
          </a:p>
        </p:txBody>
      </p:sp>
      <p:sp>
        <p:nvSpPr>
          <p:cNvPr id="22" name="Freeform 61">
            <a:extLst>
              <a:ext uri="{FF2B5EF4-FFF2-40B4-BE49-F238E27FC236}">
                <a16:creationId xmlns:a16="http://schemas.microsoft.com/office/drawing/2014/main" id="{B17C429A-55D0-E8FF-F533-2711308324F3}"/>
              </a:ext>
            </a:extLst>
          </p:cNvPr>
          <p:cNvSpPr/>
          <p:nvPr/>
        </p:nvSpPr>
        <p:spPr>
          <a:xfrm>
            <a:off x="2879472" y="3532183"/>
            <a:ext cx="5594825" cy="594973"/>
          </a:xfrm>
          <a:custGeom>
            <a:avLst/>
            <a:gdLst>
              <a:gd name="connsiteX0" fmla="*/ 0 w 5870169"/>
              <a:gd name="connsiteY0" fmla="*/ 0 h 641684"/>
              <a:gd name="connsiteX1" fmla="*/ 5870169 w 5870169"/>
              <a:gd name="connsiteY1" fmla="*/ 0 h 641684"/>
              <a:gd name="connsiteX2" fmla="*/ 5870169 w 5870169"/>
              <a:gd name="connsiteY2" fmla="*/ 641684 h 641684"/>
              <a:gd name="connsiteX3" fmla="*/ 5130733 w 5870169"/>
              <a:gd name="connsiteY3" fmla="*/ 641684 h 641684"/>
              <a:gd name="connsiteX4" fmla="*/ 5130733 w 5870169"/>
              <a:gd name="connsiteY4" fmla="*/ 630596 h 641684"/>
              <a:gd name="connsiteX5" fmla="*/ 5859081 w 5870169"/>
              <a:gd name="connsiteY5" fmla="*/ 630596 h 641684"/>
              <a:gd name="connsiteX6" fmla="*/ 5859081 w 5870169"/>
              <a:gd name="connsiteY6" fmla="*/ 11088 h 641684"/>
              <a:gd name="connsiteX7" fmla="*/ 11088 w 5870169"/>
              <a:gd name="connsiteY7" fmla="*/ 11088 h 641684"/>
              <a:gd name="connsiteX8" fmla="*/ 11088 w 5870169"/>
              <a:gd name="connsiteY8" fmla="*/ 23492 h 641684"/>
              <a:gd name="connsiteX9" fmla="*/ 0 w 5870169"/>
              <a:gd name="connsiteY9" fmla="*/ 23492 h 64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70169" h="641684">
                <a:moveTo>
                  <a:pt x="0" y="0"/>
                </a:moveTo>
                <a:lnTo>
                  <a:pt x="5870169" y="0"/>
                </a:lnTo>
                <a:lnTo>
                  <a:pt x="5870169" y="641684"/>
                </a:lnTo>
                <a:lnTo>
                  <a:pt x="5130733" y="641684"/>
                </a:lnTo>
                <a:lnTo>
                  <a:pt x="5130733" y="630596"/>
                </a:lnTo>
                <a:lnTo>
                  <a:pt x="5859081" y="630596"/>
                </a:lnTo>
                <a:lnTo>
                  <a:pt x="5859081" y="11088"/>
                </a:lnTo>
                <a:lnTo>
                  <a:pt x="11088" y="11088"/>
                </a:lnTo>
                <a:lnTo>
                  <a:pt x="11088" y="23492"/>
                </a:lnTo>
                <a:lnTo>
                  <a:pt x="0" y="23492"/>
                </a:lnTo>
                <a:close/>
              </a:path>
            </a:pathLst>
          </a:custGeom>
          <a:solidFill>
            <a:srgbClr val="8ED8DE"/>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00">
              <a:solidFill>
                <a:prstClr val="black"/>
              </a:solidFill>
              <a:latin typeface="Aptos" panose="020B0004020202020204" pitchFamily="34" charset="0"/>
              <a:ea typeface="Calibri" panose="020F0502020204030204" pitchFamily="34" charset="0"/>
              <a:cs typeface="Calibri" panose="020F0502020204030204" pitchFamily="34" charset="0"/>
            </a:endParaRPr>
          </a:p>
        </p:txBody>
      </p:sp>
      <p:sp>
        <p:nvSpPr>
          <p:cNvPr id="23" name="Rectangle 22">
            <a:extLst>
              <a:ext uri="{FF2B5EF4-FFF2-40B4-BE49-F238E27FC236}">
                <a16:creationId xmlns:a16="http://schemas.microsoft.com/office/drawing/2014/main" id="{EA78FE8F-AF7C-5697-2D01-4D2BA43D47C5}"/>
              </a:ext>
            </a:extLst>
          </p:cNvPr>
          <p:cNvSpPr/>
          <p:nvPr/>
        </p:nvSpPr>
        <p:spPr>
          <a:xfrm>
            <a:off x="3542813" y="3547033"/>
            <a:ext cx="4786848" cy="492443"/>
          </a:xfrm>
          <a:prstGeom prst="rect">
            <a:avLst/>
          </a:prstGeom>
        </p:spPr>
        <p:txBody>
          <a:bodyPr wrap="square">
            <a:spAutoFit/>
          </a:bodyPr>
          <a:lstStyle/>
          <a:p>
            <a:r>
              <a:rPr lang="en-US" sz="1300" dirty="0">
                <a:latin typeface="Aptos" panose="020B0004020202020204" pitchFamily="34" charset="0"/>
              </a:rPr>
              <a:t>Systematically break down business problems and generate data-informed recommendations</a:t>
            </a:r>
            <a:endParaRPr lang="en-US" sz="1300" b="1" dirty="0">
              <a:solidFill>
                <a:srgbClr val="545659"/>
              </a:solidFill>
              <a:latin typeface="Aptos" panose="020B0004020202020204" pitchFamily="34" charset="0"/>
              <a:ea typeface="Calibri" panose="020F0502020204030204" pitchFamily="34" charset="0"/>
              <a:cs typeface="Calibri" panose="020F0502020204030204" pitchFamily="34" charset="0"/>
            </a:endParaRPr>
          </a:p>
        </p:txBody>
      </p:sp>
      <p:sp>
        <p:nvSpPr>
          <p:cNvPr id="29" name="Round Same Side Corner Rectangle 57">
            <a:extLst>
              <a:ext uri="{FF2B5EF4-FFF2-40B4-BE49-F238E27FC236}">
                <a16:creationId xmlns:a16="http://schemas.microsoft.com/office/drawing/2014/main" id="{E4BC3195-A104-F4BF-4358-9E61C202656C}"/>
              </a:ext>
            </a:extLst>
          </p:cNvPr>
          <p:cNvSpPr/>
          <p:nvPr/>
        </p:nvSpPr>
        <p:spPr>
          <a:xfrm rot="5400000">
            <a:off x="1991976" y="2552370"/>
            <a:ext cx="581423" cy="2520250"/>
          </a:xfrm>
          <a:prstGeom prst="round2SameRect">
            <a:avLst>
              <a:gd name="adj1" fmla="val 5492"/>
              <a:gd name="adj2" fmla="val 0"/>
            </a:avLst>
          </a:prstGeom>
          <a:solidFill>
            <a:schemeClr val="bg2"/>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600">
              <a:solidFill>
                <a:prstClr val="white"/>
              </a:solidFill>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F1EF331E-0DEB-A32D-0B2C-000F4F4D167C}"/>
              </a:ext>
            </a:extLst>
          </p:cNvPr>
          <p:cNvSpPr txBox="1"/>
          <p:nvPr/>
        </p:nvSpPr>
        <p:spPr>
          <a:xfrm>
            <a:off x="1047553" y="3540310"/>
            <a:ext cx="2167252" cy="619923"/>
          </a:xfrm>
          <a:prstGeom prst="rect">
            <a:avLst/>
          </a:prstGeom>
          <a:noFill/>
        </p:spPr>
        <p:txBody>
          <a:bodyPr wrap="square" rtlCol="0">
            <a:spAutoFit/>
          </a:bodyPr>
          <a:lstStyle/>
          <a:p>
            <a:r>
              <a:rPr lang="en-US" sz="1400" b="1">
                <a:solidFill>
                  <a:schemeClr val="bg1"/>
                </a:solidFill>
                <a:latin typeface="Aptos" panose="020B0004020202020204" pitchFamily="34" charset="0"/>
              </a:rPr>
              <a:t>Apply analytical thinking characteristics</a:t>
            </a:r>
            <a:endParaRPr lang="en-US" sz="1400" b="1">
              <a:solidFill>
                <a:schemeClr val="bg1"/>
              </a:solidFill>
              <a:latin typeface="Arial" panose="020B0604020202020204" pitchFamily="34" charset="0"/>
              <a:cs typeface="Arial" panose="020B0604020202020204" pitchFamily="34" charset="0"/>
            </a:endParaRPr>
          </a:p>
        </p:txBody>
      </p:sp>
      <p:sp>
        <p:nvSpPr>
          <p:cNvPr id="27" name="Round Same Side Corner Rectangle 51">
            <a:extLst>
              <a:ext uri="{FF2B5EF4-FFF2-40B4-BE49-F238E27FC236}">
                <a16:creationId xmlns:a16="http://schemas.microsoft.com/office/drawing/2014/main" id="{4A78E647-F754-B1B5-B002-B45AD0D903F0}"/>
              </a:ext>
            </a:extLst>
          </p:cNvPr>
          <p:cNvSpPr/>
          <p:nvPr/>
        </p:nvSpPr>
        <p:spPr>
          <a:xfrm rot="5400000">
            <a:off x="1991975" y="1738128"/>
            <a:ext cx="581424" cy="2520250"/>
          </a:xfrm>
          <a:prstGeom prst="round2SameRect">
            <a:avLst>
              <a:gd name="adj1" fmla="val 5492"/>
              <a:gd name="adj2" fmla="val 0"/>
            </a:avLst>
          </a:prstGeom>
          <a:solidFill>
            <a:schemeClr val="bg2"/>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600">
              <a:solidFill>
                <a:prstClr val="white"/>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D38FE83A-FD90-91FA-C708-B75AE8BB7074}"/>
              </a:ext>
            </a:extLst>
          </p:cNvPr>
          <p:cNvSpPr txBox="1"/>
          <p:nvPr/>
        </p:nvSpPr>
        <p:spPr>
          <a:xfrm>
            <a:off x="1062688" y="2742237"/>
            <a:ext cx="2339007" cy="619926"/>
          </a:xfrm>
          <a:prstGeom prst="rect">
            <a:avLst/>
          </a:prstGeom>
          <a:noFill/>
        </p:spPr>
        <p:txBody>
          <a:bodyPr wrap="square" rtlCol="0">
            <a:spAutoFit/>
          </a:bodyPr>
          <a:lstStyle/>
          <a:p>
            <a:r>
              <a:rPr lang="en-US" sz="1400" b="1">
                <a:solidFill>
                  <a:schemeClr val="bg1"/>
                </a:solidFill>
                <a:latin typeface="Aptos" panose="020B0004020202020204" pitchFamily="34" charset="0"/>
              </a:rPr>
              <a:t>Demonstrate systems thinking</a:t>
            </a:r>
            <a:endParaRPr lang="en-US" sz="1400" b="1">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484180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subTnLst>
                                    <p:animClr clrSpc="rgb" dir="cw">
                                      <p:cBhvr override="childStyle">
                                        <p:cTn dur="1" fill="hold" display="0" masterRel="nextClick" afterEffect="1"/>
                                        <p:tgtEl>
                                          <p:spTgt spid="6"/>
                                        </p:tgtEl>
                                        <p:attrNameLst>
                                          <p:attrName>ppt_c</p:attrName>
                                        </p:attrNameLst>
                                      </p:cBhvr>
                                      <p:to>
                                        <a:srgbClr val="DDDDDD"/>
                                      </p:to>
                                    </p:animClr>
                                  </p:sub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subTnLst>
                                    <p:animClr clrSpc="rgb" dir="cw">
                                      <p:cBhvr override="childStyle">
                                        <p:cTn dur="1" fill="hold" display="0" masterRel="nextClick" afterEffect="1"/>
                                        <p:tgtEl>
                                          <p:spTgt spid="7"/>
                                        </p:tgtEl>
                                        <p:attrNameLst>
                                          <p:attrName>ppt_c</p:attrName>
                                        </p:attrNameLst>
                                      </p:cBhvr>
                                      <p:to>
                                        <a:srgbClr val="808080"/>
                                      </p:to>
                                    </p:animClr>
                                  </p:sub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subTnLst>
                                    <p:animClr clrSpc="rgb" dir="cw">
                                      <p:cBhvr override="childStyle">
                                        <p:cTn dur="1" fill="hold" display="0" masterRel="nextClick" afterEffect="1"/>
                                        <p:tgtEl>
                                          <p:spTgt spid="14"/>
                                        </p:tgtEl>
                                        <p:attrNameLst>
                                          <p:attrName>ppt_c</p:attrName>
                                        </p:attrNameLst>
                                      </p:cBhvr>
                                      <p:to>
                                        <a:srgbClr val="DDDDDD"/>
                                      </p:to>
                                    </p:animClr>
                                  </p:sub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subTnLst>
                                    <p:animClr clrSpc="rgb" dir="cw">
                                      <p:cBhvr override="childStyle">
                                        <p:cTn dur="1" fill="hold" display="0" masterRel="nextClick" afterEffect="1"/>
                                        <p:tgtEl>
                                          <p:spTgt spid="15"/>
                                        </p:tgtEl>
                                        <p:attrNameLst>
                                          <p:attrName>ppt_c</p:attrName>
                                        </p:attrNameLst>
                                      </p:cBhvr>
                                      <p:to>
                                        <a:srgbClr val="808080"/>
                                      </p:to>
                                    </p:animClr>
                                  </p:sub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childTnLst>
                                  <p:subTnLst>
                                    <p:animClr clrSpc="rgb" dir="cw">
                                      <p:cBhvr override="childStyle">
                                        <p:cTn dur="1" fill="hold" display="0" masterRel="nextClick" afterEffect="1"/>
                                        <p:tgtEl>
                                          <p:spTgt spid="9"/>
                                        </p:tgtEl>
                                        <p:attrNameLst>
                                          <p:attrName>ppt_c</p:attrName>
                                        </p:attrNameLst>
                                      </p:cBhvr>
                                      <p:to>
                                        <a:srgbClr val="DDDDDD"/>
                                      </p:to>
                                    </p:animClr>
                                  </p:sub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subTnLst>
                                    <p:animClr clrSpc="rgb" dir="cw">
                                      <p:cBhvr override="childStyle">
                                        <p:cTn dur="1" fill="hold" display="0" masterRel="nextClick" afterEffect="1"/>
                                        <p:tgtEl>
                                          <p:spTgt spid="10"/>
                                        </p:tgtEl>
                                        <p:attrNameLst>
                                          <p:attrName>ppt_c</p:attrName>
                                        </p:attrNameLst>
                                      </p:cBhvr>
                                      <p:to>
                                        <a:srgbClr val="808080"/>
                                      </p:to>
                                    </p:animClr>
                                  </p:sub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subTnLst>
                                    <p:animClr clrSpc="rgb" dir="cw">
                                      <p:cBhvr override="childStyle">
                                        <p:cTn dur="1" fill="hold" display="0" masterRel="nextClick" afterEffect="1"/>
                                        <p:tgtEl>
                                          <p:spTgt spid="16"/>
                                        </p:tgtEl>
                                        <p:attrNameLst>
                                          <p:attrName>ppt_c</p:attrName>
                                        </p:attrNameLst>
                                      </p:cBhvr>
                                      <p:to>
                                        <a:srgbClr val="DDDDDD"/>
                                      </p:to>
                                    </p:animClr>
                                  </p:sub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subTnLst>
                                    <p:animClr clrSpc="rgb" dir="cw">
                                      <p:cBhvr override="childStyle">
                                        <p:cTn dur="1" fill="hold" display="0" masterRel="nextClick" afterEffect="1"/>
                                        <p:tgtEl>
                                          <p:spTgt spid="17"/>
                                        </p:tgtEl>
                                        <p:attrNameLst>
                                          <p:attrName>ppt_c</p:attrName>
                                        </p:attrNameLst>
                                      </p:cBhvr>
                                      <p:to>
                                        <a:srgbClr val="808080"/>
                                      </p:to>
                                    </p:animClr>
                                  </p:sub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childTnLst>
                                  <p:subTnLst>
                                    <p:animClr clrSpc="rgb" dir="cw">
                                      <p:cBhvr override="childStyle">
                                        <p:cTn dur="1" fill="hold" display="0" masterRel="nextClick" afterEffect="1"/>
                                        <p:tgtEl>
                                          <p:spTgt spid="19"/>
                                        </p:tgtEl>
                                        <p:attrNameLst>
                                          <p:attrName>ppt_c</p:attrName>
                                        </p:attrNameLst>
                                      </p:cBhvr>
                                      <p:to>
                                        <a:srgbClr val="DDDDDD"/>
                                      </p:to>
                                    </p:animClr>
                                  </p:subTnLst>
                                </p:cTn>
                              </p:par>
                              <p:par>
                                <p:cTn id="27" presetID="1"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subTnLst>
                                    <p:animClr clrSpc="rgb" dir="cw">
                                      <p:cBhvr override="childStyle">
                                        <p:cTn dur="1" fill="hold" display="0" masterRel="nextClick" afterEffect="1"/>
                                        <p:tgtEl>
                                          <p:spTgt spid="20"/>
                                        </p:tgtEl>
                                        <p:attrNameLst>
                                          <p:attrName>ppt_c</p:attrName>
                                        </p:attrNameLst>
                                      </p:cBhvr>
                                      <p:to>
                                        <a:srgbClr val="808080"/>
                                      </p:to>
                                    </p:animClr>
                                  </p:subTnLst>
                                </p:cTn>
                              </p:par>
                              <p:par>
                                <p:cTn id="29" presetID="1"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childTnLst>
                                  <p:subTnLst>
                                    <p:animClr clrSpc="rgb" dir="cw">
                                      <p:cBhvr override="childStyle">
                                        <p:cTn dur="1" fill="hold" display="0" masterRel="nextClick" afterEffect="1"/>
                                        <p:tgtEl>
                                          <p:spTgt spid="27"/>
                                        </p:tgtEl>
                                        <p:attrNameLst>
                                          <p:attrName>ppt_c</p:attrName>
                                        </p:attrNameLst>
                                      </p:cBhvr>
                                      <p:to>
                                        <a:srgbClr val="DDDDDD"/>
                                      </p:to>
                                    </p:animClr>
                                  </p:subTnLst>
                                </p:cTn>
                              </p:par>
                              <p:par>
                                <p:cTn id="31" presetID="1" presetClass="entr" presetSubtype="0" fill="hold" grpId="0" nodeType="withEffect">
                                  <p:stCondLst>
                                    <p:cond delay="0"/>
                                  </p:stCondLst>
                                  <p:childTnLst>
                                    <p:set>
                                      <p:cBhvr>
                                        <p:cTn id="32" dur="1" fill="hold">
                                          <p:stCondLst>
                                            <p:cond delay="0"/>
                                          </p:stCondLst>
                                        </p:cTn>
                                        <p:tgtEl>
                                          <p:spTgt spid="28"/>
                                        </p:tgtEl>
                                        <p:attrNameLst>
                                          <p:attrName>style.visibility</p:attrName>
                                        </p:attrNameLst>
                                      </p:cBhvr>
                                      <p:to>
                                        <p:strVal val="visible"/>
                                      </p:to>
                                    </p:set>
                                  </p:childTnLst>
                                  <p:subTnLst>
                                    <p:animClr clrSpc="rgb" dir="cw">
                                      <p:cBhvr override="childStyle">
                                        <p:cTn dur="1" fill="hold" display="0" masterRel="nextClick" afterEffect="1"/>
                                        <p:tgtEl>
                                          <p:spTgt spid="28"/>
                                        </p:tgtEl>
                                        <p:attrNameLst>
                                          <p:attrName>ppt_c</p:attrName>
                                        </p:attrNameLst>
                                      </p:cBhvr>
                                      <p:to>
                                        <a:srgbClr val="808080"/>
                                      </p:to>
                                    </p:animClr>
                                  </p:sub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2"/>
                                        </p:tgtEl>
                                        <p:attrNameLst>
                                          <p:attrName>style.visibility</p:attrName>
                                        </p:attrNameLst>
                                      </p:cBhvr>
                                      <p:to>
                                        <p:strVal val="visible"/>
                                      </p:to>
                                    </p:set>
                                  </p:childTnLst>
                                  <p:subTnLst>
                                    <p:animClr clrSpc="rgb" dir="cw">
                                      <p:cBhvr override="childStyle">
                                        <p:cTn dur="1" fill="hold" display="0" masterRel="nextClick" afterEffect="1"/>
                                        <p:tgtEl>
                                          <p:spTgt spid="22"/>
                                        </p:tgtEl>
                                        <p:attrNameLst>
                                          <p:attrName>ppt_c</p:attrName>
                                        </p:attrNameLst>
                                      </p:cBhvr>
                                      <p:to>
                                        <a:srgbClr val="DDDDDD"/>
                                      </p:to>
                                    </p:animClr>
                                  </p:subTnLst>
                                </p:cTn>
                              </p:par>
                              <p:par>
                                <p:cTn id="37" presetID="1" presetClass="entr" presetSubtype="0"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childTnLst>
                                  <p:subTnLst>
                                    <p:animClr clrSpc="rgb" dir="cw">
                                      <p:cBhvr override="childStyle">
                                        <p:cTn dur="1" fill="hold" display="0" masterRel="nextClick" afterEffect="1"/>
                                        <p:tgtEl>
                                          <p:spTgt spid="23"/>
                                        </p:tgtEl>
                                        <p:attrNameLst>
                                          <p:attrName>ppt_c</p:attrName>
                                        </p:attrNameLst>
                                      </p:cBhvr>
                                      <p:to>
                                        <a:srgbClr val="808080"/>
                                      </p:to>
                                    </p:animClr>
                                  </p:subTnLst>
                                </p:cTn>
                              </p:par>
                              <p:par>
                                <p:cTn id="39" presetID="1" presetClass="entr" presetSubtype="0" fill="hold" grpId="0" nodeType="withEffect">
                                  <p:stCondLst>
                                    <p:cond delay="0"/>
                                  </p:stCondLst>
                                  <p:childTnLst>
                                    <p:set>
                                      <p:cBhvr>
                                        <p:cTn id="40" dur="1" fill="hold">
                                          <p:stCondLst>
                                            <p:cond delay="0"/>
                                          </p:stCondLst>
                                        </p:cTn>
                                        <p:tgtEl>
                                          <p:spTgt spid="29"/>
                                        </p:tgtEl>
                                        <p:attrNameLst>
                                          <p:attrName>style.visibility</p:attrName>
                                        </p:attrNameLst>
                                      </p:cBhvr>
                                      <p:to>
                                        <p:strVal val="visible"/>
                                      </p:to>
                                    </p:set>
                                  </p:childTnLst>
                                  <p:subTnLst>
                                    <p:animClr clrSpc="rgb" dir="cw">
                                      <p:cBhvr override="childStyle">
                                        <p:cTn dur="1" fill="hold" display="0" masterRel="nextClick" afterEffect="1"/>
                                        <p:tgtEl>
                                          <p:spTgt spid="29"/>
                                        </p:tgtEl>
                                        <p:attrNameLst>
                                          <p:attrName>ppt_c</p:attrName>
                                        </p:attrNameLst>
                                      </p:cBhvr>
                                      <p:to>
                                        <a:srgbClr val="DDDDDD"/>
                                      </p:to>
                                    </p:animClr>
                                  </p:subTnLst>
                                </p:cTn>
                              </p:par>
                              <p:par>
                                <p:cTn id="41" presetID="1" presetClass="entr" presetSubtype="0" fill="hold" grpId="0" nodeType="withEffect">
                                  <p:stCondLst>
                                    <p:cond delay="0"/>
                                  </p:stCondLst>
                                  <p:childTnLst>
                                    <p:set>
                                      <p:cBhvr>
                                        <p:cTn id="42" dur="1" fill="hold">
                                          <p:stCondLst>
                                            <p:cond delay="0"/>
                                          </p:stCondLst>
                                        </p:cTn>
                                        <p:tgtEl>
                                          <p:spTgt spid="30"/>
                                        </p:tgtEl>
                                        <p:attrNameLst>
                                          <p:attrName>style.visibility</p:attrName>
                                        </p:attrNameLst>
                                      </p:cBhvr>
                                      <p:to>
                                        <p:strVal val="visible"/>
                                      </p:to>
                                    </p:set>
                                  </p:childTnLst>
                                  <p:subTnLst>
                                    <p:animClr clrSpc="rgb" dir="cw">
                                      <p:cBhvr override="childStyle">
                                        <p:cTn dur="1" fill="hold" display="0" masterRel="nextClick" afterEffect="1"/>
                                        <p:tgtEl>
                                          <p:spTgt spid="30"/>
                                        </p:tgtEl>
                                        <p:attrNameLst>
                                          <p:attrName>ppt_c</p:attrName>
                                        </p:attrNameLst>
                                      </p:cBhvr>
                                      <p:to>
                                        <a:srgbClr val="808080"/>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9" grpId="0" animBg="1"/>
      <p:bldP spid="10" grpId="0"/>
      <p:bldP spid="16" grpId="0" animBg="1"/>
      <p:bldP spid="17" grpId="0"/>
      <p:bldP spid="14" grpId="0" animBg="1"/>
      <p:bldP spid="15" grpId="0"/>
      <p:bldP spid="19" grpId="0" animBg="1"/>
      <p:bldP spid="20" grpId="0"/>
      <p:bldP spid="22" grpId="0" animBg="1"/>
      <p:bldP spid="23" grpId="0"/>
      <p:bldP spid="29" grpId="0" animBg="1"/>
      <p:bldP spid="30" grpId="0"/>
      <p:bldP spid="27" grpId="0" animBg="1"/>
      <p:bldP spid="28"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774ADA-0C94-4A49-E359-EB0EC1D68577}"/>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A3714B0E-D993-DFC8-BEC9-FD10C597E848}"/>
              </a:ext>
            </a:extLst>
          </p:cNvPr>
          <p:cNvSpPr/>
          <p:nvPr/>
        </p:nvSpPr>
        <p:spPr>
          <a:xfrm>
            <a:off x="833444" y="1160549"/>
            <a:ext cx="7627974" cy="1754326"/>
          </a:xfrm>
          <a:prstGeom prst="rect">
            <a:avLst/>
          </a:prstGeom>
        </p:spPr>
        <p:txBody>
          <a:bodyPr wrap="square">
            <a:spAutoFit/>
          </a:bodyPr>
          <a:lstStyle/>
          <a:p>
            <a:r>
              <a:rPr lang="en-US" dirty="0"/>
              <a:t>A company transitioned to a hybrid work model. Leadership was concerned about productivity and wanted to evaluate the impact of the change. Initial data showed an increase in reported idle time, raising alarms about whether remote work was negatively impacting productivity.</a:t>
            </a:r>
          </a:p>
          <a:p>
            <a:endParaRPr lang="en-US" dirty="0">
              <a:solidFill>
                <a:srgbClr val="444444"/>
              </a:solidFill>
              <a:latin typeface="Arial" panose="020B0604020202020204" pitchFamily="34" charset="0"/>
            </a:endParaRPr>
          </a:p>
          <a:p>
            <a:pPr algn="ctr"/>
            <a:r>
              <a:rPr lang="en-US" dirty="0"/>
              <a:t>	Did remote work reduce overall productivity?</a:t>
            </a:r>
            <a:endParaRPr lang="en-US" dirty="0">
              <a:solidFill>
                <a:srgbClr val="444444"/>
              </a:solidFill>
              <a:latin typeface="Arial" panose="020B0604020202020204" pitchFamily="34" charset="0"/>
            </a:endParaRPr>
          </a:p>
        </p:txBody>
      </p:sp>
      <p:sp>
        <p:nvSpPr>
          <p:cNvPr id="2" name="Title 15">
            <a:extLst>
              <a:ext uri="{FF2B5EF4-FFF2-40B4-BE49-F238E27FC236}">
                <a16:creationId xmlns:a16="http://schemas.microsoft.com/office/drawing/2014/main" id="{FD51746F-880E-B2C0-3CEA-E18B85BB54B1}"/>
              </a:ext>
            </a:extLst>
          </p:cNvPr>
          <p:cNvSpPr txBox="1">
            <a:spLocks/>
          </p:cNvSpPr>
          <p:nvPr/>
        </p:nvSpPr>
        <p:spPr>
          <a:xfrm>
            <a:off x="495300" y="162224"/>
            <a:ext cx="8534400" cy="323165"/>
          </a:xfrm>
          <a:prstGeom prst="rect">
            <a:avLst/>
          </a:prstGeom>
        </p:spPr>
        <p:txBody>
          <a:bodyPr lIns="0" tIns="0" rIns="0" bIns="0" anchor="t" anchorCtr="0">
            <a:spAutoFit/>
          </a:bodyPr>
          <a:lstStyle>
            <a:lvl1pPr algn="ctr" defTabSz="385713" rtl="0" eaLnBrk="1" latinLnBrk="0" hangingPunct="1">
              <a:spcBef>
                <a:spcPct val="0"/>
              </a:spcBef>
              <a:buNone/>
              <a:defRPr sz="2250" b="1" kern="1200">
                <a:solidFill>
                  <a:srgbClr val="8E9093"/>
                </a:solidFill>
                <a:latin typeface="+mj-lt"/>
                <a:ea typeface="+mj-ea"/>
                <a:cs typeface="+mj-cs"/>
              </a:defRPr>
            </a:lvl1pPr>
          </a:lstStyle>
          <a:p>
            <a:pPr algn="l" fontAlgn="auto">
              <a:spcAft>
                <a:spcPts val="0"/>
              </a:spcAft>
            </a:pPr>
            <a:r>
              <a:rPr lang="en-US" sz="2100">
                <a:solidFill>
                  <a:srgbClr val="54565A"/>
                </a:solidFill>
              </a:rPr>
              <a:t>Interactive Activity</a:t>
            </a:r>
          </a:p>
        </p:txBody>
      </p:sp>
    </p:spTree>
    <p:custDataLst>
      <p:tags r:id="rId1"/>
    </p:custDataLst>
    <p:extLst>
      <p:ext uri="{BB962C8B-B14F-4D97-AF65-F5344CB8AC3E}">
        <p14:creationId xmlns:p14="http://schemas.microsoft.com/office/powerpoint/2010/main" val="2547498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60B6B2-457E-B62A-36E4-CD116D8CBDD1}"/>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19D07344-6989-BE81-5214-1408C123A18B}"/>
              </a:ext>
            </a:extLst>
          </p:cNvPr>
          <p:cNvSpPr/>
          <p:nvPr/>
        </p:nvSpPr>
        <p:spPr>
          <a:xfrm>
            <a:off x="2367982" y="2806423"/>
            <a:ext cx="1986282" cy="1591738"/>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Rectangle 14">
            <a:extLst>
              <a:ext uri="{FF2B5EF4-FFF2-40B4-BE49-F238E27FC236}">
                <a16:creationId xmlns:a16="http://schemas.microsoft.com/office/drawing/2014/main" id="{037AECE8-E860-32BC-D456-D0A099D236B2}"/>
              </a:ext>
            </a:extLst>
          </p:cNvPr>
          <p:cNvSpPr/>
          <p:nvPr/>
        </p:nvSpPr>
        <p:spPr>
          <a:xfrm>
            <a:off x="4603183" y="2794445"/>
            <a:ext cx="1986282" cy="1591738"/>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Rectangle 15">
            <a:extLst>
              <a:ext uri="{FF2B5EF4-FFF2-40B4-BE49-F238E27FC236}">
                <a16:creationId xmlns:a16="http://schemas.microsoft.com/office/drawing/2014/main" id="{12120C71-A573-70E7-47AB-9AF2544FB6D9}"/>
              </a:ext>
            </a:extLst>
          </p:cNvPr>
          <p:cNvSpPr/>
          <p:nvPr/>
        </p:nvSpPr>
        <p:spPr>
          <a:xfrm>
            <a:off x="118247" y="2806423"/>
            <a:ext cx="1986282" cy="1591738"/>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 name="Rectangle 16">
            <a:extLst>
              <a:ext uri="{FF2B5EF4-FFF2-40B4-BE49-F238E27FC236}">
                <a16:creationId xmlns:a16="http://schemas.microsoft.com/office/drawing/2014/main" id="{073635DB-9A93-7E6C-5360-A5A3A8FA1756}"/>
              </a:ext>
            </a:extLst>
          </p:cNvPr>
          <p:cNvSpPr/>
          <p:nvPr/>
        </p:nvSpPr>
        <p:spPr>
          <a:xfrm>
            <a:off x="6852918" y="2794445"/>
            <a:ext cx="1986282" cy="1591738"/>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Title 15">
            <a:extLst>
              <a:ext uri="{FF2B5EF4-FFF2-40B4-BE49-F238E27FC236}">
                <a16:creationId xmlns:a16="http://schemas.microsoft.com/office/drawing/2014/main" id="{3B235BFF-87D5-E8A6-60A7-9D3F66075FB7}"/>
              </a:ext>
            </a:extLst>
          </p:cNvPr>
          <p:cNvSpPr txBox="1">
            <a:spLocks/>
          </p:cNvSpPr>
          <p:nvPr/>
        </p:nvSpPr>
        <p:spPr>
          <a:xfrm>
            <a:off x="495300" y="126045"/>
            <a:ext cx="8534400" cy="323165"/>
          </a:xfrm>
          <a:prstGeom prst="rect">
            <a:avLst/>
          </a:prstGeom>
        </p:spPr>
        <p:txBody>
          <a:bodyPr lIns="0" tIns="0" rIns="0" bIns="0" anchor="t" anchorCtr="0">
            <a:spAutoFit/>
          </a:bodyPr>
          <a:lstStyle>
            <a:lvl1pPr algn="ctr" defTabSz="385713" rtl="0" eaLnBrk="1" latinLnBrk="0" hangingPunct="1">
              <a:spcBef>
                <a:spcPct val="0"/>
              </a:spcBef>
              <a:buNone/>
              <a:defRPr sz="2250" b="1" kern="1200">
                <a:solidFill>
                  <a:srgbClr val="8E9093"/>
                </a:solidFill>
                <a:latin typeface="+mj-lt"/>
                <a:ea typeface="+mj-ea"/>
                <a:cs typeface="+mj-cs"/>
              </a:defRPr>
            </a:lvl1pPr>
          </a:lstStyle>
          <a:p>
            <a:pPr algn="l"/>
            <a:r>
              <a:rPr lang="en-US" sz="2100">
                <a:solidFill>
                  <a:schemeClr val="tx1"/>
                </a:solidFill>
                <a:cs typeface="Calibri" panose="020F0502020204030204" pitchFamily="34" charset="0"/>
              </a:rPr>
              <a:t>Interactive Activity</a:t>
            </a:r>
          </a:p>
        </p:txBody>
      </p:sp>
      <p:sp>
        <p:nvSpPr>
          <p:cNvPr id="7" name="Rectangle 6">
            <a:extLst>
              <a:ext uri="{FF2B5EF4-FFF2-40B4-BE49-F238E27FC236}">
                <a16:creationId xmlns:a16="http://schemas.microsoft.com/office/drawing/2014/main" id="{71A0FE54-E3F9-4969-EAB9-80E981CEB177}"/>
              </a:ext>
            </a:extLst>
          </p:cNvPr>
          <p:cNvSpPr/>
          <p:nvPr/>
        </p:nvSpPr>
        <p:spPr>
          <a:xfrm>
            <a:off x="729343" y="639660"/>
            <a:ext cx="7766366" cy="1754326"/>
          </a:xfrm>
          <a:prstGeom prst="rect">
            <a:avLst/>
          </a:prstGeom>
        </p:spPr>
        <p:txBody>
          <a:bodyPr wrap="square">
            <a:spAutoFit/>
          </a:bodyPr>
          <a:lstStyle/>
          <a:p>
            <a:pPr marL="285750" indent="-285750">
              <a:buFont typeface="Arial" panose="020B0604020202020204" pitchFamily="34" charset="0"/>
              <a:buChar char="•"/>
            </a:pPr>
            <a:r>
              <a:rPr lang="en-US" dirty="0"/>
              <a:t>In 2020 (remote), the idle time per week per employee went up from 3 hours in 2019 (pre-remote) to 7 hour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dle time increase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Was employee productivity declining?</a:t>
            </a:r>
          </a:p>
        </p:txBody>
      </p:sp>
      <p:sp>
        <p:nvSpPr>
          <p:cNvPr id="2" name="TextBox 1">
            <a:extLst>
              <a:ext uri="{FF2B5EF4-FFF2-40B4-BE49-F238E27FC236}">
                <a16:creationId xmlns:a16="http://schemas.microsoft.com/office/drawing/2014/main" id="{5E2AC4DD-7ABF-91D6-C121-CB03219F90C1}"/>
              </a:ext>
            </a:extLst>
          </p:cNvPr>
          <p:cNvSpPr txBox="1"/>
          <p:nvPr/>
        </p:nvSpPr>
        <p:spPr>
          <a:xfrm>
            <a:off x="811940" y="2735712"/>
            <a:ext cx="686406" cy="338554"/>
          </a:xfrm>
          <a:prstGeom prst="rect">
            <a:avLst/>
          </a:prstGeom>
          <a:noFill/>
        </p:spPr>
        <p:txBody>
          <a:bodyPr wrap="none" rtlCol="0">
            <a:spAutoFit/>
          </a:bodyPr>
          <a:lstStyle/>
          <a:p>
            <a:pPr algn="l"/>
            <a:r>
              <a:rPr lang="en-US" sz="1600" b="1">
                <a:latin typeface="Arial" panose="020B0604020202020204" pitchFamily="34" charset="0"/>
                <a:cs typeface="Arial" panose="020B0604020202020204" pitchFamily="34" charset="0"/>
              </a:rPr>
              <a:t>Data</a:t>
            </a:r>
            <a:r>
              <a:rPr lang="en-US" sz="1600">
                <a:latin typeface="Arial" panose="020B0604020202020204" pitchFamily="34" charset="0"/>
                <a:cs typeface="Arial" panose="020B0604020202020204" pitchFamily="34" charset="0"/>
              </a:rPr>
              <a:t> </a:t>
            </a:r>
          </a:p>
        </p:txBody>
      </p:sp>
      <p:graphicFrame>
        <p:nvGraphicFramePr>
          <p:cNvPr id="3" name="Table 3">
            <a:extLst>
              <a:ext uri="{FF2B5EF4-FFF2-40B4-BE49-F238E27FC236}">
                <a16:creationId xmlns:a16="http://schemas.microsoft.com/office/drawing/2014/main" id="{ED87A8FE-B62D-549E-94E9-9840B7E47F5A}"/>
              </a:ext>
            </a:extLst>
          </p:cNvPr>
          <p:cNvGraphicFramePr>
            <a:graphicFrameLocks noGrp="1"/>
          </p:cNvGraphicFramePr>
          <p:nvPr>
            <p:extLst>
              <p:ext uri="{D42A27DB-BD31-4B8C-83A1-F6EECF244321}">
                <p14:modId xmlns:p14="http://schemas.microsoft.com/office/powerpoint/2010/main" val="1910281976"/>
              </p:ext>
            </p:extLst>
          </p:nvPr>
        </p:nvGraphicFramePr>
        <p:xfrm>
          <a:off x="292476" y="3105044"/>
          <a:ext cx="1693487" cy="883920"/>
        </p:xfrm>
        <a:graphic>
          <a:graphicData uri="http://schemas.openxmlformats.org/drawingml/2006/table">
            <a:tbl>
              <a:tblPr firstRow="1" bandRow="1">
                <a:tableStyleId>{5C22544A-7EE6-4342-B048-85BDC9FD1C3A}</a:tableStyleId>
              </a:tblPr>
              <a:tblGrid>
                <a:gridCol w="493337">
                  <a:extLst>
                    <a:ext uri="{9D8B030D-6E8A-4147-A177-3AD203B41FA5}">
                      <a16:colId xmlns:a16="http://schemas.microsoft.com/office/drawing/2014/main" val="1104056997"/>
                    </a:ext>
                  </a:extLst>
                </a:gridCol>
                <a:gridCol w="1200150">
                  <a:extLst>
                    <a:ext uri="{9D8B030D-6E8A-4147-A177-3AD203B41FA5}">
                      <a16:colId xmlns:a16="http://schemas.microsoft.com/office/drawing/2014/main" val="386582512"/>
                    </a:ext>
                  </a:extLst>
                </a:gridCol>
              </a:tblGrid>
              <a:tr h="0">
                <a:tc>
                  <a:txBody>
                    <a:bodyPr/>
                    <a:lstStyle/>
                    <a:p>
                      <a:r>
                        <a:rPr lang="en-US" sz="1000" dirty="0"/>
                        <a:t>Year</a:t>
                      </a:r>
                    </a:p>
                  </a:txBody>
                  <a:tcPr/>
                </a:tc>
                <a:tc>
                  <a:txBody>
                    <a:bodyPr/>
                    <a:lstStyle/>
                    <a:p>
                      <a:r>
                        <a:rPr lang="en-US" sz="1000" dirty="0"/>
                        <a:t>Time Idle per week</a:t>
                      </a:r>
                    </a:p>
                  </a:txBody>
                  <a:tcPr/>
                </a:tc>
                <a:extLst>
                  <a:ext uri="{0D108BD9-81ED-4DB2-BD59-A6C34878D82A}">
                    <a16:rowId xmlns:a16="http://schemas.microsoft.com/office/drawing/2014/main" val="2087250124"/>
                  </a:ext>
                </a:extLst>
              </a:tr>
              <a:tr h="0">
                <a:tc>
                  <a:txBody>
                    <a:bodyPr/>
                    <a:lstStyle/>
                    <a:p>
                      <a:r>
                        <a:rPr lang="en-US" sz="1000" dirty="0"/>
                        <a:t>2019 </a:t>
                      </a:r>
                    </a:p>
                  </a:txBody>
                  <a:tcPr/>
                </a:tc>
                <a:tc>
                  <a:txBody>
                    <a:bodyPr/>
                    <a:lstStyle/>
                    <a:p>
                      <a:r>
                        <a:rPr lang="en-US" sz="1000" dirty="0"/>
                        <a:t>3</a:t>
                      </a:r>
                    </a:p>
                  </a:txBody>
                  <a:tcPr/>
                </a:tc>
                <a:extLst>
                  <a:ext uri="{0D108BD9-81ED-4DB2-BD59-A6C34878D82A}">
                    <a16:rowId xmlns:a16="http://schemas.microsoft.com/office/drawing/2014/main" val="1321749891"/>
                  </a:ext>
                </a:extLst>
              </a:tr>
              <a:tr h="0">
                <a:tc>
                  <a:txBody>
                    <a:bodyPr/>
                    <a:lstStyle/>
                    <a:p>
                      <a:r>
                        <a:rPr lang="en-US" sz="1000" dirty="0"/>
                        <a:t>2020 </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7</a:t>
                      </a:r>
                    </a:p>
                  </a:txBody>
                  <a:tcPr/>
                </a:tc>
                <a:extLst>
                  <a:ext uri="{0D108BD9-81ED-4DB2-BD59-A6C34878D82A}">
                    <a16:rowId xmlns:a16="http://schemas.microsoft.com/office/drawing/2014/main" val="491641643"/>
                  </a:ext>
                </a:extLst>
              </a:tr>
            </a:tbl>
          </a:graphicData>
        </a:graphic>
      </p:graphicFrame>
      <p:sp>
        <p:nvSpPr>
          <p:cNvPr id="8" name="TextBox 7">
            <a:extLst>
              <a:ext uri="{FF2B5EF4-FFF2-40B4-BE49-F238E27FC236}">
                <a16:creationId xmlns:a16="http://schemas.microsoft.com/office/drawing/2014/main" id="{40E503B7-4694-0032-7780-8C58D8C54694}"/>
              </a:ext>
            </a:extLst>
          </p:cNvPr>
          <p:cNvSpPr txBox="1"/>
          <p:nvPr/>
        </p:nvSpPr>
        <p:spPr>
          <a:xfrm>
            <a:off x="2691348" y="2735712"/>
            <a:ext cx="1372492" cy="338554"/>
          </a:xfrm>
          <a:prstGeom prst="rect">
            <a:avLst/>
          </a:prstGeom>
          <a:noFill/>
        </p:spPr>
        <p:txBody>
          <a:bodyPr wrap="none" rtlCol="0">
            <a:spAutoFit/>
          </a:bodyPr>
          <a:lstStyle/>
          <a:p>
            <a:pPr algn="l"/>
            <a:r>
              <a:rPr lang="en-US" sz="1600" b="1">
                <a:latin typeface="Arial" panose="020B0604020202020204" pitchFamily="34" charset="0"/>
                <a:cs typeface="Arial" panose="020B0604020202020204" pitchFamily="34" charset="0"/>
              </a:rPr>
              <a:t>Information</a:t>
            </a:r>
            <a:r>
              <a:rPr lang="en-US" sz="1600">
                <a:latin typeface="Arial" panose="020B0604020202020204" pitchFamily="34" charset="0"/>
                <a:cs typeface="Arial" panose="020B0604020202020204" pitchFamily="34" charset="0"/>
              </a:rPr>
              <a:t> </a:t>
            </a:r>
          </a:p>
        </p:txBody>
      </p:sp>
      <p:sp>
        <p:nvSpPr>
          <p:cNvPr id="4" name="TextBox 3">
            <a:extLst>
              <a:ext uri="{FF2B5EF4-FFF2-40B4-BE49-F238E27FC236}">
                <a16:creationId xmlns:a16="http://schemas.microsoft.com/office/drawing/2014/main" id="{C8C7079C-889F-4D46-081F-AD9986D54B3F}"/>
              </a:ext>
            </a:extLst>
          </p:cNvPr>
          <p:cNvSpPr txBox="1"/>
          <p:nvPr/>
        </p:nvSpPr>
        <p:spPr>
          <a:xfrm>
            <a:off x="2332899" y="3114544"/>
            <a:ext cx="1986282" cy="646331"/>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Idle time increased by 67% after the remote work transition</a:t>
            </a:r>
          </a:p>
        </p:txBody>
      </p:sp>
      <p:sp>
        <p:nvSpPr>
          <p:cNvPr id="9" name="TextBox 8">
            <a:extLst>
              <a:ext uri="{FF2B5EF4-FFF2-40B4-BE49-F238E27FC236}">
                <a16:creationId xmlns:a16="http://schemas.microsoft.com/office/drawing/2014/main" id="{6D120A1D-FC8C-0BF5-AB6D-1437C14E2F1D}"/>
              </a:ext>
            </a:extLst>
          </p:cNvPr>
          <p:cNvSpPr txBox="1"/>
          <p:nvPr/>
        </p:nvSpPr>
        <p:spPr>
          <a:xfrm>
            <a:off x="4943369" y="2754167"/>
            <a:ext cx="1277914" cy="338554"/>
          </a:xfrm>
          <a:prstGeom prst="rect">
            <a:avLst/>
          </a:prstGeom>
          <a:noFill/>
        </p:spPr>
        <p:txBody>
          <a:bodyPr wrap="none" rtlCol="0">
            <a:spAutoFit/>
          </a:bodyPr>
          <a:lstStyle/>
          <a:p>
            <a:pPr algn="l"/>
            <a:r>
              <a:rPr lang="en-US" sz="1600" b="1">
                <a:latin typeface="Arial" panose="020B0604020202020204" pitchFamily="34" charset="0"/>
                <a:cs typeface="Arial" panose="020B0604020202020204" pitchFamily="34" charset="0"/>
              </a:rPr>
              <a:t>Knowledge</a:t>
            </a:r>
            <a:endParaRPr lang="en-US" sz="160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14321AC1-75A8-3EFE-61E5-E20A16DC547D}"/>
              </a:ext>
            </a:extLst>
          </p:cNvPr>
          <p:cNvSpPr txBox="1"/>
          <p:nvPr/>
        </p:nvSpPr>
        <p:spPr>
          <a:xfrm>
            <a:off x="4582633" y="3120347"/>
            <a:ext cx="2006832" cy="830997"/>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Management concluded that remote work caused employees to work less efficiently</a:t>
            </a:r>
          </a:p>
        </p:txBody>
      </p:sp>
      <p:sp>
        <p:nvSpPr>
          <p:cNvPr id="11" name="TextBox 10">
            <a:extLst>
              <a:ext uri="{FF2B5EF4-FFF2-40B4-BE49-F238E27FC236}">
                <a16:creationId xmlns:a16="http://schemas.microsoft.com/office/drawing/2014/main" id="{C36EB426-089A-C8AC-8DBD-B4C8E857C8CF}"/>
              </a:ext>
            </a:extLst>
          </p:cNvPr>
          <p:cNvSpPr txBox="1"/>
          <p:nvPr/>
        </p:nvSpPr>
        <p:spPr>
          <a:xfrm>
            <a:off x="7091668" y="2769082"/>
            <a:ext cx="1630575" cy="338554"/>
          </a:xfrm>
          <a:prstGeom prst="rect">
            <a:avLst/>
          </a:prstGeom>
          <a:noFill/>
        </p:spPr>
        <p:txBody>
          <a:bodyPr wrap="none" rtlCol="0">
            <a:spAutoFit/>
          </a:bodyPr>
          <a:lstStyle/>
          <a:p>
            <a:pPr algn="l"/>
            <a:r>
              <a:rPr lang="en-US" sz="1600" b="1">
                <a:latin typeface="Arial" panose="020B0604020202020204" pitchFamily="34" charset="0"/>
                <a:cs typeface="Arial" panose="020B0604020202020204" pitchFamily="34" charset="0"/>
              </a:rPr>
              <a:t>Understanding</a:t>
            </a:r>
            <a:endParaRPr lang="en-US" sz="160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25B55B8B-9B58-C89B-F76D-D86AE2105787}"/>
              </a:ext>
            </a:extLst>
          </p:cNvPr>
          <p:cNvSpPr txBox="1"/>
          <p:nvPr/>
        </p:nvSpPr>
        <p:spPr>
          <a:xfrm>
            <a:off x="6865683" y="3120347"/>
            <a:ext cx="1973517" cy="830997"/>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The conclusion was that remote work reduced productivity and caused disengagement</a:t>
            </a:r>
          </a:p>
        </p:txBody>
      </p:sp>
      <p:sp>
        <p:nvSpPr>
          <p:cNvPr id="14" name="TextBox 13">
            <a:extLst>
              <a:ext uri="{FF2B5EF4-FFF2-40B4-BE49-F238E27FC236}">
                <a16:creationId xmlns:a16="http://schemas.microsoft.com/office/drawing/2014/main" id="{2F3DA760-D923-8E04-E102-A7C57FA9B764}"/>
              </a:ext>
            </a:extLst>
          </p:cNvPr>
          <p:cNvSpPr txBox="1"/>
          <p:nvPr/>
        </p:nvSpPr>
        <p:spPr>
          <a:xfrm>
            <a:off x="-1520456" y="-1456660"/>
            <a:ext cx="184731" cy="369332"/>
          </a:xfrm>
          <a:prstGeom prst="rect">
            <a:avLst/>
          </a:prstGeom>
          <a:noFill/>
        </p:spPr>
        <p:txBody>
          <a:bodyPr wrap="none" rtlCol="0">
            <a:spAutoFit/>
          </a:bodyPr>
          <a:lstStyle/>
          <a:p>
            <a:pPr algn="l"/>
            <a:endParaRPr lang="en-US">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388636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P spid="16" grpId="0" animBg="1"/>
      <p:bldP spid="17" grpId="0" animBg="1"/>
      <p:bldP spid="2" grpId="0"/>
      <p:bldP spid="8" grpId="0"/>
      <p:bldP spid="4" grpId="0"/>
      <p:bldP spid="9" grpId="0"/>
      <p:bldP spid="10" grpId="0"/>
      <p:bldP spid="11" grpId="0"/>
      <p:bldP spid="1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9A03EF-FC3E-30F7-F286-D049FD7FE60E}"/>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8F17FD84-1D32-C892-30B4-76B78003C7CD}"/>
              </a:ext>
            </a:extLst>
          </p:cNvPr>
          <p:cNvSpPr/>
          <p:nvPr/>
        </p:nvSpPr>
        <p:spPr>
          <a:xfrm>
            <a:off x="474712" y="3689287"/>
            <a:ext cx="1475428" cy="468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Rectangle 12">
            <a:extLst>
              <a:ext uri="{FF2B5EF4-FFF2-40B4-BE49-F238E27FC236}">
                <a16:creationId xmlns:a16="http://schemas.microsoft.com/office/drawing/2014/main" id="{61FCBA74-6F2B-1C22-9776-3A121818CA93}"/>
              </a:ext>
            </a:extLst>
          </p:cNvPr>
          <p:cNvSpPr/>
          <p:nvPr/>
        </p:nvSpPr>
        <p:spPr>
          <a:xfrm>
            <a:off x="2459922" y="1713429"/>
            <a:ext cx="1986282" cy="3106221"/>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Rectangle 14">
            <a:extLst>
              <a:ext uri="{FF2B5EF4-FFF2-40B4-BE49-F238E27FC236}">
                <a16:creationId xmlns:a16="http://schemas.microsoft.com/office/drawing/2014/main" id="{43DA3DE6-D51A-156C-4FBF-3522C1BB2C1B}"/>
              </a:ext>
            </a:extLst>
          </p:cNvPr>
          <p:cNvSpPr/>
          <p:nvPr/>
        </p:nvSpPr>
        <p:spPr>
          <a:xfrm>
            <a:off x="4695123" y="1701451"/>
            <a:ext cx="1986282" cy="311819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Rectangle 15">
            <a:extLst>
              <a:ext uri="{FF2B5EF4-FFF2-40B4-BE49-F238E27FC236}">
                <a16:creationId xmlns:a16="http://schemas.microsoft.com/office/drawing/2014/main" id="{53D4C91D-842B-F9B4-DA49-2869B4C0DA75}"/>
              </a:ext>
            </a:extLst>
          </p:cNvPr>
          <p:cNvSpPr/>
          <p:nvPr/>
        </p:nvSpPr>
        <p:spPr>
          <a:xfrm>
            <a:off x="210187" y="1713429"/>
            <a:ext cx="1986282" cy="3106221"/>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 name="Rectangle 16">
            <a:extLst>
              <a:ext uri="{FF2B5EF4-FFF2-40B4-BE49-F238E27FC236}">
                <a16:creationId xmlns:a16="http://schemas.microsoft.com/office/drawing/2014/main" id="{2CA93DE1-025D-6F76-58D6-7F99922D52AD}"/>
              </a:ext>
            </a:extLst>
          </p:cNvPr>
          <p:cNvSpPr/>
          <p:nvPr/>
        </p:nvSpPr>
        <p:spPr>
          <a:xfrm>
            <a:off x="6944858" y="1701451"/>
            <a:ext cx="1986282" cy="311819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Title 15">
            <a:extLst>
              <a:ext uri="{FF2B5EF4-FFF2-40B4-BE49-F238E27FC236}">
                <a16:creationId xmlns:a16="http://schemas.microsoft.com/office/drawing/2014/main" id="{A4D0FC5F-7CDE-9F33-5B8C-36427FCC3EFC}"/>
              </a:ext>
            </a:extLst>
          </p:cNvPr>
          <p:cNvSpPr txBox="1">
            <a:spLocks/>
          </p:cNvSpPr>
          <p:nvPr/>
        </p:nvSpPr>
        <p:spPr>
          <a:xfrm>
            <a:off x="495300" y="126045"/>
            <a:ext cx="8534400" cy="323165"/>
          </a:xfrm>
          <a:prstGeom prst="rect">
            <a:avLst/>
          </a:prstGeom>
        </p:spPr>
        <p:txBody>
          <a:bodyPr lIns="0" tIns="0" rIns="0" bIns="0" anchor="t" anchorCtr="0">
            <a:spAutoFit/>
          </a:bodyPr>
          <a:lstStyle>
            <a:lvl1pPr algn="ctr" defTabSz="385713" rtl="0" eaLnBrk="1" latinLnBrk="0" hangingPunct="1">
              <a:spcBef>
                <a:spcPct val="0"/>
              </a:spcBef>
              <a:buNone/>
              <a:defRPr sz="2250" b="1" kern="1200">
                <a:solidFill>
                  <a:srgbClr val="8E9093"/>
                </a:solidFill>
                <a:latin typeface="+mj-lt"/>
                <a:ea typeface="+mj-ea"/>
                <a:cs typeface="+mj-cs"/>
              </a:defRPr>
            </a:lvl1pPr>
          </a:lstStyle>
          <a:p>
            <a:pPr algn="l"/>
            <a:r>
              <a:rPr lang="en-US" sz="2100">
                <a:solidFill>
                  <a:schemeClr val="tx1"/>
                </a:solidFill>
                <a:cs typeface="Calibri" panose="020F0502020204030204" pitchFamily="34" charset="0"/>
              </a:rPr>
              <a:t>Interactive Activity</a:t>
            </a:r>
          </a:p>
        </p:txBody>
      </p:sp>
      <p:sp>
        <p:nvSpPr>
          <p:cNvPr id="2" name="TextBox 1">
            <a:extLst>
              <a:ext uri="{FF2B5EF4-FFF2-40B4-BE49-F238E27FC236}">
                <a16:creationId xmlns:a16="http://schemas.microsoft.com/office/drawing/2014/main" id="{6FEED3DE-20BD-F6B0-4D87-3DC7BEB022ED}"/>
              </a:ext>
            </a:extLst>
          </p:cNvPr>
          <p:cNvSpPr txBox="1"/>
          <p:nvPr/>
        </p:nvSpPr>
        <p:spPr>
          <a:xfrm>
            <a:off x="903880" y="1642719"/>
            <a:ext cx="686406" cy="338554"/>
          </a:xfrm>
          <a:prstGeom prst="rect">
            <a:avLst/>
          </a:prstGeom>
          <a:noFill/>
        </p:spPr>
        <p:txBody>
          <a:bodyPr wrap="none" rtlCol="0">
            <a:spAutoFit/>
          </a:bodyPr>
          <a:lstStyle/>
          <a:p>
            <a:pPr algn="l"/>
            <a:r>
              <a:rPr lang="en-US" sz="1600" b="1">
                <a:latin typeface="Arial" panose="020B0604020202020204" pitchFamily="34" charset="0"/>
                <a:cs typeface="Arial" panose="020B0604020202020204" pitchFamily="34" charset="0"/>
              </a:rPr>
              <a:t>Data</a:t>
            </a:r>
            <a:r>
              <a:rPr lang="en-US" sz="1600">
                <a:latin typeface="Arial" panose="020B0604020202020204" pitchFamily="34" charset="0"/>
                <a:cs typeface="Arial" panose="020B0604020202020204" pitchFamily="34" charset="0"/>
              </a:rPr>
              <a:t> </a:t>
            </a:r>
          </a:p>
        </p:txBody>
      </p:sp>
      <p:graphicFrame>
        <p:nvGraphicFramePr>
          <p:cNvPr id="3" name="Table 3">
            <a:extLst>
              <a:ext uri="{FF2B5EF4-FFF2-40B4-BE49-F238E27FC236}">
                <a16:creationId xmlns:a16="http://schemas.microsoft.com/office/drawing/2014/main" id="{7C491389-F739-5AA6-42D0-9F977216720E}"/>
              </a:ext>
            </a:extLst>
          </p:cNvPr>
          <p:cNvGraphicFramePr>
            <a:graphicFrameLocks noGrp="1"/>
          </p:cNvGraphicFramePr>
          <p:nvPr>
            <p:extLst>
              <p:ext uri="{D42A27DB-BD31-4B8C-83A1-F6EECF244321}">
                <p14:modId xmlns:p14="http://schemas.microsoft.com/office/powerpoint/2010/main" val="2712801882"/>
              </p:ext>
            </p:extLst>
          </p:nvPr>
        </p:nvGraphicFramePr>
        <p:xfrm>
          <a:off x="384416" y="1969187"/>
          <a:ext cx="1641549" cy="853440"/>
        </p:xfrm>
        <a:graphic>
          <a:graphicData uri="http://schemas.openxmlformats.org/drawingml/2006/table">
            <a:tbl>
              <a:tblPr firstRow="1" bandRow="1">
                <a:tableStyleId>{5C22544A-7EE6-4342-B048-85BDC9FD1C3A}</a:tableStyleId>
              </a:tblPr>
              <a:tblGrid>
                <a:gridCol w="479978">
                  <a:extLst>
                    <a:ext uri="{9D8B030D-6E8A-4147-A177-3AD203B41FA5}">
                      <a16:colId xmlns:a16="http://schemas.microsoft.com/office/drawing/2014/main" val="1104056997"/>
                    </a:ext>
                  </a:extLst>
                </a:gridCol>
                <a:gridCol w="1161571">
                  <a:extLst>
                    <a:ext uri="{9D8B030D-6E8A-4147-A177-3AD203B41FA5}">
                      <a16:colId xmlns:a16="http://schemas.microsoft.com/office/drawing/2014/main" val="386582512"/>
                    </a:ext>
                  </a:extLst>
                </a:gridCol>
              </a:tblGrid>
              <a:tr h="0">
                <a:tc>
                  <a:txBody>
                    <a:bodyPr/>
                    <a:lstStyle/>
                    <a:p>
                      <a:r>
                        <a:rPr lang="en-US" sz="900" dirty="0"/>
                        <a:t>Year</a:t>
                      </a:r>
                    </a:p>
                  </a:txBody>
                  <a:tcPr/>
                </a:tc>
                <a:tc>
                  <a:txBody>
                    <a:bodyPr/>
                    <a:lstStyle/>
                    <a:p>
                      <a:r>
                        <a:rPr lang="en-US" sz="900" dirty="0"/>
                        <a:t>Time Idle per week</a:t>
                      </a:r>
                    </a:p>
                  </a:txBody>
                  <a:tcPr/>
                </a:tc>
                <a:extLst>
                  <a:ext uri="{0D108BD9-81ED-4DB2-BD59-A6C34878D82A}">
                    <a16:rowId xmlns:a16="http://schemas.microsoft.com/office/drawing/2014/main" val="2087250124"/>
                  </a:ext>
                </a:extLst>
              </a:tr>
              <a:tr h="0">
                <a:tc>
                  <a:txBody>
                    <a:bodyPr/>
                    <a:lstStyle/>
                    <a:p>
                      <a:r>
                        <a:rPr lang="en-US" sz="1000" dirty="0"/>
                        <a:t>2019 </a:t>
                      </a:r>
                    </a:p>
                  </a:txBody>
                  <a:tcPr/>
                </a:tc>
                <a:tc>
                  <a:txBody>
                    <a:bodyPr/>
                    <a:lstStyle/>
                    <a:p>
                      <a:r>
                        <a:rPr lang="en-US" sz="1000" dirty="0"/>
                        <a:t>3</a:t>
                      </a:r>
                    </a:p>
                  </a:txBody>
                  <a:tcPr/>
                </a:tc>
                <a:extLst>
                  <a:ext uri="{0D108BD9-81ED-4DB2-BD59-A6C34878D82A}">
                    <a16:rowId xmlns:a16="http://schemas.microsoft.com/office/drawing/2014/main" val="1321749891"/>
                  </a:ext>
                </a:extLst>
              </a:tr>
              <a:tr h="0">
                <a:tc>
                  <a:txBody>
                    <a:bodyPr/>
                    <a:lstStyle/>
                    <a:p>
                      <a:r>
                        <a:rPr lang="en-US" sz="1000" dirty="0"/>
                        <a:t>2020 </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7</a:t>
                      </a:r>
                    </a:p>
                  </a:txBody>
                  <a:tcPr/>
                </a:tc>
                <a:extLst>
                  <a:ext uri="{0D108BD9-81ED-4DB2-BD59-A6C34878D82A}">
                    <a16:rowId xmlns:a16="http://schemas.microsoft.com/office/drawing/2014/main" val="491641643"/>
                  </a:ext>
                </a:extLst>
              </a:tr>
            </a:tbl>
          </a:graphicData>
        </a:graphic>
      </p:graphicFrame>
      <p:sp>
        <p:nvSpPr>
          <p:cNvPr id="8" name="TextBox 7">
            <a:extLst>
              <a:ext uri="{FF2B5EF4-FFF2-40B4-BE49-F238E27FC236}">
                <a16:creationId xmlns:a16="http://schemas.microsoft.com/office/drawing/2014/main" id="{BE4B2632-4C1E-128B-2AD6-7F1F0AD500E8}"/>
              </a:ext>
            </a:extLst>
          </p:cNvPr>
          <p:cNvSpPr txBox="1"/>
          <p:nvPr/>
        </p:nvSpPr>
        <p:spPr>
          <a:xfrm>
            <a:off x="2783288" y="1642719"/>
            <a:ext cx="1372492" cy="338554"/>
          </a:xfrm>
          <a:prstGeom prst="rect">
            <a:avLst/>
          </a:prstGeom>
          <a:noFill/>
        </p:spPr>
        <p:txBody>
          <a:bodyPr wrap="none" rtlCol="0">
            <a:spAutoFit/>
          </a:bodyPr>
          <a:lstStyle/>
          <a:p>
            <a:pPr algn="l"/>
            <a:r>
              <a:rPr lang="en-US" sz="1600" b="1">
                <a:latin typeface="Arial" panose="020B0604020202020204" pitchFamily="34" charset="0"/>
                <a:cs typeface="Arial" panose="020B0604020202020204" pitchFamily="34" charset="0"/>
              </a:rPr>
              <a:t>Information</a:t>
            </a:r>
            <a:r>
              <a:rPr lang="en-US" sz="1600">
                <a:latin typeface="Arial" panose="020B0604020202020204" pitchFamily="34" charset="0"/>
                <a:cs typeface="Arial" panose="020B0604020202020204" pitchFamily="34" charset="0"/>
              </a:rPr>
              <a:t> </a:t>
            </a:r>
          </a:p>
        </p:txBody>
      </p:sp>
      <p:sp>
        <p:nvSpPr>
          <p:cNvPr id="4" name="TextBox 3">
            <a:extLst>
              <a:ext uri="{FF2B5EF4-FFF2-40B4-BE49-F238E27FC236}">
                <a16:creationId xmlns:a16="http://schemas.microsoft.com/office/drawing/2014/main" id="{14898908-7C3D-FFE3-35A5-101F7870920C}"/>
              </a:ext>
            </a:extLst>
          </p:cNvPr>
          <p:cNvSpPr txBox="1"/>
          <p:nvPr/>
        </p:nvSpPr>
        <p:spPr>
          <a:xfrm>
            <a:off x="2424839" y="2021551"/>
            <a:ext cx="1986282" cy="1569660"/>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Idle time increased by 133% after the remote work transition</a:t>
            </a:r>
          </a:p>
          <a:p>
            <a:endParaRPr lang="en-US" sz="1200" dirty="0">
              <a:latin typeface="Arial" panose="020B0604020202020204" pitchFamily="34" charset="0"/>
              <a:cs typeface="Arial" panose="020B0604020202020204" pitchFamily="34" charset="0"/>
            </a:endParaRPr>
          </a:p>
          <a:p>
            <a:r>
              <a:rPr lang="en-US" sz="1200" dirty="0">
                <a:latin typeface="Arial" panose="020B0604020202020204" pitchFamily="34" charset="0"/>
                <a:cs typeface="Arial" panose="020B0604020202020204" pitchFamily="34" charset="0"/>
              </a:rPr>
              <a:t>Idle time wasn’t unproductive; employees had more time for deep work</a:t>
            </a:r>
          </a:p>
        </p:txBody>
      </p:sp>
      <p:sp>
        <p:nvSpPr>
          <p:cNvPr id="9" name="TextBox 8">
            <a:extLst>
              <a:ext uri="{FF2B5EF4-FFF2-40B4-BE49-F238E27FC236}">
                <a16:creationId xmlns:a16="http://schemas.microsoft.com/office/drawing/2014/main" id="{CDEC9BD8-B133-48A0-6FCE-686FE2CAF0E0}"/>
              </a:ext>
            </a:extLst>
          </p:cNvPr>
          <p:cNvSpPr txBox="1"/>
          <p:nvPr/>
        </p:nvSpPr>
        <p:spPr>
          <a:xfrm>
            <a:off x="5035309" y="1661174"/>
            <a:ext cx="1277914" cy="338554"/>
          </a:xfrm>
          <a:prstGeom prst="rect">
            <a:avLst/>
          </a:prstGeom>
          <a:noFill/>
        </p:spPr>
        <p:txBody>
          <a:bodyPr wrap="none" rtlCol="0">
            <a:spAutoFit/>
          </a:bodyPr>
          <a:lstStyle/>
          <a:p>
            <a:pPr algn="l"/>
            <a:r>
              <a:rPr lang="en-US" sz="1600" b="1">
                <a:latin typeface="Arial" panose="020B0604020202020204" pitchFamily="34" charset="0"/>
                <a:cs typeface="Arial" panose="020B0604020202020204" pitchFamily="34" charset="0"/>
              </a:rPr>
              <a:t>Knowledge</a:t>
            </a:r>
            <a:endParaRPr lang="en-US" sz="160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2DA3357F-AD80-0E20-027C-28CF875E4D42}"/>
              </a:ext>
            </a:extLst>
          </p:cNvPr>
          <p:cNvSpPr txBox="1"/>
          <p:nvPr/>
        </p:nvSpPr>
        <p:spPr>
          <a:xfrm>
            <a:off x="4674573" y="2027354"/>
            <a:ext cx="2006832" cy="1015663"/>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Remote work reduced unnecessary meetings, allowing employees to complete more tasks.</a:t>
            </a:r>
          </a:p>
          <a:p>
            <a:pPr algn="ctr"/>
            <a:endParaRPr lang="en-US" sz="120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032351CF-64C9-B1C8-61E0-6792D1533EF0}"/>
              </a:ext>
            </a:extLst>
          </p:cNvPr>
          <p:cNvSpPr txBox="1"/>
          <p:nvPr/>
        </p:nvSpPr>
        <p:spPr>
          <a:xfrm>
            <a:off x="7183608" y="1676089"/>
            <a:ext cx="1630575" cy="338554"/>
          </a:xfrm>
          <a:prstGeom prst="rect">
            <a:avLst/>
          </a:prstGeom>
          <a:noFill/>
        </p:spPr>
        <p:txBody>
          <a:bodyPr wrap="none" rtlCol="0">
            <a:spAutoFit/>
          </a:bodyPr>
          <a:lstStyle/>
          <a:p>
            <a:pPr algn="l"/>
            <a:r>
              <a:rPr lang="en-US" sz="1600" b="1">
                <a:latin typeface="Arial" panose="020B0604020202020204" pitchFamily="34" charset="0"/>
                <a:cs typeface="Arial" panose="020B0604020202020204" pitchFamily="34" charset="0"/>
              </a:rPr>
              <a:t>Understanding</a:t>
            </a:r>
            <a:endParaRPr lang="en-US" sz="160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C34178A8-DAEC-EF97-EDAE-51DDACB67E7A}"/>
              </a:ext>
            </a:extLst>
          </p:cNvPr>
          <p:cNvSpPr txBox="1"/>
          <p:nvPr/>
        </p:nvSpPr>
        <p:spPr>
          <a:xfrm>
            <a:off x="6957623" y="2027354"/>
            <a:ext cx="1973517" cy="1569660"/>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Remote work led to more focused productivity, despite the increase in idle time. The hybrid model is actually improving overall efficiency</a:t>
            </a:r>
          </a:p>
          <a:p>
            <a:pPr algn="ctr"/>
            <a:endParaRPr lang="en-US" sz="1200" dirty="0">
              <a:solidFill>
                <a:srgbClr val="FF0000"/>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C3CA75AF-F34F-7A34-EC0E-AE79913AAD87}"/>
              </a:ext>
            </a:extLst>
          </p:cNvPr>
          <p:cNvSpPr txBox="1"/>
          <p:nvPr/>
        </p:nvSpPr>
        <p:spPr>
          <a:xfrm>
            <a:off x="-1520456" y="-1456660"/>
            <a:ext cx="184731" cy="369332"/>
          </a:xfrm>
          <a:prstGeom prst="rect">
            <a:avLst/>
          </a:prstGeom>
          <a:noFill/>
        </p:spPr>
        <p:txBody>
          <a:bodyPr wrap="none" rtlCol="0">
            <a:spAutoFit/>
          </a:bodyPr>
          <a:lstStyle/>
          <a:p>
            <a:pPr algn="l"/>
            <a:endParaRPr lang="en-US">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258D67F3-C8BB-88E2-803E-AC090068D2E6}"/>
              </a:ext>
            </a:extLst>
          </p:cNvPr>
          <p:cNvSpPr/>
          <p:nvPr/>
        </p:nvSpPr>
        <p:spPr>
          <a:xfrm>
            <a:off x="811940" y="838884"/>
            <a:ext cx="7766366" cy="646331"/>
          </a:xfrm>
          <a:prstGeom prst="rect">
            <a:avLst/>
          </a:prstGeom>
        </p:spPr>
        <p:txBody>
          <a:bodyPr wrap="square">
            <a:spAutoFit/>
          </a:bodyPr>
          <a:lstStyle/>
          <a:p>
            <a:pPr algn="ctr"/>
            <a:r>
              <a:rPr lang="en-US" dirty="0"/>
              <a:t>Upon further analysis, it was discovered that meeting time decreased significantly, providing more unstructured time for focused work</a:t>
            </a:r>
          </a:p>
        </p:txBody>
      </p:sp>
      <p:graphicFrame>
        <p:nvGraphicFramePr>
          <p:cNvPr id="7" name="Table 3">
            <a:extLst>
              <a:ext uri="{FF2B5EF4-FFF2-40B4-BE49-F238E27FC236}">
                <a16:creationId xmlns:a16="http://schemas.microsoft.com/office/drawing/2014/main" id="{988335C7-3D31-5327-9F12-CD192A3A46D6}"/>
              </a:ext>
            </a:extLst>
          </p:cNvPr>
          <p:cNvGraphicFramePr>
            <a:graphicFrameLocks noGrp="1"/>
          </p:cNvGraphicFramePr>
          <p:nvPr>
            <p:extLst>
              <p:ext uri="{D42A27DB-BD31-4B8C-83A1-F6EECF244321}">
                <p14:modId xmlns:p14="http://schemas.microsoft.com/office/powerpoint/2010/main" val="235136565"/>
              </p:ext>
            </p:extLst>
          </p:nvPr>
        </p:nvGraphicFramePr>
        <p:xfrm>
          <a:off x="379300" y="2865730"/>
          <a:ext cx="1641549" cy="990600"/>
        </p:xfrm>
        <a:graphic>
          <a:graphicData uri="http://schemas.openxmlformats.org/drawingml/2006/table">
            <a:tbl>
              <a:tblPr firstRow="1" bandRow="1">
                <a:tableStyleId>{5C22544A-7EE6-4342-B048-85BDC9FD1C3A}</a:tableStyleId>
              </a:tblPr>
              <a:tblGrid>
                <a:gridCol w="485094">
                  <a:extLst>
                    <a:ext uri="{9D8B030D-6E8A-4147-A177-3AD203B41FA5}">
                      <a16:colId xmlns:a16="http://schemas.microsoft.com/office/drawing/2014/main" val="1104056997"/>
                    </a:ext>
                  </a:extLst>
                </a:gridCol>
                <a:gridCol w="1156455">
                  <a:extLst>
                    <a:ext uri="{9D8B030D-6E8A-4147-A177-3AD203B41FA5}">
                      <a16:colId xmlns:a16="http://schemas.microsoft.com/office/drawing/2014/main" val="386582512"/>
                    </a:ext>
                  </a:extLst>
                </a:gridCol>
              </a:tblGrid>
              <a:tr h="0">
                <a:tc>
                  <a:txBody>
                    <a:bodyPr/>
                    <a:lstStyle/>
                    <a:p>
                      <a:r>
                        <a:rPr lang="en-US" sz="900" dirty="0"/>
                        <a:t>Year</a:t>
                      </a:r>
                    </a:p>
                  </a:txBody>
                  <a:tcPr/>
                </a:tc>
                <a:tc>
                  <a:txBody>
                    <a:bodyPr/>
                    <a:lstStyle/>
                    <a:p>
                      <a:r>
                        <a:rPr lang="en-US" sz="900" dirty="0"/>
                        <a:t>Avg Weekly Meetings per Employee</a:t>
                      </a:r>
                    </a:p>
                  </a:txBody>
                  <a:tcPr/>
                </a:tc>
                <a:extLst>
                  <a:ext uri="{0D108BD9-81ED-4DB2-BD59-A6C34878D82A}">
                    <a16:rowId xmlns:a16="http://schemas.microsoft.com/office/drawing/2014/main" val="2087250124"/>
                  </a:ext>
                </a:extLst>
              </a:tr>
              <a:tr h="0">
                <a:tc>
                  <a:txBody>
                    <a:bodyPr/>
                    <a:lstStyle/>
                    <a:p>
                      <a:r>
                        <a:rPr lang="en-US" sz="1000" dirty="0"/>
                        <a:t>2019 </a:t>
                      </a:r>
                    </a:p>
                  </a:txBody>
                  <a:tcPr/>
                </a:tc>
                <a:tc>
                  <a:txBody>
                    <a:bodyPr/>
                    <a:lstStyle/>
                    <a:p>
                      <a:r>
                        <a:rPr lang="en-US" sz="1000" dirty="0"/>
                        <a:t>15</a:t>
                      </a:r>
                    </a:p>
                  </a:txBody>
                  <a:tcPr/>
                </a:tc>
                <a:extLst>
                  <a:ext uri="{0D108BD9-81ED-4DB2-BD59-A6C34878D82A}">
                    <a16:rowId xmlns:a16="http://schemas.microsoft.com/office/drawing/2014/main" val="1321749891"/>
                  </a:ext>
                </a:extLst>
              </a:tr>
              <a:tr h="0">
                <a:tc>
                  <a:txBody>
                    <a:bodyPr/>
                    <a:lstStyle/>
                    <a:p>
                      <a:r>
                        <a:rPr lang="en-US" sz="1000" dirty="0"/>
                        <a:t>2020 </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8</a:t>
                      </a:r>
                    </a:p>
                  </a:txBody>
                  <a:tcPr/>
                </a:tc>
                <a:extLst>
                  <a:ext uri="{0D108BD9-81ED-4DB2-BD59-A6C34878D82A}">
                    <a16:rowId xmlns:a16="http://schemas.microsoft.com/office/drawing/2014/main" val="491641643"/>
                  </a:ext>
                </a:extLst>
              </a:tr>
            </a:tbl>
          </a:graphicData>
        </a:graphic>
      </p:graphicFrame>
      <p:graphicFrame>
        <p:nvGraphicFramePr>
          <p:cNvPr id="19" name="Table 3">
            <a:extLst>
              <a:ext uri="{FF2B5EF4-FFF2-40B4-BE49-F238E27FC236}">
                <a16:creationId xmlns:a16="http://schemas.microsoft.com/office/drawing/2014/main" id="{6F01FEF2-7A68-1D3C-9806-34F40DA64E97}"/>
              </a:ext>
            </a:extLst>
          </p:cNvPr>
          <p:cNvGraphicFramePr>
            <a:graphicFrameLocks noGrp="1"/>
          </p:cNvGraphicFramePr>
          <p:nvPr>
            <p:extLst>
              <p:ext uri="{D42A27DB-BD31-4B8C-83A1-F6EECF244321}">
                <p14:modId xmlns:p14="http://schemas.microsoft.com/office/powerpoint/2010/main" val="1774927256"/>
              </p:ext>
            </p:extLst>
          </p:nvPr>
        </p:nvGraphicFramePr>
        <p:xfrm>
          <a:off x="391651" y="3920356"/>
          <a:ext cx="1641549" cy="853440"/>
        </p:xfrm>
        <a:graphic>
          <a:graphicData uri="http://schemas.openxmlformats.org/drawingml/2006/table">
            <a:tbl>
              <a:tblPr firstRow="1" bandRow="1">
                <a:tableStyleId>{5C22544A-7EE6-4342-B048-85BDC9FD1C3A}</a:tableStyleId>
              </a:tblPr>
              <a:tblGrid>
                <a:gridCol w="479887">
                  <a:extLst>
                    <a:ext uri="{9D8B030D-6E8A-4147-A177-3AD203B41FA5}">
                      <a16:colId xmlns:a16="http://schemas.microsoft.com/office/drawing/2014/main" val="1104056997"/>
                    </a:ext>
                  </a:extLst>
                </a:gridCol>
                <a:gridCol w="1161662">
                  <a:extLst>
                    <a:ext uri="{9D8B030D-6E8A-4147-A177-3AD203B41FA5}">
                      <a16:colId xmlns:a16="http://schemas.microsoft.com/office/drawing/2014/main" val="386582512"/>
                    </a:ext>
                  </a:extLst>
                </a:gridCol>
              </a:tblGrid>
              <a:tr h="0">
                <a:tc>
                  <a:txBody>
                    <a:bodyPr/>
                    <a:lstStyle/>
                    <a:p>
                      <a:r>
                        <a:rPr lang="en-US" sz="900" dirty="0"/>
                        <a:t>Year</a:t>
                      </a:r>
                    </a:p>
                  </a:txBody>
                  <a:tcPr/>
                </a:tc>
                <a:tc>
                  <a:txBody>
                    <a:bodyPr/>
                    <a:lstStyle/>
                    <a:p>
                      <a:r>
                        <a:rPr lang="en-US" sz="900" dirty="0"/>
                        <a:t>Completed Deliverables</a:t>
                      </a:r>
                    </a:p>
                  </a:txBody>
                  <a:tcPr/>
                </a:tc>
                <a:extLst>
                  <a:ext uri="{0D108BD9-81ED-4DB2-BD59-A6C34878D82A}">
                    <a16:rowId xmlns:a16="http://schemas.microsoft.com/office/drawing/2014/main" val="2087250124"/>
                  </a:ext>
                </a:extLst>
              </a:tr>
              <a:tr h="0">
                <a:tc>
                  <a:txBody>
                    <a:bodyPr/>
                    <a:lstStyle/>
                    <a:p>
                      <a:r>
                        <a:rPr lang="en-US" sz="1000" dirty="0"/>
                        <a:t>2019 </a:t>
                      </a:r>
                    </a:p>
                  </a:txBody>
                  <a:tcPr/>
                </a:tc>
                <a:tc>
                  <a:txBody>
                    <a:bodyPr/>
                    <a:lstStyle/>
                    <a:p>
                      <a:r>
                        <a:rPr lang="en-US" sz="1000" dirty="0"/>
                        <a:t>6</a:t>
                      </a:r>
                    </a:p>
                  </a:txBody>
                  <a:tcPr/>
                </a:tc>
                <a:extLst>
                  <a:ext uri="{0D108BD9-81ED-4DB2-BD59-A6C34878D82A}">
                    <a16:rowId xmlns:a16="http://schemas.microsoft.com/office/drawing/2014/main" val="1321749891"/>
                  </a:ext>
                </a:extLst>
              </a:tr>
              <a:tr h="0">
                <a:tc>
                  <a:txBody>
                    <a:bodyPr/>
                    <a:lstStyle/>
                    <a:p>
                      <a:r>
                        <a:rPr lang="en-US" sz="1000" dirty="0"/>
                        <a:t>2020 </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dirty="0"/>
                        <a:t>8</a:t>
                      </a:r>
                    </a:p>
                  </a:txBody>
                  <a:tcPr/>
                </a:tc>
                <a:extLst>
                  <a:ext uri="{0D108BD9-81ED-4DB2-BD59-A6C34878D82A}">
                    <a16:rowId xmlns:a16="http://schemas.microsoft.com/office/drawing/2014/main" val="491641643"/>
                  </a:ext>
                </a:extLst>
              </a:tr>
            </a:tbl>
          </a:graphicData>
        </a:graphic>
      </p:graphicFrame>
    </p:spTree>
    <p:custDataLst>
      <p:tags r:id="rId1"/>
    </p:custDataLst>
    <p:extLst>
      <p:ext uri="{BB962C8B-B14F-4D97-AF65-F5344CB8AC3E}">
        <p14:creationId xmlns:p14="http://schemas.microsoft.com/office/powerpoint/2010/main" val="2836684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3" grpId="0" animBg="1"/>
      <p:bldP spid="15" grpId="0" animBg="1"/>
      <p:bldP spid="16" grpId="0" animBg="1"/>
      <p:bldP spid="17" grpId="0" animBg="1"/>
      <p:bldP spid="2" grpId="0"/>
      <p:bldP spid="8" grpId="0"/>
      <p:bldP spid="4" grpId="0"/>
      <p:bldP spid="9" grpId="0"/>
      <p:bldP spid="10" grpId="0"/>
      <p:bldP spid="11" grpId="0"/>
      <p:bldP spid="1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0242DA-9791-8F0D-DBDF-92052E792AFC}"/>
            </a:ext>
          </a:extLst>
        </p:cNvPr>
        <p:cNvGrpSpPr/>
        <p:nvPr/>
      </p:nvGrpSpPr>
      <p:grpSpPr>
        <a:xfrm>
          <a:off x="0" y="0"/>
          <a:ext cx="0" cy="0"/>
          <a:chOff x="0" y="0"/>
          <a:chExt cx="0" cy="0"/>
        </a:xfrm>
      </p:grpSpPr>
      <p:sp>
        <p:nvSpPr>
          <p:cNvPr id="6" name="Title 15">
            <a:extLst>
              <a:ext uri="{FF2B5EF4-FFF2-40B4-BE49-F238E27FC236}">
                <a16:creationId xmlns:a16="http://schemas.microsoft.com/office/drawing/2014/main" id="{8EC591FC-6BE7-0493-26A4-ECC120678965}"/>
              </a:ext>
            </a:extLst>
          </p:cNvPr>
          <p:cNvSpPr txBox="1">
            <a:spLocks/>
          </p:cNvSpPr>
          <p:nvPr/>
        </p:nvSpPr>
        <p:spPr>
          <a:xfrm>
            <a:off x="495300" y="116882"/>
            <a:ext cx="8534400" cy="323165"/>
          </a:xfrm>
          <a:prstGeom prst="rect">
            <a:avLst/>
          </a:prstGeom>
        </p:spPr>
        <p:txBody>
          <a:bodyPr lIns="0" tIns="0" rIns="0" bIns="0" anchor="t" anchorCtr="0">
            <a:spAutoFit/>
          </a:bodyPr>
          <a:lstStyle>
            <a:lvl1pPr algn="ctr" defTabSz="385713" rtl="0" eaLnBrk="1" latinLnBrk="0" hangingPunct="1">
              <a:spcBef>
                <a:spcPct val="0"/>
              </a:spcBef>
              <a:buNone/>
              <a:defRPr sz="2250" b="1" kern="1200">
                <a:solidFill>
                  <a:srgbClr val="8E9093"/>
                </a:solidFill>
                <a:latin typeface="+mj-lt"/>
                <a:ea typeface="+mj-ea"/>
                <a:cs typeface="+mj-cs"/>
              </a:defRPr>
            </a:lvl1pPr>
          </a:lstStyle>
          <a:p>
            <a:pPr marL="0" marR="0" lvl="0" indent="0" algn="l" defTabSz="3857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545659"/>
                </a:solidFill>
                <a:effectLst/>
                <a:uLnTx/>
                <a:uFillTx/>
                <a:latin typeface="Arial" panose="020B0604020202020204"/>
                <a:ea typeface="+mj-ea"/>
                <a:cs typeface="Calibri" panose="020F0502020204030204" pitchFamily="34" charset="0"/>
              </a:rPr>
              <a:t>Interactive Activity</a:t>
            </a:r>
          </a:p>
        </p:txBody>
      </p:sp>
      <p:pic>
        <p:nvPicPr>
          <p:cNvPr id="2" name="Picture 1">
            <a:extLst>
              <a:ext uri="{FF2B5EF4-FFF2-40B4-BE49-F238E27FC236}">
                <a16:creationId xmlns:a16="http://schemas.microsoft.com/office/drawing/2014/main" id="{425BC66F-86ED-2C1C-CD90-8B75FA8EC4E5}"/>
              </a:ext>
            </a:extLst>
          </p:cNvPr>
          <p:cNvPicPr>
            <a:picLocks noChangeAspect="1"/>
          </p:cNvPicPr>
          <p:nvPr/>
        </p:nvPicPr>
        <p:blipFill>
          <a:blip r:embed="rId4"/>
          <a:srcRect/>
          <a:stretch/>
        </p:blipFill>
        <p:spPr>
          <a:xfrm>
            <a:off x="1624589" y="1810851"/>
            <a:ext cx="3699479" cy="2294614"/>
          </a:xfrm>
          <a:prstGeom prst="rect">
            <a:avLst/>
          </a:prstGeom>
          <a:ln>
            <a:solidFill>
              <a:schemeClr val="tx1"/>
            </a:solidFill>
          </a:ln>
        </p:spPr>
      </p:pic>
      <p:sp>
        <p:nvSpPr>
          <p:cNvPr id="3" name="TextBox 2">
            <a:extLst>
              <a:ext uri="{FF2B5EF4-FFF2-40B4-BE49-F238E27FC236}">
                <a16:creationId xmlns:a16="http://schemas.microsoft.com/office/drawing/2014/main" id="{A4D0C53D-F8DB-E51E-B9CE-28314B5BDC6F}"/>
              </a:ext>
            </a:extLst>
          </p:cNvPr>
          <p:cNvSpPr txBox="1"/>
          <p:nvPr/>
        </p:nvSpPr>
        <p:spPr>
          <a:xfrm>
            <a:off x="594052" y="1028307"/>
            <a:ext cx="8199751" cy="590931"/>
          </a:xfrm>
          <a:prstGeom prst="rect">
            <a:avLst/>
          </a:prstGeom>
          <a:noFill/>
        </p:spPr>
        <p:txBody>
          <a:bodyPr wrap="square">
            <a:spAutoFit/>
          </a:bodyPr>
          <a:lstStyle/>
          <a:p>
            <a:pPr>
              <a:lnSpc>
                <a:spcPct val="90000"/>
              </a:lnSpc>
              <a:spcAft>
                <a:spcPts val="375"/>
              </a:spcAft>
            </a:pPr>
            <a:r>
              <a:rPr lang="en-US" dirty="0">
                <a:latin typeface="+mj-lt"/>
                <a:ea typeface="+mj-ea"/>
                <a:cs typeface="+mj-cs"/>
              </a:rPr>
              <a:t>Based off the visualization below, can we conclude that overall employee productivity is decreasing?</a:t>
            </a:r>
          </a:p>
        </p:txBody>
      </p:sp>
      <p:sp>
        <p:nvSpPr>
          <p:cNvPr id="4" name="TextBox 3">
            <a:extLst>
              <a:ext uri="{FF2B5EF4-FFF2-40B4-BE49-F238E27FC236}">
                <a16:creationId xmlns:a16="http://schemas.microsoft.com/office/drawing/2014/main" id="{F6C95D63-5BFC-17DA-3D7A-265FD3A377D7}"/>
              </a:ext>
            </a:extLst>
          </p:cNvPr>
          <p:cNvSpPr txBox="1"/>
          <p:nvPr/>
        </p:nvSpPr>
        <p:spPr>
          <a:xfrm>
            <a:off x="5591060" y="2522185"/>
            <a:ext cx="3326769" cy="669414"/>
          </a:xfrm>
          <a:prstGeom prst="rect">
            <a:avLst/>
          </a:prstGeom>
          <a:solidFill>
            <a:schemeClr val="bg1">
              <a:lumMod val="85000"/>
            </a:schemeClr>
          </a:solidFill>
        </p:spPr>
        <p:txBody>
          <a:bodyPr wrap="square">
            <a:spAutoFit/>
          </a:bodyPr>
          <a:lstStyle/>
          <a:p>
            <a:pPr fontAlgn="ctr">
              <a:spcBef>
                <a:spcPts val="0"/>
              </a:spcBef>
              <a:spcAft>
                <a:spcPts val="0"/>
              </a:spcAft>
            </a:pPr>
            <a:r>
              <a:rPr lang="en-US" sz="1250" dirty="0">
                <a:solidFill>
                  <a:schemeClr val="tx1">
                    <a:lumMod val="75000"/>
                    <a:lumOff val="25000"/>
                  </a:schemeClr>
                </a:solidFill>
                <a:latin typeface="Calibri" panose="020F0502020204030204" pitchFamily="34" charset="0"/>
                <a:ea typeface="+mn-ea"/>
                <a:cs typeface="+mn-cs"/>
              </a:rPr>
              <a:t>Look at this data visualization. There was 10 less tasks completed on average per employee in 2023 compared to 2020</a:t>
            </a:r>
          </a:p>
        </p:txBody>
      </p:sp>
    </p:spTree>
    <p:custDataLst>
      <p:tags r:id="rId1"/>
    </p:custDataLst>
    <p:extLst>
      <p:ext uri="{BB962C8B-B14F-4D97-AF65-F5344CB8AC3E}">
        <p14:creationId xmlns:p14="http://schemas.microsoft.com/office/powerpoint/2010/main" val="19772739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F35F71-36F4-57DE-24B3-1C404D8FED70}"/>
            </a:ext>
          </a:extLst>
        </p:cNvPr>
        <p:cNvGrpSpPr/>
        <p:nvPr/>
      </p:nvGrpSpPr>
      <p:grpSpPr>
        <a:xfrm>
          <a:off x="0" y="0"/>
          <a:ext cx="0" cy="0"/>
          <a:chOff x="0" y="0"/>
          <a:chExt cx="0" cy="0"/>
        </a:xfrm>
      </p:grpSpPr>
      <p:sp>
        <p:nvSpPr>
          <p:cNvPr id="6" name="Title 15">
            <a:extLst>
              <a:ext uri="{FF2B5EF4-FFF2-40B4-BE49-F238E27FC236}">
                <a16:creationId xmlns:a16="http://schemas.microsoft.com/office/drawing/2014/main" id="{F833296C-D57F-2E3A-D11A-149B16CF9CE2}"/>
              </a:ext>
            </a:extLst>
          </p:cNvPr>
          <p:cNvSpPr txBox="1">
            <a:spLocks/>
          </p:cNvSpPr>
          <p:nvPr/>
        </p:nvSpPr>
        <p:spPr>
          <a:xfrm>
            <a:off x="495300" y="156546"/>
            <a:ext cx="8534400" cy="323165"/>
          </a:xfrm>
          <a:prstGeom prst="rect">
            <a:avLst/>
          </a:prstGeom>
        </p:spPr>
        <p:txBody>
          <a:bodyPr lIns="0" tIns="0" rIns="0" bIns="0" anchor="t" anchorCtr="0">
            <a:spAutoFit/>
          </a:bodyPr>
          <a:lstStyle>
            <a:lvl1pPr algn="ctr" defTabSz="385713" rtl="0" eaLnBrk="1" latinLnBrk="0" hangingPunct="1">
              <a:spcBef>
                <a:spcPct val="0"/>
              </a:spcBef>
              <a:buNone/>
              <a:defRPr sz="2250" b="1" kern="1200">
                <a:solidFill>
                  <a:srgbClr val="8E9093"/>
                </a:solidFill>
                <a:latin typeface="+mj-lt"/>
                <a:ea typeface="+mj-ea"/>
                <a:cs typeface="+mj-cs"/>
              </a:defRPr>
            </a:lvl1pPr>
          </a:lstStyle>
          <a:p>
            <a:pPr marL="0" marR="0" lvl="0" indent="0" algn="l" defTabSz="3857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545659"/>
                </a:solidFill>
                <a:effectLst/>
                <a:uLnTx/>
                <a:uFillTx/>
                <a:latin typeface="Arial" panose="020B0604020202020204"/>
                <a:ea typeface="+mj-ea"/>
                <a:cs typeface="Calibri" panose="020F0502020204030204" pitchFamily="34" charset="0"/>
              </a:rPr>
              <a:t>Interactive Activity</a:t>
            </a:r>
          </a:p>
        </p:txBody>
      </p:sp>
      <p:pic>
        <p:nvPicPr>
          <p:cNvPr id="5" name="Picture 4">
            <a:extLst>
              <a:ext uri="{FF2B5EF4-FFF2-40B4-BE49-F238E27FC236}">
                <a16:creationId xmlns:a16="http://schemas.microsoft.com/office/drawing/2014/main" id="{0A497BC9-789C-F779-DE27-B7F4B49280B2}"/>
              </a:ext>
            </a:extLst>
          </p:cNvPr>
          <p:cNvPicPr>
            <a:picLocks noChangeAspect="1"/>
          </p:cNvPicPr>
          <p:nvPr/>
        </p:nvPicPr>
        <p:blipFill>
          <a:blip r:embed="rId4"/>
          <a:srcRect/>
          <a:stretch/>
        </p:blipFill>
        <p:spPr>
          <a:xfrm>
            <a:off x="399545" y="1810851"/>
            <a:ext cx="3683458" cy="2294614"/>
          </a:xfrm>
          <a:prstGeom prst="rect">
            <a:avLst/>
          </a:prstGeom>
          <a:ln>
            <a:solidFill>
              <a:schemeClr val="tx1"/>
            </a:solidFill>
          </a:ln>
        </p:spPr>
      </p:pic>
      <p:sp>
        <p:nvSpPr>
          <p:cNvPr id="7" name="TextBox 6">
            <a:extLst>
              <a:ext uri="{FF2B5EF4-FFF2-40B4-BE49-F238E27FC236}">
                <a16:creationId xmlns:a16="http://schemas.microsoft.com/office/drawing/2014/main" id="{DF60797B-0EC1-1509-4A03-E48B99D89288}"/>
              </a:ext>
            </a:extLst>
          </p:cNvPr>
          <p:cNvSpPr txBox="1"/>
          <p:nvPr/>
        </p:nvSpPr>
        <p:spPr>
          <a:xfrm>
            <a:off x="495300" y="1038035"/>
            <a:ext cx="8174247" cy="590931"/>
          </a:xfrm>
          <a:prstGeom prst="rect">
            <a:avLst/>
          </a:prstGeom>
          <a:noFill/>
        </p:spPr>
        <p:txBody>
          <a:bodyPr wrap="square">
            <a:spAutoFit/>
          </a:bodyPr>
          <a:lstStyle/>
          <a:p>
            <a:pPr>
              <a:lnSpc>
                <a:spcPct val="90000"/>
              </a:lnSpc>
              <a:spcAft>
                <a:spcPts val="375"/>
              </a:spcAft>
            </a:pPr>
            <a:r>
              <a:rPr lang="en-US" dirty="0">
                <a:latin typeface="+mj-lt"/>
                <a:ea typeface="+mj-ea"/>
                <a:cs typeface="+mj-cs"/>
              </a:rPr>
              <a:t>Based off the visualization below, can we conclude that overall employee productivity is decreasing?</a:t>
            </a:r>
          </a:p>
        </p:txBody>
      </p:sp>
      <p:pic>
        <p:nvPicPr>
          <p:cNvPr id="8" name="Picture 7">
            <a:extLst>
              <a:ext uri="{FF2B5EF4-FFF2-40B4-BE49-F238E27FC236}">
                <a16:creationId xmlns:a16="http://schemas.microsoft.com/office/drawing/2014/main" id="{02DE31B6-CE15-7019-A00A-B4129C6FB2EF}"/>
              </a:ext>
            </a:extLst>
          </p:cNvPr>
          <p:cNvPicPr>
            <a:picLocks noChangeAspect="1"/>
          </p:cNvPicPr>
          <p:nvPr/>
        </p:nvPicPr>
        <p:blipFill>
          <a:blip r:embed="rId5"/>
          <a:srcRect/>
          <a:stretch/>
        </p:blipFill>
        <p:spPr>
          <a:xfrm>
            <a:off x="4754591" y="1810851"/>
            <a:ext cx="3848339" cy="2294614"/>
          </a:xfrm>
          <a:prstGeom prst="rect">
            <a:avLst/>
          </a:prstGeom>
          <a:ln>
            <a:solidFill>
              <a:schemeClr val="tx1"/>
            </a:solidFill>
          </a:ln>
        </p:spPr>
      </p:pic>
    </p:spTree>
    <p:custDataLst>
      <p:tags r:id="rId1"/>
    </p:custDataLst>
    <p:extLst>
      <p:ext uri="{BB962C8B-B14F-4D97-AF65-F5344CB8AC3E}">
        <p14:creationId xmlns:p14="http://schemas.microsoft.com/office/powerpoint/2010/main" val="2374184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95300" y="107490"/>
            <a:ext cx="8106305" cy="443818"/>
          </a:xfrm>
        </p:spPr>
        <p:txBody>
          <a:bodyPr/>
          <a:lstStyle/>
          <a:p>
            <a:r>
              <a:rPr lang="en-US" sz="2100"/>
              <a:t>Resolve &amp; Decide</a:t>
            </a:r>
          </a:p>
        </p:txBody>
      </p:sp>
      <p:pic>
        <p:nvPicPr>
          <p:cNvPr id="2" name="Picture 1">
            <a:extLst>
              <a:ext uri="{FF2B5EF4-FFF2-40B4-BE49-F238E27FC236}">
                <a16:creationId xmlns:a16="http://schemas.microsoft.com/office/drawing/2014/main" id="{566CAD0D-BDDC-70ED-5D15-D3B342E8583B}"/>
              </a:ext>
            </a:extLst>
          </p:cNvPr>
          <p:cNvPicPr>
            <a:picLocks noChangeAspect="1"/>
          </p:cNvPicPr>
          <p:nvPr/>
        </p:nvPicPr>
        <p:blipFill>
          <a:blip r:embed="rId3"/>
          <a:stretch>
            <a:fillRect/>
          </a:stretch>
        </p:blipFill>
        <p:spPr>
          <a:xfrm>
            <a:off x="220214" y="1063737"/>
            <a:ext cx="3591391" cy="3016026"/>
          </a:xfrm>
          <a:prstGeom prst="rect">
            <a:avLst/>
          </a:prstGeom>
        </p:spPr>
      </p:pic>
      <p:sp>
        <p:nvSpPr>
          <p:cNvPr id="3" name="Oval 2">
            <a:extLst>
              <a:ext uri="{FF2B5EF4-FFF2-40B4-BE49-F238E27FC236}">
                <a16:creationId xmlns:a16="http://schemas.microsoft.com/office/drawing/2014/main" id="{FB229C2D-874E-65AB-5067-2D0E908271AD}"/>
              </a:ext>
            </a:extLst>
          </p:cNvPr>
          <p:cNvSpPr/>
          <p:nvPr/>
        </p:nvSpPr>
        <p:spPr>
          <a:xfrm>
            <a:off x="1949570" y="2343150"/>
            <a:ext cx="776377" cy="4388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TextBox 3">
            <a:extLst>
              <a:ext uri="{FF2B5EF4-FFF2-40B4-BE49-F238E27FC236}">
                <a16:creationId xmlns:a16="http://schemas.microsoft.com/office/drawing/2014/main" id="{8D4D4BE2-3826-714C-7F2B-9E7B0C784EC2}"/>
              </a:ext>
            </a:extLst>
          </p:cNvPr>
          <p:cNvSpPr txBox="1"/>
          <p:nvPr/>
        </p:nvSpPr>
        <p:spPr>
          <a:xfrm>
            <a:off x="6436359" y="493023"/>
            <a:ext cx="2415318" cy="338554"/>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rPr>
              <a:t>Generate Options</a:t>
            </a:r>
          </a:p>
        </p:txBody>
      </p:sp>
      <p:sp>
        <p:nvSpPr>
          <p:cNvPr id="19" name="TextBox 18">
            <a:extLst>
              <a:ext uri="{FF2B5EF4-FFF2-40B4-BE49-F238E27FC236}">
                <a16:creationId xmlns:a16="http://schemas.microsoft.com/office/drawing/2014/main" id="{FC0C58A6-26E5-3FE8-F79F-71DCF2FAF974}"/>
              </a:ext>
            </a:extLst>
          </p:cNvPr>
          <p:cNvSpPr txBox="1"/>
          <p:nvPr/>
        </p:nvSpPr>
        <p:spPr>
          <a:xfrm>
            <a:off x="6451729" y="2533528"/>
            <a:ext cx="2965558" cy="830997"/>
          </a:xfrm>
          <a:prstGeom prst="rect">
            <a:avLst/>
          </a:prstGeom>
          <a:noFill/>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rPr>
              <a:t>Weigh Risks and Uncertainty</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endParaRPr>
          </a:p>
        </p:txBody>
      </p:sp>
      <p:sp>
        <p:nvSpPr>
          <p:cNvPr id="23" name="TextBox 22">
            <a:extLst>
              <a:ext uri="{FF2B5EF4-FFF2-40B4-BE49-F238E27FC236}">
                <a16:creationId xmlns:a16="http://schemas.microsoft.com/office/drawing/2014/main" id="{DE32267D-D2DF-B9E6-09A9-16A51E8AFB90}"/>
              </a:ext>
            </a:extLst>
          </p:cNvPr>
          <p:cNvSpPr txBox="1"/>
          <p:nvPr/>
        </p:nvSpPr>
        <p:spPr>
          <a:xfrm>
            <a:off x="6448549" y="1452322"/>
            <a:ext cx="3197206" cy="830997"/>
          </a:xfrm>
          <a:prstGeom prst="rect">
            <a:avLst/>
          </a:prstGeom>
          <a:noFill/>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rPr>
              <a:t>Evaluate Options Against Decision Criteria</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endParaRPr>
          </a:p>
        </p:txBody>
      </p:sp>
      <p:pic>
        <p:nvPicPr>
          <p:cNvPr id="25" name="Graphic 24" descr="Clipboard Checked with solid fill">
            <a:extLst>
              <a:ext uri="{FF2B5EF4-FFF2-40B4-BE49-F238E27FC236}">
                <a16:creationId xmlns:a16="http://schemas.microsoft.com/office/drawing/2014/main" id="{554ECD32-6DE3-9343-E17E-0434264B36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01718" y="476104"/>
            <a:ext cx="640080" cy="640080"/>
          </a:xfrm>
          <a:prstGeom prst="rect">
            <a:avLst/>
          </a:prstGeom>
        </p:spPr>
      </p:pic>
      <p:pic>
        <p:nvPicPr>
          <p:cNvPr id="29" name="Graphic 28" descr="Warning with solid fill">
            <a:extLst>
              <a:ext uri="{FF2B5EF4-FFF2-40B4-BE49-F238E27FC236}">
                <a16:creationId xmlns:a16="http://schemas.microsoft.com/office/drawing/2014/main" id="{CD06044F-80A0-B573-F86B-989CDCB107F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31055" y="2480545"/>
            <a:ext cx="640080" cy="640080"/>
          </a:xfrm>
          <a:prstGeom prst="rect">
            <a:avLst/>
          </a:prstGeom>
        </p:spPr>
      </p:pic>
      <p:pic>
        <p:nvPicPr>
          <p:cNvPr id="31" name="Graphic 30" descr="Scales of justice with solid fill">
            <a:extLst>
              <a:ext uri="{FF2B5EF4-FFF2-40B4-BE49-F238E27FC236}">
                <a16:creationId xmlns:a16="http://schemas.microsoft.com/office/drawing/2014/main" id="{936D7EEF-2FDB-6538-C43B-B63A327ABB0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12806" y="1416222"/>
            <a:ext cx="640080" cy="640080"/>
          </a:xfrm>
          <a:prstGeom prst="rect">
            <a:avLst/>
          </a:prstGeom>
        </p:spPr>
      </p:pic>
      <p:sp>
        <p:nvSpPr>
          <p:cNvPr id="10" name="TextBox 9">
            <a:extLst>
              <a:ext uri="{FF2B5EF4-FFF2-40B4-BE49-F238E27FC236}">
                <a16:creationId xmlns:a16="http://schemas.microsoft.com/office/drawing/2014/main" id="{0151DEB5-4D49-582D-4226-59E4D7A8C5C8}"/>
              </a:ext>
            </a:extLst>
          </p:cNvPr>
          <p:cNvSpPr txBox="1"/>
          <p:nvPr/>
        </p:nvSpPr>
        <p:spPr>
          <a:xfrm>
            <a:off x="6464981" y="4404151"/>
            <a:ext cx="2965558" cy="584775"/>
          </a:xfrm>
          <a:prstGeom prst="rect">
            <a:avLst/>
          </a:prstGeom>
          <a:noFill/>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rPr>
              <a:t>Make Final Decision</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endParaRPr>
          </a:p>
        </p:txBody>
      </p:sp>
      <p:sp>
        <p:nvSpPr>
          <p:cNvPr id="11" name="TextBox 10">
            <a:extLst>
              <a:ext uri="{FF2B5EF4-FFF2-40B4-BE49-F238E27FC236}">
                <a16:creationId xmlns:a16="http://schemas.microsoft.com/office/drawing/2014/main" id="{7630C079-6EC3-3E1C-E641-B8425CD40B01}"/>
              </a:ext>
            </a:extLst>
          </p:cNvPr>
          <p:cNvSpPr txBox="1"/>
          <p:nvPr/>
        </p:nvSpPr>
        <p:spPr>
          <a:xfrm>
            <a:off x="6461801" y="3491908"/>
            <a:ext cx="3197206" cy="584775"/>
          </a:xfrm>
          <a:prstGeom prst="rect">
            <a:avLst/>
          </a:prstGeom>
          <a:noFill/>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rPr>
              <a:t>Assess Org Readiness</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endParaRPr>
          </a:p>
        </p:txBody>
      </p:sp>
      <p:pic>
        <p:nvPicPr>
          <p:cNvPr id="15" name="Graphic 14" descr="Gauge with solid fill">
            <a:extLst>
              <a:ext uri="{FF2B5EF4-FFF2-40B4-BE49-F238E27FC236}">
                <a16:creationId xmlns:a16="http://schemas.microsoft.com/office/drawing/2014/main" id="{5853D6C8-FE0A-E35C-E520-FF7BF4612D1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436704" y="3366880"/>
            <a:ext cx="640080" cy="640080"/>
          </a:xfrm>
          <a:prstGeom prst="rect">
            <a:avLst/>
          </a:prstGeom>
        </p:spPr>
      </p:pic>
      <p:pic>
        <p:nvPicPr>
          <p:cNvPr id="17" name="Graphic 16" descr="Thumbs up sign with solid fill">
            <a:extLst>
              <a:ext uri="{FF2B5EF4-FFF2-40B4-BE49-F238E27FC236}">
                <a16:creationId xmlns:a16="http://schemas.microsoft.com/office/drawing/2014/main" id="{66E76A0B-4EE8-56BB-BE56-35A08B8E9EB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66522" y="4179570"/>
            <a:ext cx="640080" cy="640080"/>
          </a:xfrm>
          <a:prstGeom prst="rect">
            <a:avLst/>
          </a:prstGeom>
        </p:spPr>
      </p:pic>
    </p:spTree>
    <p:extLst>
      <p:ext uri="{BB962C8B-B14F-4D97-AF65-F5344CB8AC3E}">
        <p14:creationId xmlns:p14="http://schemas.microsoft.com/office/powerpoint/2010/main" val="200050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subTnLst>
                                    <p:animClr clrSpc="rgb" dir="cw">
                                      <p:cBhvr override="childStyle">
                                        <p:cTn dur="1" fill="hold" display="0" masterRel="nextClick" afterEffect="1"/>
                                        <p:tgtEl>
                                          <p:spTgt spid="4"/>
                                        </p:tgtEl>
                                        <p:attrNameLst>
                                          <p:attrName>ppt_c</p:attrName>
                                        </p:attrNameLst>
                                      </p:cBhvr>
                                      <p:to>
                                        <a:schemeClr val="tx1"/>
                                      </p:to>
                                    </p:animClr>
                                  </p:sub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subTnLst>
                                    <p:animClr clrSpc="rgb" dir="cw">
                                      <p:cBhvr override="childStyle">
                                        <p:cTn dur="1" fill="hold" display="0" masterRel="nextClick" afterEffect="1"/>
                                        <p:tgtEl>
                                          <p:spTgt spid="25"/>
                                        </p:tgtEl>
                                        <p:attrNameLst>
                                          <p:attrName>ppt_c</p:attrName>
                                        </p:attrNameLst>
                                      </p:cBhvr>
                                      <p:to>
                                        <a:srgbClr val="B2B2B2"/>
                                      </p:to>
                                    </p:animClr>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1"/>
                                        </p:tgtEl>
                                        <p:attrNameLst>
                                          <p:attrName>style.visibility</p:attrName>
                                        </p:attrNameLst>
                                      </p:cBhvr>
                                      <p:to>
                                        <p:strVal val="visible"/>
                                      </p:to>
                                    </p:set>
                                  </p:childTnLst>
                                  <p:subTnLst>
                                    <p:animClr clrSpc="rgb" dir="cw">
                                      <p:cBhvr override="childStyle">
                                        <p:cTn dur="1" fill="hold" display="0" masterRel="nextClick" afterEffect="1"/>
                                        <p:tgtEl>
                                          <p:spTgt spid="31"/>
                                        </p:tgtEl>
                                        <p:attrNameLst>
                                          <p:attrName>ppt_c</p:attrName>
                                        </p:attrNameLst>
                                      </p:cBhvr>
                                      <p:to>
                                        <a:srgbClr val="B2B2B2"/>
                                      </p:to>
                                    </p:animClr>
                                  </p:sub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subTnLst>
                                    <p:animClr clrSpc="rgb" dir="cw">
                                      <p:cBhvr override="childStyle">
                                        <p:cTn dur="1" fill="hold" display="0" masterRel="nextClick" afterEffect="1"/>
                                        <p:tgtEl>
                                          <p:spTgt spid="23"/>
                                        </p:tgtEl>
                                        <p:attrNameLst>
                                          <p:attrName>ppt_c</p:attrName>
                                        </p:attrNameLst>
                                      </p:cBhvr>
                                      <p:to>
                                        <a:schemeClr val="tx1"/>
                                      </p:to>
                                    </p:animClr>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subTnLst>
                                    <p:animClr clrSpc="rgb" dir="cw">
                                      <p:cBhvr override="childStyle">
                                        <p:cTn dur="1" fill="hold" display="0" masterRel="nextClick" afterEffect="1"/>
                                        <p:tgtEl>
                                          <p:spTgt spid="29"/>
                                        </p:tgtEl>
                                        <p:attrNameLst>
                                          <p:attrName>ppt_c</p:attrName>
                                        </p:attrNameLst>
                                      </p:cBhvr>
                                      <p:to>
                                        <a:srgbClr val="B2B2B2"/>
                                      </p:to>
                                    </p:animClr>
                                  </p:sub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subTnLst>
                                    <p:animClr clrSpc="rgb" dir="cw">
                                      <p:cBhvr override="childStyle">
                                        <p:cTn dur="1" fill="hold" display="0" masterRel="nextClick" afterEffect="1"/>
                                        <p:tgtEl>
                                          <p:spTgt spid="19"/>
                                        </p:tgtEl>
                                        <p:attrNameLst>
                                          <p:attrName>ppt_c</p:attrName>
                                        </p:attrNameLst>
                                      </p:cBhvr>
                                      <p:to>
                                        <a:schemeClr val="tx1"/>
                                      </p:to>
                                    </p:animClr>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5"/>
                                        </p:tgtEl>
                                        <p:attrNameLst>
                                          <p:attrName>style.visibility</p:attrName>
                                        </p:attrNameLst>
                                      </p:cBhvr>
                                      <p:to>
                                        <p:strVal val="visible"/>
                                      </p:to>
                                    </p:set>
                                  </p:childTnLst>
                                  <p:subTnLst>
                                    <p:animClr clrSpc="rgb" dir="cw">
                                      <p:cBhvr override="childStyle">
                                        <p:cTn dur="1" fill="hold" display="0" masterRel="nextClick" afterEffect="1"/>
                                        <p:tgtEl>
                                          <p:spTgt spid="15"/>
                                        </p:tgtEl>
                                        <p:attrNameLst>
                                          <p:attrName>ppt_c</p:attrName>
                                        </p:attrNameLst>
                                      </p:cBhvr>
                                      <p:to>
                                        <a:srgbClr val="B2B2B2"/>
                                      </p:to>
                                    </p:animClr>
                                  </p:sub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subTnLst>
                                    <p:animClr clrSpc="rgb" dir="cw">
                                      <p:cBhvr override="childStyle">
                                        <p:cTn dur="1" fill="hold" display="0" masterRel="nextClick" afterEffect="1"/>
                                        <p:tgtEl>
                                          <p:spTgt spid="11"/>
                                        </p:tgtEl>
                                        <p:attrNameLst>
                                          <p:attrName>ppt_c</p:attrName>
                                        </p:attrNameLst>
                                      </p:cBhvr>
                                      <p:to>
                                        <a:schemeClr val="tx1"/>
                                      </p:to>
                                    </p:animClr>
                                  </p:sub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subTnLst>
                                    <p:animClr clrSpc="rgb" dir="cw">
                                      <p:cBhvr override="childStyle">
                                        <p:cTn dur="1" fill="hold" display="0" masterRel="nextClick" afterEffect="1"/>
                                        <p:tgtEl>
                                          <p:spTgt spid="17"/>
                                        </p:tgtEl>
                                        <p:attrNameLst>
                                          <p:attrName>ppt_c</p:attrName>
                                        </p:attrNameLst>
                                      </p:cBhvr>
                                      <p:to>
                                        <a:srgbClr val="B2B2B2"/>
                                      </p:to>
                                    </p:animClr>
                                  </p:subTnLst>
                                </p:cTn>
                              </p:par>
                              <p:par>
                                <p:cTn id="31" presetID="1" presetClass="entr" presetSubtype="0"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subTnLst>
                                    <p:animClr clrSpc="rgb" dir="cw">
                                      <p:cBhvr override="childStyle">
                                        <p:cTn dur="1" fill="hold" display="0" masterRel="nextClick" afterEffect="1"/>
                                        <p:tgtEl>
                                          <p:spTgt spid="10"/>
                                        </p:tgtEl>
                                        <p:attrNameLst>
                                          <p:attrName>ppt_c</p:attrName>
                                        </p:attrNameLst>
                                      </p:cBhvr>
                                      <p:to>
                                        <a:schemeClr val="tx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9" grpId="0"/>
      <p:bldP spid="23" grpId="0"/>
      <p:bldP spid="10" grpId="0"/>
      <p:bldP spid="11"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EC6554-429B-BE37-7E83-FA4DDEC91B6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CEC6240-E43C-9A5E-AA1F-DA7C3F1E468E}"/>
              </a:ext>
            </a:extLst>
          </p:cNvPr>
          <p:cNvSpPr>
            <a:spLocks noGrp="1"/>
          </p:cNvSpPr>
          <p:nvPr>
            <p:ph type="title"/>
          </p:nvPr>
        </p:nvSpPr>
        <p:spPr>
          <a:xfrm>
            <a:off x="495300" y="143444"/>
            <a:ext cx="8106305" cy="513211"/>
          </a:xfrm>
        </p:spPr>
        <p:txBody>
          <a:bodyPr>
            <a:normAutofit/>
          </a:bodyPr>
          <a:lstStyle/>
          <a:p>
            <a:r>
              <a:rPr lang="en-US" sz="2100" b="1"/>
              <a:t>Interactive Activity</a:t>
            </a:r>
          </a:p>
        </p:txBody>
      </p:sp>
      <p:sp>
        <p:nvSpPr>
          <p:cNvPr id="3" name="TextBox 2">
            <a:extLst>
              <a:ext uri="{FF2B5EF4-FFF2-40B4-BE49-F238E27FC236}">
                <a16:creationId xmlns:a16="http://schemas.microsoft.com/office/drawing/2014/main" id="{BB02FB3B-22CB-EC8D-E819-7886E6C74076}"/>
              </a:ext>
            </a:extLst>
          </p:cNvPr>
          <p:cNvSpPr txBox="1"/>
          <p:nvPr/>
        </p:nvSpPr>
        <p:spPr>
          <a:xfrm>
            <a:off x="6483449" y="926421"/>
            <a:ext cx="1544012"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In Business </a:t>
            </a:r>
          </a:p>
        </p:txBody>
      </p:sp>
      <p:sp>
        <p:nvSpPr>
          <p:cNvPr id="5" name="Oval 4">
            <a:extLst>
              <a:ext uri="{FF2B5EF4-FFF2-40B4-BE49-F238E27FC236}">
                <a16:creationId xmlns:a16="http://schemas.microsoft.com/office/drawing/2014/main" id="{D3C9EA39-F132-CE40-2D9C-DB2ACF50618B}"/>
              </a:ext>
            </a:extLst>
          </p:cNvPr>
          <p:cNvSpPr/>
          <p:nvPr/>
        </p:nvSpPr>
        <p:spPr>
          <a:xfrm>
            <a:off x="372480" y="1330581"/>
            <a:ext cx="1470553" cy="1413725"/>
          </a:xfrm>
          <a:prstGeom prst="ellipse">
            <a:avLst/>
          </a:prstGeom>
          <a:solidFill>
            <a:srgbClr val="0874B5"/>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Homeless shelters perpetuate </a:t>
            </a:r>
            <a:r>
              <a:rPr kumimoji="0" lang="en-US" sz="1050" b="0" i="0" u="none" strike="noStrike" kern="1200" cap="none" spc="0" normalizeH="0" baseline="0" noProof="0">
                <a:ln>
                  <a:noFill/>
                </a:ln>
                <a:solidFill>
                  <a:srgbClr val="FFFFFF"/>
                </a:solidFill>
                <a:effectLst/>
                <a:uLnTx/>
                <a:uFillTx/>
                <a:latin typeface="Arial" panose="020B0604020202020204"/>
                <a:ea typeface="+mn-ea"/>
                <a:cs typeface="+mn-cs"/>
              </a:rPr>
              <a:t>homelessness</a:t>
            </a: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Oval 5">
            <a:extLst>
              <a:ext uri="{FF2B5EF4-FFF2-40B4-BE49-F238E27FC236}">
                <a16:creationId xmlns:a16="http://schemas.microsoft.com/office/drawing/2014/main" id="{C8AD737C-DE19-8AB8-18AA-8D6E74458E4F}"/>
              </a:ext>
            </a:extLst>
          </p:cNvPr>
          <p:cNvSpPr/>
          <p:nvPr/>
        </p:nvSpPr>
        <p:spPr>
          <a:xfrm>
            <a:off x="254505" y="3326703"/>
            <a:ext cx="1470553" cy="1413725"/>
          </a:xfrm>
          <a:prstGeom prst="ellipse">
            <a:avLst/>
          </a:prstGeom>
          <a:solidFill>
            <a:srgbClr val="0874B5"/>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Drug busts increase drug-related crime</a:t>
            </a:r>
          </a:p>
        </p:txBody>
      </p:sp>
      <p:sp>
        <p:nvSpPr>
          <p:cNvPr id="7" name="Oval 6">
            <a:extLst>
              <a:ext uri="{FF2B5EF4-FFF2-40B4-BE49-F238E27FC236}">
                <a16:creationId xmlns:a16="http://schemas.microsoft.com/office/drawing/2014/main" id="{E040F450-63DE-F847-892F-513E16027CAB}"/>
              </a:ext>
            </a:extLst>
          </p:cNvPr>
          <p:cNvSpPr/>
          <p:nvPr/>
        </p:nvSpPr>
        <p:spPr>
          <a:xfrm>
            <a:off x="1811737" y="2378351"/>
            <a:ext cx="1470553" cy="1413725"/>
          </a:xfrm>
          <a:prstGeom prst="ellipse">
            <a:avLst/>
          </a:prstGeom>
          <a:solidFill>
            <a:srgbClr val="0874B5"/>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Food aid increases starvation</a:t>
            </a:r>
          </a:p>
        </p:txBody>
      </p:sp>
      <p:sp>
        <p:nvSpPr>
          <p:cNvPr id="8" name="Oval 7">
            <a:extLst>
              <a:ext uri="{FF2B5EF4-FFF2-40B4-BE49-F238E27FC236}">
                <a16:creationId xmlns:a16="http://schemas.microsoft.com/office/drawing/2014/main" id="{B3BA5E11-810D-EBBE-4AA6-BD66DDB54BEA}"/>
              </a:ext>
            </a:extLst>
          </p:cNvPr>
          <p:cNvSpPr/>
          <p:nvPr/>
        </p:nvSpPr>
        <p:spPr>
          <a:xfrm>
            <a:off x="3041896" y="1265235"/>
            <a:ext cx="1470553" cy="1413725"/>
          </a:xfrm>
          <a:prstGeom prst="ellipse">
            <a:avLst/>
          </a:prstGeom>
          <a:solidFill>
            <a:srgbClr val="0874B5"/>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Get tough prison sentences fail to reduce fear of violent crime</a:t>
            </a:r>
          </a:p>
        </p:txBody>
      </p:sp>
      <p:sp>
        <p:nvSpPr>
          <p:cNvPr id="10" name="Oval 9">
            <a:extLst>
              <a:ext uri="{FF2B5EF4-FFF2-40B4-BE49-F238E27FC236}">
                <a16:creationId xmlns:a16="http://schemas.microsoft.com/office/drawing/2014/main" id="{C1A3C8B1-4C94-1515-7270-7F72A6E1B565}"/>
              </a:ext>
            </a:extLst>
          </p:cNvPr>
          <p:cNvSpPr/>
          <p:nvPr/>
        </p:nvSpPr>
        <p:spPr>
          <a:xfrm>
            <a:off x="3997385" y="2701518"/>
            <a:ext cx="1470553" cy="1413725"/>
          </a:xfrm>
          <a:prstGeom prst="ellipse">
            <a:avLst/>
          </a:prstGeom>
          <a:solidFill>
            <a:schemeClr val="bg2"/>
          </a:solidFill>
          <a:ln w="38100">
            <a:solidFill>
              <a:srgbClr val="0874B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Job training programs fall short of increasing employment</a:t>
            </a:r>
          </a:p>
        </p:txBody>
      </p:sp>
      <p:sp>
        <p:nvSpPr>
          <p:cNvPr id="11" name="TextBox 10">
            <a:extLst>
              <a:ext uri="{FF2B5EF4-FFF2-40B4-BE49-F238E27FC236}">
                <a16:creationId xmlns:a16="http://schemas.microsoft.com/office/drawing/2014/main" id="{181DB88A-F733-CBBF-8767-FAB8A81D9B13}"/>
              </a:ext>
            </a:extLst>
          </p:cNvPr>
          <p:cNvSpPr txBox="1"/>
          <p:nvPr/>
        </p:nvSpPr>
        <p:spPr>
          <a:xfrm>
            <a:off x="1919066" y="950244"/>
            <a:ext cx="1120820"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545659"/>
                </a:solidFill>
                <a:effectLst/>
                <a:uLnTx/>
                <a:uFillTx/>
                <a:latin typeface="Arial" panose="020B0604020202020204" pitchFamily="34" charset="0"/>
                <a:ea typeface="ＭＳ Ｐゴシック" charset="0"/>
                <a:cs typeface="Arial" panose="020B0604020202020204" pitchFamily="34" charset="0"/>
              </a:rPr>
              <a:t>In News </a:t>
            </a:r>
          </a:p>
        </p:txBody>
      </p:sp>
      <p:sp>
        <p:nvSpPr>
          <p:cNvPr id="12" name="Oval 11">
            <a:extLst>
              <a:ext uri="{FF2B5EF4-FFF2-40B4-BE49-F238E27FC236}">
                <a16:creationId xmlns:a16="http://schemas.microsoft.com/office/drawing/2014/main" id="{664B458D-77F7-FB5E-4152-EFC80D70F8A4}"/>
              </a:ext>
            </a:extLst>
          </p:cNvPr>
          <p:cNvSpPr/>
          <p:nvPr/>
        </p:nvSpPr>
        <p:spPr>
          <a:xfrm>
            <a:off x="5369418" y="1335124"/>
            <a:ext cx="1470553" cy="1413725"/>
          </a:xfrm>
          <a:prstGeom prst="ellipse">
            <a:avLst/>
          </a:prstGeom>
          <a:solidFill>
            <a:schemeClr val="bg2"/>
          </a:solidFill>
          <a:ln w="38100">
            <a:solidFill>
              <a:srgbClr val="0874B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Let’s buy a tool, that will solve it!</a:t>
            </a:r>
          </a:p>
        </p:txBody>
      </p:sp>
      <p:sp>
        <p:nvSpPr>
          <p:cNvPr id="13" name="Oval 12">
            <a:extLst>
              <a:ext uri="{FF2B5EF4-FFF2-40B4-BE49-F238E27FC236}">
                <a16:creationId xmlns:a16="http://schemas.microsoft.com/office/drawing/2014/main" id="{26A4F8FE-782F-7FD6-A005-59EFB3487AEA}"/>
              </a:ext>
            </a:extLst>
          </p:cNvPr>
          <p:cNvSpPr/>
          <p:nvPr/>
        </p:nvSpPr>
        <p:spPr>
          <a:xfrm>
            <a:off x="7158539" y="1569120"/>
            <a:ext cx="1470553" cy="1413725"/>
          </a:xfrm>
          <a:prstGeom prst="ellipse">
            <a:avLst/>
          </a:prstGeom>
          <a:solidFill>
            <a:schemeClr val="bg2"/>
          </a:solidFill>
          <a:ln w="38100">
            <a:solidFill>
              <a:srgbClr val="0874B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Offering bonuses for high performance reduces employee engagement</a:t>
            </a:r>
          </a:p>
        </p:txBody>
      </p:sp>
      <p:sp>
        <p:nvSpPr>
          <p:cNvPr id="14" name="Oval 13">
            <a:extLst>
              <a:ext uri="{FF2B5EF4-FFF2-40B4-BE49-F238E27FC236}">
                <a16:creationId xmlns:a16="http://schemas.microsoft.com/office/drawing/2014/main" id="{8D0AF833-488F-E422-361D-2B113BC6C40C}"/>
              </a:ext>
            </a:extLst>
          </p:cNvPr>
          <p:cNvSpPr/>
          <p:nvPr/>
        </p:nvSpPr>
        <p:spPr>
          <a:xfrm>
            <a:off x="7451774" y="3259874"/>
            <a:ext cx="1470553" cy="1413725"/>
          </a:xfrm>
          <a:prstGeom prst="ellipse">
            <a:avLst/>
          </a:prstGeom>
          <a:solidFill>
            <a:schemeClr val="bg2"/>
          </a:solidFill>
          <a:ln w="38100">
            <a:solidFill>
              <a:srgbClr val="0874B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Increasing customer discounts eventually leads to less customers and revenue</a:t>
            </a:r>
          </a:p>
        </p:txBody>
      </p:sp>
      <p:sp>
        <p:nvSpPr>
          <p:cNvPr id="15" name="Oval 14">
            <a:extLst>
              <a:ext uri="{FF2B5EF4-FFF2-40B4-BE49-F238E27FC236}">
                <a16:creationId xmlns:a16="http://schemas.microsoft.com/office/drawing/2014/main" id="{36CE4A8A-23B0-6492-481F-B23B511BBFB5}"/>
              </a:ext>
            </a:extLst>
          </p:cNvPr>
          <p:cNvSpPr/>
          <p:nvPr/>
        </p:nvSpPr>
        <p:spPr>
          <a:xfrm>
            <a:off x="5685485" y="2913707"/>
            <a:ext cx="1470553" cy="1413725"/>
          </a:xfrm>
          <a:prstGeom prst="ellipse">
            <a:avLst/>
          </a:prstGeom>
          <a:solidFill>
            <a:schemeClr val="bg2"/>
          </a:solidFill>
          <a:ln w="38100">
            <a:solidFill>
              <a:srgbClr val="0874B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panose="020B0604020202020204"/>
                <a:ea typeface="+mn-ea"/>
                <a:cs typeface="+mn-cs"/>
              </a:rPr>
              <a:t>I am just responsible and focusing on sales, that task does not relate to onboarding</a:t>
            </a:r>
          </a:p>
        </p:txBody>
      </p:sp>
      <p:sp>
        <p:nvSpPr>
          <p:cNvPr id="9" name="TextBox 8">
            <a:extLst>
              <a:ext uri="{FF2B5EF4-FFF2-40B4-BE49-F238E27FC236}">
                <a16:creationId xmlns:a16="http://schemas.microsoft.com/office/drawing/2014/main" id="{D134735B-8863-96FD-5048-73D562A3D8D4}"/>
              </a:ext>
            </a:extLst>
          </p:cNvPr>
          <p:cNvSpPr txBox="1"/>
          <p:nvPr/>
        </p:nvSpPr>
        <p:spPr>
          <a:xfrm>
            <a:off x="2328718" y="4526518"/>
            <a:ext cx="4572000" cy="369332"/>
          </a:xfrm>
          <a:prstGeom prst="rect">
            <a:avLst/>
          </a:prstGeom>
          <a:noFill/>
        </p:spPr>
        <p:txBody>
          <a:bodyPr wrap="square">
            <a:spAutoFit/>
          </a:bodyPr>
          <a:lstStyle/>
          <a:p>
            <a:pPr marL="0" marR="0" lvl="0" indent="0" algn="l" defTabSz="385713" rtl="0" eaLnBrk="1" fontAlgn="auto" latinLnBrk="0" hangingPunct="1">
              <a:lnSpc>
                <a:spcPct val="100000"/>
              </a:lnSpc>
              <a:spcBef>
                <a:spcPct val="0"/>
              </a:spcBef>
              <a:spcAft>
                <a:spcPts val="0"/>
              </a:spcAft>
              <a:buClrTx/>
              <a:buSzTx/>
              <a:buFontTx/>
              <a:buNone/>
              <a:tabLst/>
              <a:defRPr/>
            </a:pPr>
            <a:r>
              <a:rPr lang="en-US">
                <a:solidFill>
                  <a:srgbClr val="545659"/>
                </a:solidFill>
                <a:latin typeface="Arial" panose="020B0604020202020204" pitchFamily="34" charset="0"/>
                <a:cs typeface="Arial" panose="020B0604020202020204" pitchFamily="34" charset="0"/>
              </a:rPr>
              <a:t>What do these stories all have in common?</a:t>
            </a:r>
          </a:p>
        </p:txBody>
      </p:sp>
    </p:spTree>
    <p:custDataLst>
      <p:tags r:id="rId1"/>
    </p:custDataLst>
    <p:extLst>
      <p:ext uri="{BB962C8B-B14F-4D97-AF65-F5344CB8AC3E}">
        <p14:creationId xmlns:p14="http://schemas.microsoft.com/office/powerpoint/2010/main" val="22364859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F2D70-3E26-4540-81E6-40A514306F7E}"/>
              </a:ext>
            </a:extLst>
          </p:cNvPr>
          <p:cNvSpPr>
            <a:spLocks noGrp="1"/>
          </p:cNvSpPr>
          <p:nvPr>
            <p:ph type="title"/>
          </p:nvPr>
        </p:nvSpPr>
        <p:spPr>
          <a:xfrm>
            <a:off x="504294" y="143444"/>
            <a:ext cx="8639706" cy="513211"/>
          </a:xfrm>
        </p:spPr>
        <p:txBody>
          <a:bodyPr/>
          <a:lstStyle/>
          <a:p>
            <a:r>
              <a:rPr lang="en-US" sz="2100"/>
              <a:t>Understanding Different Layers to a Problem</a:t>
            </a:r>
          </a:p>
        </p:txBody>
      </p:sp>
      <p:sp>
        <p:nvSpPr>
          <p:cNvPr id="4" name="Text Placeholder 3">
            <a:extLst>
              <a:ext uri="{FF2B5EF4-FFF2-40B4-BE49-F238E27FC236}">
                <a16:creationId xmlns:a16="http://schemas.microsoft.com/office/drawing/2014/main" id="{F8B1F33A-0335-4F97-8856-7F0B5CCD118D}"/>
              </a:ext>
            </a:extLst>
          </p:cNvPr>
          <p:cNvSpPr>
            <a:spLocks noGrp="1"/>
          </p:cNvSpPr>
          <p:nvPr>
            <p:ph type="body" sz="quarter" idx="10"/>
          </p:nvPr>
        </p:nvSpPr>
        <p:spPr>
          <a:xfrm>
            <a:off x="495300" y="601036"/>
            <a:ext cx="8106305" cy="243662"/>
          </a:xfrm>
        </p:spPr>
        <p:txBody>
          <a:bodyPr/>
          <a:lstStyle/>
          <a:p>
            <a:r>
              <a:rPr lang="en-US">
                <a:solidFill>
                  <a:schemeClr val="tx1"/>
                </a:solidFill>
              </a:rPr>
              <a:t>Thinking Systemically </a:t>
            </a:r>
          </a:p>
        </p:txBody>
      </p:sp>
      <p:sp>
        <p:nvSpPr>
          <p:cNvPr id="3" name="Freeform: Shape 2">
            <a:extLst>
              <a:ext uri="{FF2B5EF4-FFF2-40B4-BE49-F238E27FC236}">
                <a16:creationId xmlns:a16="http://schemas.microsoft.com/office/drawing/2014/main" id="{5E5D629D-AA77-8662-B388-54ED9549FB33}"/>
              </a:ext>
            </a:extLst>
          </p:cNvPr>
          <p:cNvSpPr/>
          <p:nvPr/>
        </p:nvSpPr>
        <p:spPr>
          <a:xfrm>
            <a:off x="0" y="2385121"/>
            <a:ext cx="9144000" cy="416815"/>
          </a:xfrm>
          <a:custGeom>
            <a:avLst/>
            <a:gdLst>
              <a:gd name="connsiteX0" fmla="*/ 57150 w 5181600"/>
              <a:gd name="connsiteY0" fmla="*/ 41587 h 365437"/>
              <a:gd name="connsiteX1" fmla="*/ 57150 w 5181600"/>
              <a:gd name="connsiteY1" fmla="*/ 41587 h 365437"/>
              <a:gd name="connsiteX2" fmla="*/ 133350 w 5181600"/>
              <a:gd name="connsiteY2" fmla="*/ 70162 h 365437"/>
              <a:gd name="connsiteX3" fmla="*/ 190500 w 5181600"/>
              <a:gd name="connsiteY3" fmla="*/ 108262 h 365437"/>
              <a:gd name="connsiteX4" fmla="*/ 419100 w 5181600"/>
              <a:gd name="connsiteY4" fmla="*/ 98737 h 365437"/>
              <a:gd name="connsiteX5" fmla="*/ 695325 w 5181600"/>
              <a:gd name="connsiteY5" fmla="*/ 60637 h 365437"/>
              <a:gd name="connsiteX6" fmla="*/ 733425 w 5181600"/>
              <a:gd name="connsiteY6" fmla="*/ 79687 h 365437"/>
              <a:gd name="connsiteX7" fmla="*/ 752475 w 5181600"/>
              <a:gd name="connsiteY7" fmla="*/ 108262 h 365437"/>
              <a:gd name="connsiteX8" fmla="*/ 790575 w 5181600"/>
              <a:gd name="connsiteY8" fmla="*/ 127312 h 365437"/>
              <a:gd name="connsiteX9" fmla="*/ 971550 w 5181600"/>
              <a:gd name="connsiteY9" fmla="*/ 165412 h 365437"/>
              <a:gd name="connsiteX10" fmla="*/ 1047750 w 5181600"/>
              <a:gd name="connsiteY10" fmla="*/ 155887 h 365437"/>
              <a:gd name="connsiteX11" fmla="*/ 1104900 w 5181600"/>
              <a:gd name="connsiteY11" fmla="*/ 117787 h 365437"/>
              <a:gd name="connsiteX12" fmla="*/ 1171575 w 5181600"/>
              <a:gd name="connsiteY12" fmla="*/ 79687 h 365437"/>
              <a:gd name="connsiteX13" fmla="*/ 1295400 w 5181600"/>
              <a:gd name="connsiteY13" fmla="*/ 32062 h 365437"/>
              <a:gd name="connsiteX14" fmla="*/ 1333500 w 5181600"/>
              <a:gd name="connsiteY14" fmla="*/ 22537 h 365437"/>
              <a:gd name="connsiteX15" fmla="*/ 1495425 w 5181600"/>
              <a:gd name="connsiteY15" fmla="*/ 146362 h 365437"/>
              <a:gd name="connsiteX16" fmla="*/ 1581150 w 5181600"/>
              <a:gd name="connsiteY16" fmla="*/ 174937 h 365437"/>
              <a:gd name="connsiteX17" fmla="*/ 1714500 w 5181600"/>
              <a:gd name="connsiteY17" fmla="*/ 146362 h 365437"/>
              <a:gd name="connsiteX18" fmla="*/ 1781175 w 5181600"/>
              <a:gd name="connsiteY18" fmla="*/ 70162 h 365437"/>
              <a:gd name="connsiteX19" fmla="*/ 1809750 w 5181600"/>
              <a:gd name="connsiteY19" fmla="*/ 60637 h 365437"/>
              <a:gd name="connsiteX20" fmla="*/ 1838325 w 5181600"/>
              <a:gd name="connsiteY20" fmla="*/ 41587 h 365437"/>
              <a:gd name="connsiteX21" fmla="*/ 1952625 w 5181600"/>
              <a:gd name="connsiteY21" fmla="*/ 79687 h 365437"/>
              <a:gd name="connsiteX22" fmla="*/ 1971675 w 5181600"/>
              <a:gd name="connsiteY22" fmla="*/ 108262 h 365437"/>
              <a:gd name="connsiteX23" fmla="*/ 2124075 w 5181600"/>
              <a:gd name="connsiteY23" fmla="*/ 155887 h 365437"/>
              <a:gd name="connsiteX24" fmla="*/ 2276475 w 5181600"/>
              <a:gd name="connsiteY24" fmla="*/ 70162 h 365437"/>
              <a:gd name="connsiteX25" fmla="*/ 2324100 w 5181600"/>
              <a:gd name="connsiteY25" fmla="*/ 51112 h 365437"/>
              <a:gd name="connsiteX26" fmla="*/ 2590800 w 5181600"/>
              <a:gd name="connsiteY26" fmla="*/ 79687 h 365437"/>
              <a:gd name="connsiteX27" fmla="*/ 2667000 w 5181600"/>
              <a:gd name="connsiteY27" fmla="*/ 117787 h 365437"/>
              <a:gd name="connsiteX28" fmla="*/ 2705100 w 5181600"/>
              <a:gd name="connsiteY28" fmla="*/ 136837 h 365437"/>
              <a:gd name="connsiteX29" fmla="*/ 2828925 w 5181600"/>
              <a:gd name="connsiteY29" fmla="*/ 108262 h 365437"/>
              <a:gd name="connsiteX30" fmla="*/ 2847975 w 5181600"/>
              <a:gd name="connsiteY30" fmla="*/ 70162 h 365437"/>
              <a:gd name="connsiteX31" fmla="*/ 2914650 w 5181600"/>
              <a:gd name="connsiteY31" fmla="*/ 13012 h 365437"/>
              <a:gd name="connsiteX32" fmla="*/ 2981325 w 5181600"/>
              <a:gd name="connsiteY32" fmla="*/ 32062 h 365437"/>
              <a:gd name="connsiteX33" fmla="*/ 3048000 w 5181600"/>
              <a:gd name="connsiteY33" fmla="*/ 117787 h 365437"/>
              <a:gd name="connsiteX34" fmla="*/ 3105150 w 5181600"/>
              <a:gd name="connsiteY34" fmla="*/ 136837 h 365437"/>
              <a:gd name="connsiteX35" fmla="*/ 3228975 w 5181600"/>
              <a:gd name="connsiteY35" fmla="*/ 117787 h 365437"/>
              <a:gd name="connsiteX36" fmla="*/ 3257550 w 5181600"/>
              <a:gd name="connsiteY36" fmla="*/ 98737 h 365437"/>
              <a:gd name="connsiteX37" fmla="*/ 3371850 w 5181600"/>
              <a:gd name="connsiteY37" fmla="*/ 60637 h 365437"/>
              <a:gd name="connsiteX38" fmla="*/ 3409950 w 5181600"/>
              <a:gd name="connsiteY38" fmla="*/ 79687 h 365437"/>
              <a:gd name="connsiteX39" fmla="*/ 3486150 w 5181600"/>
              <a:gd name="connsiteY39" fmla="*/ 136837 h 365437"/>
              <a:gd name="connsiteX40" fmla="*/ 3695700 w 5181600"/>
              <a:gd name="connsiteY40" fmla="*/ 184462 h 365437"/>
              <a:gd name="connsiteX41" fmla="*/ 3752850 w 5181600"/>
              <a:gd name="connsiteY41" fmla="*/ 127312 h 365437"/>
              <a:gd name="connsiteX42" fmla="*/ 4019550 w 5181600"/>
              <a:gd name="connsiteY42" fmla="*/ 174937 h 365437"/>
              <a:gd name="connsiteX43" fmla="*/ 4114800 w 5181600"/>
              <a:gd name="connsiteY43" fmla="*/ 117787 h 365437"/>
              <a:gd name="connsiteX44" fmla="*/ 4152900 w 5181600"/>
              <a:gd name="connsiteY44" fmla="*/ 98737 h 365437"/>
              <a:gd name="connsiteX45" fmla="*/ 4219575 w 5181600"/>
              <a:gd name="connsiteY45" fmla="*/ 41587 h 365437"/>
              <a:gd name="connsiteX46" fmla="*/ 4286250 w 5181600"/>
              <a:gd name="connsiteY46" fmla="*/ 70162 h 365437"/>
              <a:gd name="connsiteX47" fmla="*/ 4324350 w 5181600"/>
              <a:gd name="connsiteY47" fmla="*/ 98737 h 365437"/>
              <a:gd name="connsiteX48" fmla="*/ 4562475 w 5181600"/>
              <a:gd name="connsiteY48" fmla="*/ 165412 h 365437"/>
              <a:gd name="connsiteX49" fmla="*/ 4686300 w 5181600"/>
              <a:gd name="connsiteY49" fmla="*/ 79687 h 365437"/>
              <a:gd name="connsiteX50" fmla="*/ 4733925 w 5181600"/>
              <a:gd name="connsiteY50" fmla="*/ 89212 h 365437"/>
              <a:gd name="connsiteX51" fmla="*/ 4800600 w 5181600"/>
              <a:gd name="connsiteY51" fmla="*/ 127312 h 365437"/>
              <a:gd name="connsiteX52" fmla="*/ 4848225 w 5181600"/>
              <a:gd name="connsiteY52" fmla="*/ 155887 h 365437"/>
              <a:gd name="connsiteX53" fmla="*/ 4905375 w 5181600"/>
              <a:gd name="connsiteY53" fmla="*/ 146362 h 365437"/>
              <a:gd name="connsiteX54" fmla="*/ 4924425 w 5181600"/>
              <a:gd name="connsiteY54" fmla="*/ 117787 h 365437"/>
              <a:gd name="connsiteX55" fmla="*/ 4953000 w 5181600"/>
              <a:gd name="connsiteY55" fmla="*/ 108262 h 365437"/>
              <a:gd name="connsiteX56" fmla="*/ 5076825 w 5181600"/>
              <a:gd name="connsiteY56" fmla="*/ 117787 h 365437"/>
              <a:gd name="connsiteX57" fmla="*/ 5133975 w 5181600"/>
              <a:gd name="connsiteY57" fmla="*/ 165412 h 365437"/>
              <a:gd name="connsiteX58" fmla="*/ 5181600 w 5181600"/>
              <a:gd name="connsiteY58" fmla="*/ 232087 h 365437"/>
              <a:gd name="connsiteX59" fmla="*/ 4867275 w 5181600"/>
              <a:gd name="connsiteY59" fmla="*/ 260662 h 365437"/>
              <a:gd name="connsiteX60" fmla="*/ 4743450 w 5181600"/>
              <a:gd name="connsiteY60" fmla="*/ 289237 h 365437"/>
              <a:gd name="connsiteX61" fmla="*/ 4638675 w 5181600"/>
              <a:gd name="connsiteY61" fmla="*/ 308287 h 365437"/>
              <a:gd name="connsiteX62" fmla="*/ 4533900 w 5181600"/>
              <a:gd name="connsiteY62" fmla="*/ 317812 h 365437"/>
              <a:gd name="connsiteX63" fmla="*/ 4419600 w 5181600"/>
              <a:gd name="connsiteY63" fmla="*/ 336862 h 365437"/>
              <a:gd name="connsiteX64" fmla="*/ 4248150 w 5181600"/>
              <a:gd name="connsiteY64" fmla="*/ 346387 h 365437"/>
              <a:gd name="connsiteX65" fmla="*/ 4067175 w 5181600"/>
              <a:gd name="connsiteY65" fmla="*/ 365437 h 365437"/>
              <a:gd name="connsiteX66" fmla="*/ 2343150 w 5181600"/>
              <a:gd name="connsiteY66" fmla="*/ 355912 h 365437"/>
              <a:gd name="connsiteX67" fmla="*/ 2200275 w 5181600"/>
              <a:gd name="connsiteY67" fmla="*/ 346387 h 365437"/>
              <a:gd name="connsiteX68" fmla="*/ 1562100 w 5181600"/>
              <a:gd name="connsiteY68" fmla="*/ 336862 h 365437"/>
              <a:gd name="connsiteX69" fmla="*/ 247650 w 5181600"/>
              <a:gd name="connsiteY69" fmla="*/ 308287 h 365437"/>
              <a:gd name="connsiteX70" fmla="*/ 0 w 5181600"/>
              <a:gd name="connsiteY70" fmla="*/ 203512 h 365437"/>
              <a:gd name="connsiteX71" fmla="*/ 9525 w 5181600"/>
              <a:gd name="connsiteY71" fmla="*/ 51112 h 365437"/>
              <a:gd name="connsiteX72" fmla="*/ 47625 w 5181600"/>
              <a:gd name="connsiteY72" fmla="*/ 41587 h 365437"/>
              <a:gd name="connsiteX73" fmla="*/ 57150 w 5181600"/>
              <a:gd name="connsiteY73" fmla="*/ 41587 h 36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5181600" h="365437">
                <a:moveTo>
                  <a:pt x="57150" y="41587"/>
                </a:moveTo>
                <a:lnTo>
                  <a:pt x="57150" y="41587"/>
                </a:lnTo>
                <a:cubicBezTo>
                  <a:pt x="82550" y="51112"/>
                  <a:pt x="109087" y="58030"/>
                  <a:pt x="133350" y="70162"/>
                </a:cubicBezTo>
                <a:cubicBezTo>
                  <a:pt x="153828" y="80401"/>
                  <a:pt x="167718" y="105984"/>
                  <a:pt x="190500" y="108262"/>
                </a:cubicBezTo>
                <a:cubicBezTo>
                  <a:pt x="266388" y="115851"/>
                  <a:pt x="342900" y="101912"/>
                  <a:pt x="419100" y="98737"/>
                </a:cubicBezTo>
                <a:cubicBezTo>
                  <a:pt x="555307" y="-37470"/>
                  <a:pt x="476852" y="-15354"/>
                  <a:pt x="695325" y="60637"/>
                </a:cubicBezTo>
                <a:cubicBezTo>
                  <a:pt x="708736" y="65302"/>
                  <a:pt x="720725" y="73337"/>
                  <a:pt x="733425" y="79687"/>
                </a:cubicBezTo>
                <a:cubicBezTo>
                  <a:pt x="739775" y="89212"/>
                  <a:pt x="743681" y="100933"/>
                  <a:pt x="752475" y="108262"/>
                </a:cubicBezTo>
                <a:cubicBezTo>
                  <a:pt x="763383" y="117352"/>
                  <a:pt x="777468" y="121851"/>
                  <a:pt x="790575" y="127312"/>
                </a:cubicBezTo>
                <a:cubicBezTo>
                  <a:pt x="885665" y="166933"/>
                  <a:pt x="857789" y="155070"/>
                  <a:pt x="971550" y="165412"/>
                </a:cubicBezTo>
                <a:cubicBezTo>
                  <a:pt x="996950" y="162237"/>
                  <a:pt x="1023644" y="164496"/>
                  <a:pt x="1047750" y="155887"/>
                </a:cubicBezTo>
                <a:cubicBezTo>
                  <a:pt x="1069311" y="148186"/>
                  <a:pt x="1085401" y="129786"/>
                  <a:pt x="1104900" y="117787"/>
                </a:cubicBezTo>
                <a:cubicBezTo>
                  <a:pt x="1126700" y="104371"/>
                  <a:pt x="1148680" y="91135"/>
                  <a:pt x="1171575" y="79687"/>
                </a:cubicBezTo>
                <a:cubicBezTo>
                  <a:pt x="1210229" y="60360"/>
                  <a:pt x="1253908" y="44510"/>
                  <a:pt x="1295400" y="32062"/>
                </a:cubicBezTo>
                <a:cubicBezTo>
                  <a:pt x="1307939" y="28300"/>
                  <a:pt x="1320800" y="25712"/>
                  <a:pt x="1333500" y="22537"/>
                </a:cubicBezTo>
                <a:cubicBezTo>
                  <a:pt x="1428666" y="117703"/>
                  <a:pt x="1396732" y="109352"/>
                  <a:pt x="1495425" y="146362"/>
                </a:cubicBezTo>
                <a:cubicBezTo>
                  <a:pt x="1523628" y="156938"/>
                  <a:pt x="1552575" y="165412"/>
                  <a:pt x="1581150" y="174937"/>
                </a:cubicBezTo>
                <a:cubicBezTo>
                  <a:pt x="1625600" y="165412"/>
                  <a:pt x="1671844" y="162077"/>
                  <a:pt x="1714500" y="146362"/>
                </a:cubicBezTo>
                <a:cubicBezTo>
                  <a:pt x="1796889" y="116008"/>
                  <a:pt x="1736497" y="114840"/>
                  <a:pt x="1781175" y="70162"/>
                </a:cubicBezTo>
                <a:cubicBezTo>
                  <a:pt x="1788275" y="63062"/>
                  <a:pt x="1800770" y="65127"/>
                  <a:pt x="1809750" y="60637"/>
                </a:cubicBezTo>
                <a:cubicBezTo>
                  <a:pt x="1819989" y="55517"/>
                  <a:pt x="1828800" y="47937"/>
                  <a:pt x="1838325" y="41587"/>
                </a:cubicBezTo>
                <a:cubicBezTo>
                  <a:pt x="1894131" y="49559"/>
                  <a:pt x="1909824" y="43001"/>
                  <a:pt x="1952625" y="79687"/>
                </a:cubicBezTo>
                <a:cubicBezTo>
                  <a:pt x="1961317" y="87137"/>
                  <a:pt x="1962517" y="101393"/>
                  <a:pt x="1971675" y="108262"/>
                </a:cubicBezTo>
                <a:cubicBezTo>
                  <a:pt x="2018644" y="143489"/>
                  <a:pt x="2067444" y="144561"/>
                  <a:pt x="2124075" y="155887"/>
                </a:cubicBezTo>
                <a:cubicBezTo>
                  <a:pt x="2154276" y="138270"/>
                  <a:pt x="2229944" y="90842"/>
                  <a:pt x="2276475" y="70162"/>
                </a:cubicBezTo>
                <a:cubicBezTo>
                  <a:pt x="2292099" y="63218"/>
                  <a:pt x="2308225" y="57462"/>
                  <a:pt x="2324100" y="51112"/>
                </a:cubicBezTo>
                <a:cubicBezTo>
                  <a:pt x="2413000" y="60637"/>
                  <a:pt x="2502400" y="66293"/>
                  <a:pt x="2590800" y="79687"/>
                </a:cubicBezTo>
                <a:cubicBezTo>
                  <a:pt x="2629081" y="85487"/>
                  <a:pt x="2637571" y="100971"/>
                  <a:pt x="2667000" y="117787"/>
                </a:cubicBezTo>
                <a:cubicBezTo>
                  <a:pt x="2679328" y="124832"/>
                  <a:pt x="2692400" y="130487"/>
                  <a:pt x="2705100" y="136837"/>
                </a:cubicBezTo>
                <a:cubicBezTo>
                  <a:pt x="2746375" y="127312"/>
                  <a:pt x="2790539" y="126175"/>
                  <a:pt x="2828925" y="108262"/>
                </a:cubicBezTo>
                <a:cubicBezTo>
                  <a:pt x="2841792" y="102257"/>
                  <a:pt x="2840450" y="82203"/>
                  <a:pt x="2847975" y="70162"/>
                </a:cubicBezTo>
                <a:cubicBezTo>
                  <a:pt x="2876077" y="25199"/>
                  <a:pt x="2870394" y="35140"/>
                  <a:pt x="2914650" y="13012"/>
                </a:cubicBezTo>
                <a:cubicBezTo>
                  <a:pt x="2936875" y="19362"/>
                  <a:pt x="2963150" y="17781"/>
                  <a:pt x="2981325" y="32062"/>
                </a:cubicBezTo>
                <a:cubicBezTo>
                  <a:pt x="3009790" y="54427"/>
                  <a:pt x="3013657" y="106339"/>
                  <a:pt x="3048000" y="117787"/>
                </a:cubicBezTo>
                <a:lnTo>
                  <a:pt x="3105150" y="136837"/>
                </a:lnTo>
                <a:cubicBezTo>
                  <a:pt x="3146425" y="130487"/>
                  <a:pt x="3188461" y="127915"/>
                  <a:pt x="3228975" y="117787"/>
                </a:cubicBezTo>
                <a:cubicBezTo>
                  <a:pt x="3240081" y="115011"/>
                  <a:pt x="3247128" y="103474"/>
                  <a:pt x="3257550" y="98737"/>
                </a:cubicBezTo>
                <a:cubicBezTo>
                  <a:pt x="3311607" y="74166"/>
                  <a:pt x="3324033" y="72591"/>
                  <a:pt x="3371850" y="60637"/>
                </a:cubicBezTo>
                <a:cubicBezTo>
                  <a:pt x="3384550" y="66987"/>
                  <a:pt x="3398136" y="71811"/>
                  <a:pt x="3409950" y="79687"/>
                </a:cubicBezTo>
                <a:cubicBezTo>
                  <a:pt x="3436368" y="97299"/>
                  <a:pt x="3455739" y="127714"/>
                  <a:pt x="3486150" y="136837"/>
                </a:cubicBezTo>
                <a:cubicBezTo>
                  <a:pt x="3618397" y="176511"/>
                  <a:pt x="3548703" y="159963"/>
                  <a:pt x="3695700" y="184462"/>
                </a:cubicBezTo>
                <a:cubicBezTo>
                  <a:pt x="3714750" y="165412"/>
                  <a:pt x="3726035" y="129907"/>
                  <a:pt x="3752850" y="127312"/>
                </a:cubicBezTo>
                <a:cubicBezTo>
                  <a:pt x="3931500" y="110023"/>
                  <a:pt x="3934601" y="118305"/>
                  <a:pt x="4019550" y="174937"/>
                </a:cubicBezTo>
                <a:cubicBezTo>
                  <a:pt x="4121982" y="157865"/>
                  <a:pt x="4038078" y="184919"/>
                  <a:pt x="4114800" y="117787"/>
                </a:cubicBezTo>
                <a:cubicBezTo>
                  <a:pt x="4125486" y="108437"/>
                  <a:pt x="4140859" y="106262"/>
                  <a:pt x="4152900" y="98737"/>
                </a:cubicBezTo>
                <a:cubicBezTo>
                  <a:pt x="4185484" y="78372"/>
                  <a:pt x="4193599" y="67563"/>
                  <a:pt x="4219575" y="41587"/>
                </a:cubicBezTo>
                <a:cubicBezTo>
                  <a:pt x="4241800" y="51112"/>
                  <a:pt x="4265022" y="58583"/>
                  <a:pt x="4286250" y="70162"/>
                </a:cubicBezTo>
                <a:cubicBezTo>
                  <a:pt x="4300187" y="77764"/>
                  <a:pt x="4309610" y="92841"/>
                  <a:pt x="4324350" y="98737"/>
                </a:cubicBezTo>
                <a:cubicBezTo>
                  <a:pt x="4415929" y="135368"/>
                  <a:pt x="4473612" y="145665"/>
                  <a:pt x="4562475" y="165412"/>
                </a:cubicBezTo>
                <a:cubicBezTo>
                  <a:pt x="4591206" y="140272"/>
                  <a:pt x="4637904" y="84527"/>
                  <a:pt x="4686300" y="79687"/>
                </a:cubicBezTo>
                <a:cubicBezTo>
                  <a:pt x="4702409" y="78076"/>
                  <a:pt x="4718050" y="86037"/>
                  <a:pt x="4733925" y="89212"/>
                </a:cubicBezTo>
                <a:cubicBezTo>
                  <a:pt x="4793800" y="129129"/>
                  <a:pt x="4728091" y="87029"/>
                  <a:pt x="4800600" y="127312"/>
                </a:cubicBezTo>
                <a:cubicBezTo>
                  <a:pt x="4816784" y="136303"/>
                  <a:pt x="4832350" y="146362"/>
                  <a:pt x="4848225" y="155887"/>
                </a:cubicBezTo>
                <a:cubicBezTo>
                  <a:pt x="4867275" y="152712"/>
                  <a:pt x="4888101" y="154999"/>
                  <a:pt x="4905375" y="146362"/>
                </a:cubicBezTo>
                <a:cubicBezTo>
                  <a:pt x="4915614" y="141242"/>
                  <a:pt x="4915486" y="124938"/>
                  <a:pt x="4924425" y="117787"/>
                </a:cubicBezTo>
                <a:cubicBezTo>
                  <a:pt x="4932265" y="111515"/>
                  <a:pt x="4943475" y="111437"/>
                  <a:pt x="4953000" y="108262"/>
                </a:cubicBezTo>
                <a:cubicBezTo>
                  <a:pt x="4994275" y="111437"/>
                  <a:pt x="5036058" y="110593"/>
                  <a:pt x="5076825" y="117787"/>
                </a:cubicBezTo>
                <a:cubicBezTo>
                  <a:pt x="5119674" y="125349"/>
                  <a:pt x="5111475" y="138413"/>
                  <a:pt x="5133975" y="165412"/>
                </a:cubicBezTo>
                <a:cubicBezTo>
                  <a:pt x="5182244" y="223335"/>
                  <a:pt x="5146350" y="161587"/>
                  <a:pt x="5181600" y="232087"/>
                </a:cubicBezTo>
                <a:cubicBezTo>
                  <a:pt x="5026570" y="276381"/>
                  <a:pt x="5169913" y="241137"/>
                  <a:pt x="4867275" y="260662"/>
                </a:cubicBezTo>
                <a:cubicBezTo>
                  <a:pt x="4845604" y="262060"/>
                  <a:pt x="4751864" y="287707"/>
                  <a:pt x="4743450" y="289237"/>
                </a:cubicBezTo>
                <a:cubicBezTo>
                  <a:pt x="4708525" y="295587"/>
                  <a:pt x="4673847" y="303491"/>
                  <a:pt x="4638675" y="308287"/>
                </a:cubicBezTo>
                <a:cubicBezTo>
                  <a:pt x="4603928" y="313025"/>
                  <a:pt x="4568674" y="313276"/>
                  <a:pt x="4533900" y="317812"/>
                </a:cubicBezTo>
                <a:cubicBezTo>
                  <a:pt x="4495599" y="322808"/>
                  <a:pt x="4458034" y="333019"/>
                  <a:pt x="4419600" y="336862"/>
                </a:cubicBezTo>
                <a:cubicBezTo>
                  <a:pt x="4362646" y="342557"/>
                  <a:pt x="4305201" y="341761"/>
                  <a:pt x="4248150" y="346387"/>
                </a:cubicBezTo>
                <a:cubicBezTo>
                  <a:pt x="4187690" y="351289"/>
                  <a:pt x="4127500" y="359087"/>
                  <a:pt x="4067175" y="365437"/>
                </a:cubicBezTo>
                <a:lnTo>
                  <a:pt x="2343150" y="355912"/>
                </a:lnTo>
                <a:cubicBezTo>
                  <a:pt x="2295422" y="355425"/>
                  <a:pt x="2247992" y="347551"/>
                  <a:pt x="2200275" y="346387"/>
                </a:cubicBezTo>
                <a:lnTo>
                  <a:pt x="1562100" y="336862"/>
                </a:lnTo>
                <a:lnTo>
                  <a:pt x="247650" y="308287"/>
                </a:lnTo>
                <a:cubicBezTo>
                  <a:pt x="-3750" y="266387"/>
                  <a:pt x="40273" y="344466"/>
                  <a:pt x="0" y="203512"/>
                </a:cubicBezTo>
                <a:cubicBezTo>
                  <a:pt x="3175" y="152712"/>
                  <a:pt x="-4837" y="99943"/>
                  <a:pt x="9525" y="51112"/>
                </a:cubicBezTo>
                <a:cubicBezTo>
                  <a:pt x="13219" y="38553"/>
                  <a:pt x="35916" y="47441"/>
                  <a:pt x="47625" y="41587"/>
                </a:cubicBezTo>
                <a:cubicBezTo>
                  <a:pt x="50465" y="40167"/>
                  <a:pt x="55563" y="41587"/>
                  <a:pt x="57150" y="41587"/>
                </a:cubicBez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Rectangle 4">
            <a:extLst>
              <a:ext uri="{FF2B5EF4-FFF2-40B4-BE49-F238E27FC236}">
                <a16:creationId xmlns:a16="http://schemas.microsoft.com/office/drawing/2014/main" id="{C8F26D10-3B01-A75C-A63C-AE8357DB57A4}"/>
              </a:ext>
            </a:extLst>
          </p:cNvPr>
          <p:cNvSpPr/>
          <p:nvPr/>
        </p:nvSpPr>
        <p:spPr>
          <a:xfrm>
            <a:off x="0" y="2620962"/>
            <a:ext cx="9144000" cy="274043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Isosceles Triangle 5">
            <a:extLst>
              <a:ext uri="{FF2B5EF4-FFF2-40B4-BE49-F238E27FC236}">
                <a16:creationId xmlns:a16="http://schemas.microsoft.com/office/drawing/2014/main" id="{B6B7EECB-8043-9DB3-F1EF-E5E331D6BCDC}"/>
              </a:ext>
            </a:extLst>
          </p:cNvPr>
          <p:cNvSpPr/>
          <p:nvPr/>
        </p:nvSpPr>
        <p:spPr>
          <a:xfrm>
            <a:off x="2517106" y="1442523"/>
            <a:ext cx="3828255" cy="3672607"/>
          </a:xfrm>
          <a:prstGeom prst="triangl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TextBox 6">
            <a:extLst>
              <a:ext uri="{FF2B5EF4-FFF2-40B4-BE49-F238E27FC236}">
                <a16:creationId xmlns:a16="http://schemas.microsoft.com/office/drawing/2014/main" id="{0935CFA3-63EA-014B-D183-E3BA370EC7B6}"/>
              </a:ext>
            </a:extLst>
          </p:cNvPr>
          <p:cNvSpPr txBox="1"/>
          <p:nvPr/>
        </p:nvSpPr>
        <p:spPr>
          <a:xfrm>
            <a:off x="4038540" y="2008739"/>
            <a:ext cx="800219" cy="276999"/>
          </a:xfrm>
          <a:prstGeom prst="rect">
            <a:avLst/>
          </a:prstGeom>
          <a:noFill/>
        </p:spPr>
        <p:txBody>
          <a:bodyPr wrap="none" rtlCol="0">
            <a:spAutoFit/>
          </a:bodyPr>
          <a:lstStyle/>
          <a:p>
            <a:pPr algn="l"/>
            <a:r>
              <a:rPr lang="en-US" sz="1200" b="1">
                <a:solidFill>
                  <a:schemeClr val="bg1"/>
                </a:solidFill>
                <a:latin typeface="Arial" panose="020B0604020202020204" pitchFamily="34" charset="0"/>
                <a:cs typeface="Arial" panose="020B0604020202020204" pitchFamily="34" charset="0"/>
              </a:rPr>
              <a:t>EVENTS</a:t>
            </a:r>
          </a:p>
        </p:txBody>
      </p:sp>
      <p:sp>
        <p:nvSpPr>
          <p:cNvPr id="10" name="TextBox 9">
            <a:extLst>
              <a:ext uri="{FF2B5EF4-FFF2-40B4-BE49-F238E27FC236}">
                <a16:creationId xmlns:a16="http://schemas.microsoft.com/office/drawing/2014/main" id="{420BF435-911C-4CB2-9C87-932EA60B7474}"/>
              </a:ext>
            </a:extLst>
          </p:cNvPr>
          <p:cNvSpPr txBox="1"/>
          <p:nvPr/>
        </p:nvSpPr>
        <p:spPr>
          <a:xfrm>
            <a:off x="3619453" y="2822700"/>
            <a:ext cx="1657441" cy="276999"/>
          </a:xfrm>
          <a:prstGeom prst="rect">
            <a:avLst/>
          </a:prstGeom>
          <a:noFill/>
        </p:spPr>
        <p:txBody>
          <a:bodyPr wrap="none" rtlCol="0">
            <a:spAutoFit/>
          </a:bodyPr>
          <a:lstStyle/>
          <a:p>
            <a:pPr algn="l"/>
            <a:r>
              <a:rPr lang="en-US" sz="1200" b="1">
                <a:solidFill>
                  <a:schemeClr val="bg1"/>
                </a:solidFill>
                <a:latin typeface="Arial" panose="020B0604020202020204" pitchFamily="34" charset="0"/>
                <a:cs typeface="Arial" panose="020B0604020202020204" pitchFamily="34" charset="0"/>
              </a:rPr>
              <a:t>PATTERNS/TRENDS</a:t>
            </a:r>
          </a:p>
        </p:txBody>
      </p:sp>
      <p:sp>
        <p:nvSpPr>
          <p:cNvPr id="11" name="TextBox 10">
            <a:extLst>
              <a:ext uri="{FF2B5EF4-FFF2-40B4-BE49-F238E27FC236}">
                <a16:creationId xmlns:a16="http://schemas.microsoft.com/office/drawing/2014/main" id="{41320CEB-67DD-AEB4-4595-282E5189C16D}"/>
              </a:ext>
            </a:extLst>
          </p:cNvPr>
          <p:cNvSpPr txBox="1"/>
          <p:nvPr/>
        </p:nvSpPr>
        <p:spPr>
          <a:xfrm>
            <a:off x="3311580" y="3512197"/>
            <a:ext cx="2273186" cy="276999"/>
          </a:xfrm>
          <a:prstGeom prst="rect">
            <a:avLst/>
          </a:prstGeom>
          <a:noFill/>
        </p:spPr>
        <p:txBody>
          <a:bodyPr wrap="none" rtlCol="0">
            <a:spAutoFit/>
          </a:bodyPr>
          <a:lstStyle/>
          <a:p>
            <a:pPr algn="l"/>
            <a:r>
              <a:rPr lang="en-US" sz="1200" b="1">
                <a:solidFill>
                  <a:schemeClr val="bg1"/>
                </a:solidFill>
                <a:latin typeface="Arial" panose="020B0604020202020204" pitchFamily="34" charset="0"/>
                <a:cs typeface="Arial" panose="020B0604020202020204" pitchFamily="34" charset="0"/>
              </a:rPr>
              <a:t>UNDERLYING STRUCTURES</a:t>
            </a:r>
          </a:p>
        </p:txBody>
      </p:sp>
      <p:sp>
        <p:nvSpPr>
          <p:cNvPr id="12" name="TextBox 11">
            <a:extLst>
              <a:ext uri="{FF2B5EF4-FFF2-40B4-BE49-F238E27FC236}">
                <a16:creationId xmlns:a16="http://schemas.microsoft.com/office/drawing/2014/main" id="{86B307D2-6996-0A1F-D008-B2EACC5A2D3E}"/>
              </a:ext>
            </a:extLst>
          </p:cNvPr>
          <p:cNvSpPr txBox="1"/>
          <p:nvPr/>
        </p:nvSpPr>
        <p:spPr>
          <a:xfrm>
            <a:off x="3706367" y="4201276"/>
            <a:ext cx="1513812" cy="276999"/>
          </a:xfrm>
          <a:prstGeom prst="rect">
            <a:avLst/>
          </a:prstGeom>
          <a:noFill/>
        </p:spPr>
        <p:txBody>
          <a:bodyPr wrap="none" rtlCol="0">
            <a:spAutoFit/>
          </a:bodyPr>
          <a:lstStyle/>
          <a:p>
            <a:pPr algn="l"/>
            <a:r>
              <a:rPr lang="en-US" sz="1200" b="1">
                <a:solidFill>
                  <a:schemeClr val="bg1"/>
                </a:solidFill>
                <a:latin typeface="Arial" panose="020B0604020202020204" pitchFamily="34" charset="0"/>
                <a:cs typeface="Arial" panose="020B0604020202020204" pitchFamily="34" charset="0"/>
              </a:rPr>
              <a:t>MENTAL MODELS</a:t>
            </a:r>
          </a:p>
        </p:txBody>
      </p:sp>
      <p:sp>
        <p:nvSpPr>
          <p:cNvPr id="14" name="TextBox 13">
            <a:extLst>
              <a:ext uri="{FF2B5EF4-FFF2-40B4-BE49-F238E27FC236}">
                <a16:creationId xmlns:a16="http://schemas.microsoft.com/office/drawing/2014/main" id="{85979440-AE85-8B84-F9AA-2C3080DAE2FB}"/>
              </a:ext>
            </a:extLst>
          </p:cNvPr>
          <p:cNvSpPr txBox="1"/>
          <p:nvPr/>
        </p:nvSpPr>
        <p:spPr>
          <a:xfrm>
            <a:off x="1006235" y="2008739"/>
            <a:ext cx="1625573" cy="276999"/>
          </a:xfrm>
          <a:prstGeom prst="rect">
            <a:avLst/>
          </a:prstGeom>
          <a:noFill/>
        </p:spPr>
        <p:txBody>
          <a:bodyPr wrap="none" rtlCol="0">
            <a:spAutoFit/>
          </a:bodyPr>
          <a:lstStyle/>
          <a:p>
            <a:pPr algn="l"/>
            <a:r>
              <a:rPr lang="en-US" sz="1200" b="1">
                <a:latin typeface="Arial" panose="020B0604020202020204" pitchFamily="34" charset="0"/>
                <a:cs typeface="Arial" panose="020B0604020202020204" pitchFamily="34" charset="0"/>
              </a:rPr>
              <a:t>WHAT HAPPENED?</a:t>
            </a:r>
          </a:p>
        </p:txBody>
      </p:sp>
      <p:sp>
        <p:nvSpPr>
          <p:cNvPr id="15" name="TextBox 14">
            <a:extLst>
              <a:ext uri="{FF2B5EF4-FFF2-40B4-BE49-F238E27FC236}">
                <a16:creationId xmlns:a16="http://schemas.microsoft.com/office/drawing/2014/main" id="{589D4A6B-F884-4584-39F8-350C317C0FBB}"/>
              </a:ext>
            </a:extLst>
          </p:cNvPr>
          <p:cNvSpPr txBox="1"/>
          <p:nvPr/>
        </p:nvSpPr>
        <p:spPr>
          <a:xfrm>
            <a:off x="362018" y="2775708"/>
            <a:ext cx="2310056" cy="276999"/>
          </a:xfrm>
          <a:prstGeom prst="rect">
            <a:avLst/>
          </a:prstGeom>
          <a:noFill/>
        </p:spPr>
        <p:txBody>
          <a:bodyPr wrap="none" rtlCol="0">
            <a:spAutoFit/>
          </a:bodyPr>
          <a:lstStyle/>
          <a:p>
            <a:pPr algn="l"/>
            <a:r>
              <a:rPr lang="en-US" sz="1200" b="1">
                <a:latin typeface="Arial" panose="020B0604020202020204" pitchFamily="34" charset="0"/>
                <a:cs typeface="Arial" panose="020B0604020202020204" pitchFamily="34" charset="0"/>
              </a:rPr>
              <a:t>WHAT HAPPENED BEFORE?</a:t>
            </a:r>
          </a:p>
        </p:txBody>
      </p:sp>
      <p:sp>
        <p:nvSpPr>
          <p:cNvPr id="20" name="TextBox 19">
            <a:extLst>
              <a:ext uri="{FF2B5EF4-FFF2-40B4-BE49-F238E27FC236}">
                <a16:creationId xmlns:a16="http://schemas.microsoft.com/office/drawing/2014/main" id="{EBE82C7F-9CD2-1650-AEF4-AA14DD90EC7C}"/>
              </a:ext>
            </a:extLst>
          </p:cNvPr>
          <p:cNvSpPr txBox="1"/>
          <p:nvPr/>
        </p:nvSpPr>
        <p:spPr>
          <a:xfrm>
            <a:off x="156153" y="3496807"/>
            <a:ext cx="2536144" cy="276999"/>
          </a:xfrm>
          <a:prstGeom prst="rect">
            <a:avLst/>
          </a:prstGeom>
          <a:noFill/>
        </p:spPr>
        <p:txBody>
          <a:bodyPr wrap="none" rtlCol="0">
            <a:spAutoFit/>
          </a:bodyPr>
          <a:lstStyle/>
          <a:p>
            <a:pPr algn="l"/>
            <a:r>
              <a:rPr lang="en-US" sz="1200" b="1">
                <a:latin typeface="Arial" panose="020B0604020202020204" pitchFamily="34" charset="0"/>
                <a:cs typeface="Arial" panose="020B0604020202020204" pitchFamily="34" charset="0"/>
              </a:rPr>
              <a:t>WHAT LED TO THE PATTERNS?</a:t>
            </a:r>
          </a:p>
        </p:txBody>
      </p:sp>
      <p:sp>
        <p:nvSpPr>
          <p:cNvPr id="21" name="TextBox 20">
            <a:extLst>
              <a:ext uri="{FF2B5EF4-FFF2-40B4-BE49-F238E27FC236}">
                <a16:creationId xmlns:a16="http://schemas.microsoft.com/office/drawing/2014/main" id="{1A3FF648-F603-90E5-2C91-12303B0B54B7}"/>
              </a:ext>
            </a:extLst>
          </p:cNvPr>
          <p:cNvSpPr txBox="1"/>
          <p:nvPr/>
        </p:nvSpPr>
        <p:spPr>
          <a:xfrm>
            <a:off x="73395" y="4217906"/>
            <a:ext cx="2632965" cy="276999"/>
          </a:xfrm>
          <a:prstGeom prst="rect">
            <a:avLst/>
          </a:prstGeom>
          <a:noFill/>
        </p:spPr>
        <p:txBody>
          <a:bodyPr wrap="none" rtlCol="0">
            <a:spAutoFit/>
          </a:bodyPr>
          <a:lstStyle/>
          <a:p>
            <a:pPr algn="l"/>
            <a:r>
              <a:rPr lang="en-US" sz="1200" b="1">
                <a:latin typeface="Arial" panose="020B0604020202020204" pitchFamily="34" charset="0"/>
                <a:cs typeface="Arial" panose="020B0604020202020204" pitchFamily="34" charset="0"/>
              </a:rPr>
              <a:t>WHAT ASSUMPTIONS, BELIEFS?</a:t>
            </a:r>
          </a:p>
        </p:txBody>
      </p:sp>
      <p:sp>
        <p:nvSpPr>
          <p:cNvPr id="25" name="TextBox 24">
            <a:extLst>
              <a:ext uri="{FF2B5EF4-FFF2-40B4-BE49-F238E27FC236}">
                <a16:creationId xmlns:a16="http://schemas.microsoft.com/office/drawing/2014/main" id="{30DD7576-F141-983F-4C6D-72863B801A8D}"/>
              </a:ext>
            </a:extLst>
          </p:cNvPr>
          <p:cNvSpPr txBox="1"/>
          <p:nvPr/>
        </p:nvSpPr>
        <p:spPr>
          <a:xfrm>
            <a:off x="6784581" y="2026165"/>
            <a:ext cx="713657" cy="276999"/>
          </a:xfrm>
          <a:prstGeom prst="rect">
            <a:avLst/>
          </a:prstGeom>
          <a:noFill/>
        </p:spPr>
        <p:txBody>
          <a:bodyPr wrap="none" rtlCol="0">
            <a:spAutoFit/>
          </a:bodyPr>
          <a:lstStyle/>
          <a:p>
            <a:pPr algn="l"/>
            <a:r>
              <a:rPr lang="en-US" sz="1200" b="1">
                <a:latin typeface="Arial" panose="020B0604020202020204" pitchFamily="34" charset="0"/>
                <a:cs typeface="Arial" panose="020B0604020202020204" pitchFamily="34" charset="0"/>
              </a:rPr>
              <a:t>REACT</a:t>
            </a:r>
          </a:p>
        </p:txBody>
      </p:sp>
      <p:sp>
        <p:nvSpPr>
          <p:cNvPr id="26" name="TextBox 25">
            <a:extLst>
              <a:ext uri="{FF2B5EF4-FFF2-40B4-BE49-F238E27FC236}">
                <a16:creationId xmlns:a16="http://schemas.microsoft.com/office/drawing/2014/main" id="{97E0BE58-5269-7DD9-141F-D1CC9B324EDC}"/>
              </a:ext>
            </a:extLst>
          </p:cNvPr>
          <p:cNvSpPr txBox="1"/>
          <p:nvPr/>
        </p:nvSpPr>
        <p:spPr>
          <a:xfrm>
            <a:off x="6771063" y="2760078"/>
            <a:ext cx="1085169" cy="276999"/>
          </a:xfrm>
          <a:prstGeom prst="rect">
            <a:avLst/>
          </a:prstGeom>
          <a:noFill/>
        </p:spPr>
        <p:txBody>
          <a:bodyPr wrap="none" rtlCol="0">
            <a:spAutoFit/>
          </a:bodyPr>
          <a:lstStyle/>
          <a:p>
            <a:pPr algn="l"/>
            <a:r>
              <a:rPr lang="en-US" sz="1200" b="1">
                <a:latin typeface="Arial" panose="020B0604020202020204" pitchFamily="34" charset="0"/>
                <a:cs typeface="Arial" panose="020B0604020202020204" pitchFamily="34" charset="0"/>
              </a:rPr>
              <a:t>ANTICIPATE</a:t>
            </a:r>
          </a:p>
        </p:txBody>
      </p:sp>
      <p:sp>
        <p:nvSpPr>
          <p:cNvPr id="27" name="TextBox 26">
            <a:extLst>
              <a:ext uri="{FF2B5EF4-FFF2-40B4-BE49-F238E27FC236}">
                <a16:creationId xmlns:a16="http://schemas.microsoft.com/office/drawing/2014/main" id="{3AB2E461-5630-FB56-715E-E60DE9626F0A}"/>
              </a:ext>
            </a:extLst>
          </p:cNvPr>
          <p:cNvSpPr txBox="1"/>
          <p:nvPr/>
        </p:nvSpPr>
        <p:spPr>
          <a:xfrm>
            <a:off x="6784581" y="3483644"/>
            <a:ext cx="1571264" cy="276999"/>
          </a:xfrm>
          <a:prstGeom prst="rect">
            <a:avLst/>
          </a:prstGeom>
          <a:noFill/>
        </p:spPr>
        <p:txBody>
          <a:bodyPr wrap="none" rtlCol="0">
            <a:spAutoFit/>
          </a:bodyPr>
          <a:lstStyle/>
          <a:p>
            <a:pPr algn="l"/>
            <a:r>
              <a:rPr lang="en-US" sz="1200" b="1">
                <a:latin typeface="Arial" panose="020B0604020202020204" pitchFamily="34" charset="0"/>
                <a:cs typeface="Arial" panose="020B0604020202020204" pitchFamily="34" charset="0"/>
              </a:rPr>
              <a:t>DESIGN / REFORM</a:t>
            </a:r>
          </a:p>
        </p:txBody>
      </p:sp>
      <p:sp>
        <p:nvSpPr>
          <p:cNvPr id="28" name="TextBox 27">
            <a:extLst>
              <a:ext uri="{FF2B5EF4-FFF2-40B4-BE49-F238E27FC236}">
                <a16:creationId xmlns:a16="http://schemas.microsoft.com/office/drawing/2014/main" id="{02D93E46-367D-6ED6-64D7-DABCFA5E7342}"/>
              </a:ext>
            </a:extLst>
          </p:cNvPr>
          <p:cNvSpPr txBox="1"/>
          <p:nvPr/>
        </p:nvSpPr>
        <p:spPr>
          <a:xfrm>
            <a:off x="6784581" y="4229520"/>
            <a:ext cx="1167307" cy="276999"/>
          </a:xfrm>
          <a:prstGeom prst="rect">
            <a:avLst/>
          </a:prstGeom>
          <a:noFill/>
        </p:spPr>
        <p:txBody>
          <a:bodyPr wrap="none" rtlCol="0">
            <a:spAutoFit/>
          </a:bodyPr>
          <a:lstStyle/>
          <a:p>
            <a:pPr algn="l"/>
            <a:r>
              <a:rPr lang="en-US" sz="1200" b="1">
                <a:latin typeface="Arial" panose="020B0604020202020204" pitchFamily="34" charset="0"/>
                <a:cs typeface="Arial" panose="020B0604020202020204" pitchFamily="34" charset="0"/>
              </a:rPr>
              <a:t>TRANSFORM</a:t>
            </a:r>
          </a:p>
        </p:txBody>
      </p:sp>
      <p:sp>
        <p:nvSpPr>
          <p:cNvPr id="23" name="TextBox 22">
            <a:extLst>
              <a:ext uri="{FF2B5EF4-FFF2-40B4-BE49-F238E27FC236}">
                <a16:creationId xmlns:a16="http://schemas.microsoft.com/office/drawing/2014/main" id="{3C03EF2C-EC10-59E0-FE69-829DC5B1FEBD}"/>
              </a:ext>
            </a:extLst>
          </p:cNvPr>
          <p:cNvSpPr txBox="1"/>
          <p:nvPr/>
        </p:nvSpPr>
        <p:spPr>
          <a:xfrm>
            <a:off x="362018" y="4653225"/>
            <a:ext cx="8508331" cy="461665"/>
          </a:xfrm>
          <a:prstGeom prst="rect">
            <a:avLst/>
          </a:prstGeom>
          <a:solidFill>
            <a:schemeClr val="bg1"/>
          </a:solidFill>
          <a:ln>
            <a:solidFill>
              <a:schemeClr val="bg2"/>
            </a:solidFill>
          </a:ln>
        </p:spPr>
        <p:txBody>
          <a:bodyPr wrap="square">
            <a:spAutoFit/>
          </a:bodyPr>
          <a:lstStyle/>
          <a:p>
            <a:pPr marL="0" marR="0" lvl="0" indent="0" algn="l" defTabSz="457200" rtl="0" eaLnBrk="1" fontAlgn="base" latinLnBrk="0" hangingPunct="1">
              <a:lnSpc>
                <a:spcPct val="100000"/>
              </a:lnSpc>
              <a:spcBef>
                <a:spcPct val="30000"/>
              </a:spcBef>
              <a:spcAft>
                <a:spcPct val="0"/>
              </a:spcAft>
              <a:buClrTx/>
              <a:buSzTx/>
              <a:buFontTx/>
              <a:buNone/>
              <a:tabLst/>
              <a:defRPr/>
            </a:pPr>
            <a:r>
              <a:rPr lang="en-US" sz="1200">
                <a:latin typeface="Arial" panose="020B0604020202020204" pitchFamily="34" charset="0"/>
                <a:cs typeface="Arial" panose="020B0604020202020204" pitchFamily="34" charset="0"/>
              </a:rPr>
              <a:t>Delving below the surface of events helps us see a bigger picture of how a system actually works. With this understanding we can make choices about how best to intervene to effect change such as modifying our mental models</a:t>
            </a:r>
          </a:p>
        </p:txBody>
      </p:sp>
    </p:spTree>
    <p:custDataLst>
      <p:tags r:id="rId1"/>
    </p:custDataLst>
    <p:extLst>
      <p:ext uri="{BB962C8B-B14F-4D97-AF65-F5344CB8AC3E}">
        <p14:creationId xmlns:p14="http://schemas.microsoft.com/office/powerpoint/2010/main" val="3387823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ppt_x"/>
                                          </p:val>
                                        </p:tav>
                                        <p:tav tm="100000">
                                          <p:val>
                                            <p:strVal val="#ppt_x"/>
                                          </p:val>
                                        </p:tav>
                                      </p:tavLst>
                                    </p:anim>
                                    <p:anim calcmode="lin" valueType="num">
                                      <p:cBhvr additive="base">
                                        <p:cTn id="16" dur="500" fill="hold"/>
                                        <p:tgtEl>
                                          <p:spTgt spid="10"/>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0-#ppt_h/2"/>
                                          </p:val>
                                        </p:tav>
                                        <p:tav tm="100000">
                                          <p:val>
                                            <p:strVal val="#ppt_y"/>
                                          </p:val>
                                        </p:tav>
                                      </p:tavLst>
                                    </p:anim>
                                  </p:childTnLst>
                                </p:cTn>
                              </p:par>
                              <p:par>
                                <p:cTn id="21" presetID="2" presetClass="entr" presetSubtype="1"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500" fill="hold"/>
                                        <p:tgtEl>
                                          <p:spTgt spid="12"/>
                                        </p:tgtEl>
                                        <p:attrNameLst>
                                          <p:attrName>ppt_x</p:attrName>
                                        </p:attrNameLst>
                                      </p:cBhvr>
                                      <p:tavLst>
                                        <p:tav tm="0">
                                          <p:val>
                                            <p:strVal val="#ppt_x"/>
                                          </p:val>
                                        </p:tav>
                                        <p:tav tm="100000">
                                          <p:val>
                                            <p:strVal val="#ppt_x"/>
                                          </p:val>
                                        </p:tav>
                                      </p:tavLst>
                                    </p:anim>
                                    <p:anim calcmode="lin" valueType="num">
                                      <p:cBhvr additive="base">
                                        <p:cTn id="24" dur="500" fill="hold"/>
                                        <p:tgtEl>
                                          <p:spTgt spid="12"/>
                                        </p:tgtEl>
                                        <p:attrNameLst>
                                          <p:attrName>ppt_y</p:attrName>
                                        </p:attrNameLst>
                                      </p:cBhvr>
                                      <p:tavLst>
                                        <p:tav tm="0">
                                          <p:val>
                                            <p:strVal val="0-#ppt_h/2"/>
                                          </p:val>
                                        </p:tav>
                                        <p:tav tm="100000">
                                          <p:val>
                                            <p:strVal val="#ppt_y"/>
                                          </p:val>
                                        </p:tav>
                                      </p:tavLst>
                                    </p:anim>
                                  </p:childTnLst>
                                </p:cTn>
                              </p:par>
                              <p:par>
                                <p:cTn id="25" presetID="2" presetClass="entr" presetSubtype="1"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 calcmode="lin" valueType="num">
                                      <p:cBhvr additive="base">
                                        <p:cTn id="27" dur="500" fill="hold"/>
                                        <p:tgtEl>
                                          <p:spTgt spid="14"/>
                                        </p:tgtEl>
                                        <p:attrNameLst>
                                          <p:attrName>ppt_x</p:attrName>
                                        </p:attrNameLst>
                                      </p:cBhvr>
                                      <p:tavLst>
                                        <p:tav tm="0">
                                          <p:val>
                                            <p:strVal val="#ppt_x"/>
                                          </p:val>
                                        </p:tav>
                                        <p:tav tm="100000">
                                          <p:val>
                                            <p:strVal val="#ppt_x"/>
                                          </p:val>
                                        </p:tav>
                                      </p:tavLst>
                                    </p:anim>
                                    <p:anim calcmode="lin" valueType="num">
                                      <p:cBhvr additive="base">
                                        <p:cTn id="28" dur="500" fill="hold"/>
                                        <p:tgtEl>
                                          <p:spTgt spid="14"/>
                                        </p:tgtEl>
                                        <p:attrNameLst>
                                          <p:attrName>ppt_y</p:attrName>
                                        </p:attrNameLst>
                                      </p:cBhvr>
                                      <p:tavLst>
                                        <p:tav tm="0">
                                          <p:val>
                                            <p:strVal val="0-#ppt_h/2"/>
                                          </p:val>
                                        </p:tav>
                                        <p:tav tm="100000">
                                          <p:val>
                                            <p:strVal val="#ppt_y"/>
                                          </p:val>
                                        </p:tav>
                                      </p:tavLst>
                                    </p:anim>
                                  </p:childTnLst>
                                </p:cTn>
                              </p:par>
                              <p:par>
                                <p:cTn id="29" presetID="2" presetClass="entr" presetSubtype="1"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cBhvr additive="base">
                                        <p:cTn id="31" dur="500" fill="hold"/>
                                        <p:tgtEl>
                                          <p:spTgt spid="15"/>
                                        </p:tgtEl>
                                        <p:attrNameLst>
                                          <p:attrName>ppt_x</p:attrName>
                                        </p:attrNameLst>
                                      </p:cBhvr>
                                      <p:tavLst>
                                        <p:tav tm="0">
                                          <p:val>
                                            <p:strVal val="#ppt_x"/>
                                          </p:val>
                                        </p:tav>
                                        <p:tav tm="100000">
                                          <p:val>
                                            <p:strVal val="#ppt_x"/>
                                          </p:val>
                                        </p:tav>
                                      </p:tavLst>
                                    </p:anim>
                                    <p:anim calcmode="lin" valueType="num">
                                      <p:cBhvr additive="base">
                                        <p:cTn id="32" dur="500" fill="hold"/>
                                        <p:tgtEl>
                                          <p:spTgt spid="15"/>
                                        </p:tgtEl>
                                        <p:attrNameLst>
                                          <p:attrName>ppt_y</p:attrName>
                                        </p:attrNameLst>
                                      </p:cBhvr>
                                      <p:tavLst>
                                        <p:tav tm="0">
                                          <p:val>
                                            <p:strVal val="0-#ppt_h/2"/>
                                          </p:val>
                                        </p:tav>
                                        <p:tav tm="100000">
                                          <p:val>
                                            <p:strVal val="#ppt_y"/>
                                          </p:val>
                                        </p:tav>
                                      </p:tavLst>
                                    </p:anim>
                                  </p:childTnLst>
                                </p:cTn>
                              </p:par>
                              <p:par>
                                <p:cTn id="33" presetID="2" presetClass="entr" presetSubtype="1"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anim calcmode="lin" valueType="num">
                                      <p:cBhvr additive="base">
                                        <p:cTn id="35" dur="500" fill="hold"/>
                                        <p:tgtEl>
                                          <p:spTgt spid="20"/>
                                        </p:tgtEl>
                                        <p:attrNameLst>
                                          <p:attrName>ppt_x</p:attrName>
                                        </p:attrNameLst>
                                      </p:cBhvr>
                                      <p:tavLst>
                                        <p:tav tm="0">
                                          <p:val>
                                            <p:strVal val="#ppt_x"/>
                                          </p:val>
                                        </p:tav>
                                        <p:tav tm="100000">
                                          <p:val>
                                            <p:strVal val="#ppt_x"/>
                                          </p:val>
                                        </p:tav>
                                      </p:tavLst>
                                    </p:anim>
                                    <p:anim calcmode="lin" valueType="num">
                                      <p:cBhvr additive="base">
                                        <p:cTn id="36" dur="500" fill="hold"/>
                                        <p:tgtEl>
                                          <p:spTgt spid="20"/>
                                        </p:tgtEl>
                                        <p:attrNameLst>
                                          <p:attrName>ppt_y</p:attrName>
                                        </p:attrNameLst>
                                      </p:cBhvr>
                                      <p:tavLst>
                                        <p:tav tm="0">
                                          <p:val>
                                            <p:strVal val="0-#ppt_h/2"/>
                                          </p:val>
                                        </p:tav>
                                        <p:tav tm="100000">
                                          <p:val>
                                            <p:strVal val="#ppt_y"/>
                                          </p:val>
                                        </p:tav>
                                      </p:tavLst>
                                    </p:anim>
                                  </p:childTnLst>
                                </p:cTn>
                              </p:par>
                              <p:par>
                                <p:cTn id="37" presetID="2" presetClass="entr" presetSubtype="1" fill="hold" grpId="0" nodeType="withEffect">
                                  <p:stCondLst>
                                    <p:cond delay="0"/>
                                  </p:stCondLst>
                                  <p:childTnLst>
                                    <p:set>
                                      <p:cBhvr>
                                        <p:cTn id="38" dur="1" fill="hold">
                                          <p:stCondLst>
                                            <p:cond delay="0"/>
                                          </p:stCondLst>
                                        </p:cTn>
                                        <p:tgtEl>
                                          <p:spTgt spid="21"/>
                                        </p:tgtEl>
                                        <p:attrNameLst>
                                          <p:attrName>style.visibility</p:attrName>
                                        </p:attrNameLst>
                                      </p:cBhvr>
                                      <p:to>
                                        <p:strVal val="visible"/>
                                      </p:to>
                                    </p:set>
                                    <p:anim calcmode="lin" valueType="num">
                                      <p:cBhvr additive="base">
                                        <p:cTn id="39" dur="500" fill="hold"/>
                                        <p:tgtEl>
                                          <p:spTgt spid="21"/>
                                        </p:tgtEl>
                                        <p:attrNameLst>
                                          <p:attrName>ppt_x</p:attrName>
                                        </p:attrNameLst>
                                      </p:cBhvr>
                                      <p:tavLst>
                                        <p:tav tm="0">
                                          <p:val>
                                            <p:strVal val="#ppt_x"/>
                                          </p:val>
                                        </p:tav>
                                        <p:tav tm="100000">
                                          <p:val>
                                            <p:strVal val="#ppt_x"/>
                                          </p:val>
                                        </p:tav>
                                      </p:tavLst>
                                    </p:anim>
                                    <p:anim calcmode="lin" valueType="num">
                                      <p:cBhvr additive="base">
                                        <p:cTn id="40" dur="500" fill="hold"/>
                                        <p:tgtEl>
                                          <p:spTgt spid="21"/>
                                        </p:tgtEl>
                                        <p:attrNameLst>
                                          <p:attrName>ppt_y</p:attrName>
                                        </p:attrNameLst>
                                      </p:cBhvr>
                                      <p:tavLst>
                                        <p:tav tm="0">
                                          <p:val>
                                            <p:strVal val="0-#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1" fill="hold" grpId="0" nodeType="clickEffect">
                                  <p:stCondLst>
                                    <p:cond delay="0"/>
                                  </p:stCondLst>
                                  <p:childTnLst>
                                    <p:set>
                                      <p:cBhvr>
                                        <p:cTn id="44" dur="1" fill="hold">
                                          <p:stCondLst>
                                            <p:cond delay="0"/>
                                          </p:stCondLst>
                                        </p:cTn>
                                        <p:tgtEl>
                                          <p:spTgt spid="25"/>
                                        </p:tgtEl>
                                        <p:attrNameLst>
                                          <p:attrName>style.visibility</p:attrName>
                                        </p:attrNameLst>
                                      </p:cBhvr>
                                      <p:to>
                                        <p:strVal val="visible"/>
                                      </p:to>
                                    </p:set>
                                    <p:anim calcmode="lin" valueType="num">
                                      <p:cBhvr additive="base">
                                        <p:cTn id="45" dur="500" fill="hold"/>
                                        <p:tgtEl>
                                          <p:spTgt spid="25"/>
                                        </p:tgtEl>
                                        <p:attrNameLst>
                                          <p:attrName>ppt_x</p:attrName>
                                        </p:attrNameLst>
                                      </p:cBhvr>
                                      <p:tavLst>
                                        <p:tav tm="0">
                                          <p:val>
                                            <p:strVal val="#ppt_x"/>
                                          </p:val>
                                        </p:tav>
                                        <p:tav tm="100000">
                                          <p:val>
                                            <p:strVal val="#ppt_x"/>
                                          </p:val>
                                        </p:tav>
                                      </p:tavLst>
                                    </p:anim>
                                    <p:anim calcmode="lin" valueType="num">
                                      <p:cBhvr additive="base">
                                        <p:cTn id="46" dur="500" fill="hold"/>
                                        <p:tgtEl>
                                          <p:spTgt spid="25"/>
                                        </p:tgtEl>
                                        <p:attrNameLst>
                                          <p:attrName>ppt_y</p:attrName>
                                        </p:attrNameLst>
                                      </p:cBhvr>
                                      <p:tavLst>
                                        <p:tav tm="0">
                                          <p:val>
                                            <p:strVal val="0-#ppt_h/2"/>
                                          </p:val>
                                        </p:tav>
                                        <p:tav tm="100000">
                                          <p:val>
                                            <p:strVal val="#ppt_y"/>
                                          </p:val>
                                        </p:tav>
                                      </p:tavLst>
                                    </p:anim>
                                  </p:childTnLst>
                                </p:cTn>
                              </p:par>
                              <p:par>
                                <p:cTn id="47" presetID="2" presetClass="entr" presetSubtype="1" fill="hold" grpId="0" nodeType="withEffect">
                                  <p:stCondLst>
                                    <p:cond delay="0"/>
                                  </p:stCondLst>
                                  <p:childTnLst>
                                    <p:set>
                                      <p:cBhvr>
                                        <p:cTn id="48" dur="1" fill="hold">
                                          <p:stCondLst>
                                            <p:cond delay="0"/>
                                          </p:stCondLst>
                                        </p:cTn>
                                        <p:tgtEl>
                                          <p:spTgt spid="26"/>
                                        </p:tgtEl>
                                        <p:attrNameLst>
                                          <p:attrName>style.visibility</p:attrName>
                                        </p:attrNameLst>
                                      </p:cBhvr>
                                      <p:to>
                                        <p:strVal val="visible"/>
                                      </p:to>
                                    </p:set>
                                    <p:anim calcmode="lin" valueType="num">
                                      <p:cBhvr additive="base">
                                        <p:cTn id="49" dur="500" fill="hold"/>
                                        <p:tgtEl>
                                          <p:spTgt spid="26"/>
                                        </p:tgtEl>
                                        <p:attrNameLst>
                                          <p:attrName>ppt_x</p:attrName>
                                        </p:attrNameLst>
                                      </p:cBhvr>
                                      <p:tavLst>
                                        <p:tav tm="0">
                                          <p:val>
                                            <p:strVal val="#ppt_x"/>
                                          </p:val>
                                        </p:tav>
                                        <p:tav tm="100000">
                                          <p:val>
                                            <p:strVal val="#ppt_x"/>
                                          </p:val>
                                        </p:tav>
                                      </p:tavLst>
                                    </p:anim>
                                    <p:anim calcmode="lin" valueType="num">
                                      <p:cBhvr additive="base">
                                        <p:cTn id="50" dur="500" fill="hold"/>
                                        <p:tgtEl>
                                          <p:spTgt spid="26"/>
                                        </p:tgtEl>
                                        <p:attrNameLst>
                                          <p:attrName>ppt_y</p:attrName>
                                        </p:attrNameLst>
                                      </p:cBhvr>
                                      <p:tavLst>
                                        <p:tav tm="0">
                                          <p:val>
                                            <p:strVal val="0-#ppt_h/2"/>
                                          </p:val>
                                        </p:tav>
                                        <p:tav tm="100000">
                                          <p:val>
                                            <p:strVal val="#ppt_y"/>
                                          </p:val>
                                        </p:tav>
                                      </p:tavLst>
                                    </p:anim>
                                  </p:childTnLst>
                                </p:cTn>
                              </p:par>
                              <p:par>
                                <p:cTn id="51" presetID="2" presetClass="entr" presetSubtype="1" fill="hold" grpId="0" nodeType="withEffect">
                                  <p:stCondLst>
                                    <p:cond delay="0"/>
                                  </p:stCondLst>
                                  <p:childTnLst>
                                    <p:set>
                                      <p:cBhvr>
                                        <p:cTn id="52" dur="1" fill="hold">
                                          <p:stCondLst>
                                            <p:cond delay="0"/>
                                          </p:stCondLst>
                                        </p:cTn>
                                        <p:tgtEl>
                                          <p:spTgt spid="27"/>
                                        </p:tgtEl>
                                        <p:attrNameLst>
                                          <p:attrName>style.visibility</p:attrName>
                                        </p:attrNameLst>
                                      </p:cBhvr>
                                      <p:to>
                                        <p:strVal val="visible"/>
                                      </p:to>
                                    </p:set>
                                    <p:anim calcmode="lin" valueType="num">
                                      <p:cBhvr additive="base">
                                        <p:cTn id="53" dur="500" fill="hold"/>
                                        <p:tgtEl>
                                          <p:spTgt spid="27"/>
                                        </p:tgtEl>
                                        <p:attrNameLst>
                                          <p:attrName>ppt_x</p:attrName>
                                        </p:attrNameLst>
                                      </p:cBhvr>
                                      <p:tavLst>
                                        <p:tav tm="0">
                                          <p:val>
                                            <p:strVal val="#ppt_x"/>
                                          </p:val>
                                        </p:tav>
                                        <p:tav tm="100000">
                                          <p:val>
                                            <p:strVal val="#ppt_x"/>
                                          </p:val>
                                        </p:tav>
                                      </p:tavLst>
                                    </p:anim>
                                    <p:anim calcmode="lin" valueType="num">
                                      <p:cBhvr additive="base">
                                        <p:cTn id="54" dur="500" fill="hold"/>
                                        <p:tgtEl>
                                          <p:spTgt spid="27"/>
                                        </p:tgtEl>
                                        <p:attrNameLst>
                                          <p:attrName>ppt_y</p:attrName>
                                        </p:attrNameLst>
                                      </p:cBhvr>
                                      <p:tavLst>
                                        <p:tav tm="0">
                                          <p:val>
                                            <p:strVal val="0-#ppt_h/2"/>
                                          </p:val>
                                        </p:tav>
                                        <p:tav tm="100000">
                                          <p:val>
                                            <p:strVal val="#ppt_y"/>
                                          </p:val>
                                        </p:tav>
                                      </p:tavLst>
                                    </p:anim>
                                  </p:childTnLst>
                                </p:cTn>
                              </p:par>
                              <p:par>
                                <p:cTn id="55" presetID="2" presetClass="entr" presetSubtype="1" fill="hold" grpId="0" nodeType="withEffect">
                                  <p:stCondLst>
                                    <p:cond delay="0"/>
                                  </p:stCondLst>
                                  <p:childTnLst>
                                    <p:set>
                                      <p:cBhvr>
                                        <p:cTn id="56" dur="1" fill="hold">
                                          <p:stCondLst>
                                            <p:cond delay="0"/>
                                          </p:stCondLst>
                                        </p:cTn>
                                        <p:tgtEl>
                                          <p:spTgt spid="28"/>
                                        </p:tgtEl>
                                        <p:attrNameLst>
                                          <p:attrName>style.visibility</p:attrName>
                                        </p:attrNameLst>
                                      </p:cBhvr>
                                      <p:to>
                                        <p:strVal val="visible"/>
                                      </p:to>
                                    </p:set>
                                    <p:anim calcmode="lin" valueType="num">
                                      <p:cBhvr additive="base">
                                        <p:cTn id="57" dur="500" fill="hold"/>
                                        <p:tgtEl>
                                          <p:spTgt spid="28"/>
                                        </p:tgtEl>
                                        <p:attrNameLst>
                                          <p:attrName>ppt_x</p:attrName>
                                        </p:attrNameLst>
                                      </p:cBhvr>
                                      <p:tavLst>
                                        <p:tav tm="0">
                                          <p:val>
                                            <p:strVal val="#ppt_x"/>
                                          </p:val>
                                        </p:tav>
                                        <p:tav tm="100000">
                                          <p:val>
                                            <p:strVal val="#ppt_x"/>
                                          </p:val>
                                        </p:tav>
                                      </p:tavLst>
                                    </p:anim>
                                    <p:anim calcmode="lin" valueType="num">
                                      <p:cBhvr additive="base">
                                        <p:cTn id="58" dur="500" fill="hold"/>
                                        <p:tgtEl>
                                          <p:spTgt spid="28"/>
                                        </p:tgtEl>
                                        <p:attrNameLst>
                                          <p:attrName>ppt_y</p:attrName>
                                        </p:attrNameLst>
                                      </p:cBhvr>
                                      <p:tavLst>
                                        <p:tav tm="0">
                                          <p:val>
                                            <p:strVal val="0-#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10" grpId="0"/>
      <p:bldP spid="11" grpId="0"/>
      <p:bldP spid="12" grpId="0"/>
      <p:bldP spid="14" grpId="0"/>
      <p:bldP spid="15" grpId="0"/>
      <p:bldP spid="20" grpId="0"/>
      <p:bldP spid="21" grpId="0"/>
      <p:bldP spid="25" grpId="0"/>
      <p:bldP spid="26" grpId="0"/>
      <p:bldP spid="27" grpId="0"/>
      <p:bldP spid="28" grpId="0"/>
      <p:bldP spid="23"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590158-3796-2CF0-EB58-7DE44A39914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E1B08F8-67DE-9C73-BD31-9E1A89F6FFB2}"/>
              </a:ext>
            </a:extLst>
          </p:cNvPr>
          <p:cNvSpPr>
            <a:spLocks noGrp="1"/>
          </p:cNvSpPr>
          <p:nvPr>
            <p:ph type="title"/>
          </p:nvPr>
        </p:nvSpPr>
        <p:spPr>
          <a:xfrm>
            <a:off x="495300" y="143444"/>
            <a:ext cx="8106305" cy="513211"/>
          </a:xfrm>
        </p:spPr>
        <p:txBody>
          <a:bodyPr/>
          <a:lstStyle/>
          <a:p>
            <a:r>
              <a:rPr lang="en-US" sz="2100"/>
              <a:t>The Data-Driven Decision Activity</a:t>
            </a:r>
          </a:p>
        </p:txBody>
      </p:sp>
      <p:sp>
        <p:nvSpPr>
          <p:cNvPr id="4" name="TextBox 3">
            <a:extLst>
              <a:ext uri="{FF2B5EF4-FFF2-40B4-BE49-F238E27FC236}">
                <a16:creationId xmlns:a16="http://schemas.microsoft.com/office/drawing/2014/main" id="{FABBCF5A-FA13-58D2-98E8-B0CB1D0711A0}"/>
              </a:ext>
            </a:extLst>
          </p:cNvPr>
          <p:cNvSpPr txBox="1"/>
          <p:nvPr/>
        </p:nvSpPr>
        <p:spPr>
          <a:xfrm>
            <a:off x="465119" y="584096"/>
            <a:ext cx="7996299" cy="646331"/>
          </a:xfrm>
          <a:prstGeom prst="rect">
            <a:avLst/>
          </a:prstGeom>
          <a:noFill/>
        </p:spPr>
        <p:txBody>
          <a:bodyPr wrap="square">
            <a:spAutoFit/>
          </a:bodyPr>
          <a:lstStyle/>
          <a:p>
            <a:r>
              <a:rPr lang="en-US" b="1" dirty="0">
                <a:latin typeface="Aptos" panose="020B0004020202020204" pitchFamily="34" charset="0"/>
              </a:rPr>
              <a:t>The Data</a:t>
            </a:r>
          </a:p>
          <a:p>
            <a:endParaRPr lang="en-US" dirty="0">
              <a:latin typeface="Aptos" panose="020B0004020202020204" pitchFamily="34" charset="0"/>
            </a:endParaRPr>
          </a:p>
        </p:txBody>
      </p:sp>
      <p:sp>
        <p:nvSpPr>
          <p:cNvPr id="9" name="TextBox 8">
            <a:extLst>
              <a:ext uri="{FF2B5EF4-FFF2-40B4-BE49-F238E27FC236}">
                <a16:creationId xmlns:a16="http://schemas.microsoft.com/office/drawing/2014/main" id="{3C38F6B2-4B31-495A-1ADF-97663E6625F3}"/>
              </a:ext>
            </a:extLst>
          </p:cNvPr>
          <p:cNvSpPr txBox="1"/>
          <p:nvPr/>
        </p:nvSpPr>
        <p:spPr>
          <a:xfrm>
            <a:off x="4939752" y="836575"/>
            <a:ext cx="4204248" cy="1569660"/>
          </a:xfrm>
          <a:prstGeom prst="rect">
            <a:avLst/>
          </a:prstGeom>
          <a:noFill/>
        </p:spPr>
        <p:txBody>
          <a:bodyPr wrap="square">
            <a:spAutoFit/>
          </a:bodyPr>
          <a:lstStyle/>
          <a:p>
            <a:pPr marL="119063" lvl="0" indent="-119063">
              <a:spcBef>
                <a:spcPts val="0"/>
              </a:spcBef>
              <a:buFont typeface="Arial" panose="020B0604020202020204" pitchFamily="34" charset="0"/>
              <a:buChar char="•"/>
              <a:defRPr/>
            </a:pPr>
            <a:r>
              <a:rPr lang="en-US" sz="1600" dirty="0">
                <a:latin typeface="Aptos" panose="020B0004020202020204" pitchFamily="34" charset="0"/>
              </a:rPr>
              <a:t>Engaged Employees' Weekly Task Completion Rate: 50 tasks/week</a:t>
            </a:r>
          </a:p>
          <a:p>
            <a:pPr marL="119063" lvl="0" indent="-119063">
              <a:spcBef>
                <a:spcPts val="0"/>
              </a:spcBef>
              <a:buFont typeface="Arial" panose="020B0604020202020204" pitchFamily="34" charset="0"/>
              <a:buChar char="•"/>
              <a:defRPr/>
            </a:pPr>
            <a:r>
              <a:rPr lang="en-US" sz="1600" dirty="0">
                <a:latin typeface="Aptos" panose="020B0004020202020204" pitchFamily="34" charset="0"/>
              </a:rPr>
              <a:t>Non-Engaged Employees' Weekly Task Completion Rate: 40 tasks/week</a:t>
            </a:r>
          </a:p>
          <a:p>
            <a:pPr marL="119063" lvl="0" indent="-119063">
              <a:spcBef>
                <a:spcPts val="0"/>
              </a:spcBef>
              <a:buFont typeface="Arial" panose="020B0604020202020204" pitchFamily="34" charset="0"/>
              <a:buChar char="•"/>
              <a:defRPr/>
            </a:pPr>
            <a:r>
              <a:rPr lang="en-US" sz="1600" dirty="0">
                <a:latin typeface="Aptos" panose="020B0004020202020204" pitchFamily="34" charset="0"/>
              </a:rPr>
              <a:t>Engaged Employees' Satisfaction: 90%</a:t>
            </a:r>
          </a:p>
          <a:p>
            <a:pPr marL="119063" lvl="0" indent="-119063">
              <a:spcBef>
                <a:spcPts val="0"/>
              </a:spcBef>
              <a:buFont typeface="Arial" panose="020B0604020202020204" pitchFamily="34" charset="0"/>
              <a:buChar char="•"/>
              <a:defRPr/>
            </a:pPr>
            <a:r>
              <a:rPr lang="en-US" sz="1600" dirty="0">
                <a:latin typeface="Aptos" panose="020B0004020202020204" pitchFamily="34" charset="0"/>
              </a:rPr>
              <a:t>Non-Engaged Employees' Satisfaction: 75%</a:t>
            </a:r>
          </a:p>
        </p:txBody>
      </p:sp>
      <p:sp>
        <p:nvSpPr>
          <p:cNvPr id="14" name="TextBox 13">
            <a:extLst>
              <a:ext uri="{FF2B5EF4-FFF2-40B4-BE49-F238E27FC236}">
                <a16:creationId xmlns:a16="http://schemas.microsoft.com/office/drawing/2014/main" id="{3301D519-F675-29B1-43C8-88CDE5A57DE1}"/>
              </a:ext>
            </a:extLst>
          </p:cNvPr>
          <p:cNvSpPr txBox="1"/>
          <p:nvPr/>
        </p:nvSpPr>
        <p:spPr>
          <a:xfrm>
            <a:off x="465119" y="2533308"/>
            <a:ext cx="8538633" cy="1200329"/>
          </a:xfrm>
          <a:prstGeom prst="rect">
            <a:avLst/>
          </a:prstGeom>
          <a:noFill/>
        </p:spPr>
        <p:txBody>
          <a:bodyPr wrap="square">
            <a:spAutoFit/>
          </a:bodyPr>
          <a:lstStyle/>
          <a:p>
            <a:r>
              <a:rPr lang="en-US" b="1" dirty="0">
                <a:latin typeface="Aptos" panose="020B0004020202020204" pitchFamily="34" charset="0"/>
              </a:rPr>
              <a:t>The Proposal</a:t>
            </a:r>
          </a:p>
          <a:p>
            <a:r>
              <a:rPr lang="en-US" dirty="0">
                <a:latin typeface="Aptos" panose="020B0004020202020204" pitchFamily="34" charset="0"/>
              </a:rPr>
              <a:t>“Let’s mandate weekly professional development sessions for all employees to boost productivity and morale. The data clearly shows this will lead to better performance and satisfaction.”</a:t>
            </a:r>
          </a:p>
        </p:txBody>
      </p:sp>
      <p:sp>
        <p:nvSpPr>
          <p:cNvPr id="16" name="TextBox 15">
            <a:extLst>
              <a:ext uri="{FF2B5EF4-FFF2-40B4-BE49-F238E27FC236}">
                <a16:creationId xmlns:a16="http://schemas.microsoft.com/office/drawing/2014/main" id="{412426C6-2195-6FD2-8988-CE90EE215BC2}"/>
              </a:ext>
            </a:extLst>
          </p:cNvPr>
          <p:cNvSpPr txBox="1"/>
          <p:nvPr/>
        </p:nvSpPr>
        <p:spPr>
          <a:xfrm>
            <a:off x="465119" y="893969"/>
            <a:ext cx="4474633" cy="1323439"/>
          </a:xfrm>
          <a:prstGeom prst="rect">
            <a:avLst/>
          </a:prstGeom>
          <a:noFill/>
        </p:spPr>
        <p:txBody>
          <a:bodyPr wrap="square">
            <a:spAutoFit/>
          </a:bodyPr>
          <a:lstStyle/>
          <a:p>
            <a:r>
              <a:rPr lang="en-US" sz="1600" dirty="0">
                <a:latin typeface="Aptos" panose="020B0004020202020204" pitchFamily="34" charset="0"/>
              </a:rPr>
              <a:t>Employees who engage in weekly professional development programs:</a:t>
            </a:r>
          </a:p>
          <a:p>
            <a:pPr marL="342900" lvl="1" indent="-114300">
              <a:buFont typeface="Arial" panose="020B0604020202020204" pitchFamily="34" charset="0"/>
              <a:buChar char="•"/>
            </a:pPr>
            <a:r>
              <a:rPr lang="en-US" sz="1600" dirty="0"/>
              <a:t>25% higher task completion rates</a:t>
            </a:r>
          </a:p>
          <a:p>
            <a:pPr marL="342900" lvl="1" indent="-114300">
              <a:buFont typeface="Arial" panose="020B0604020202020204" pitchFamily="34" charset="0"/>
              <a:buChar char="•"/>
            </a:pPr>
            <a:r>
              <a:rPr lang="en-US" sz="1600" dirty="0"/>
              <a:t>15% higher employee satisfaction scores</a:t>
            </a:r>
          </a:p>
          <a:p>
            <a:pPr marL="342900" lvl="1" indent="-114300">
              <a:buFont typeface="Arial" panose="020B0604020202020204" pitchFamily="34" charset="0"/>
              <a:buChar char="•"/>
            </a:pPr>
            <a:r>
              <a:rPr lang="en-US" sz="1600" dirty="0"/>
              <a:t>Analysis covers 1 year across all departments</a:t>
            </a:r>
          </a:p>
        </p:txBody>
      </p:sp>
      <p:sp>
        <p:nvSpPr>
          <p:cNvPr id="18" name="TextBox 17">
            <a:extLst>
              <a:ext uri="{FF2B5EF4-FFF2-40B4-BE49-F238E27FC236}">
                <a16:creationId xmlns:a16="http://schemas.microsoft.com/office/drawing/2014/main" id="{DB25D7A7-DEC1-BAE3-315B-6E9C0D9902DB}"/>
              </a:ext>
            </a:extLst>
          </p:cNvPr>
          <p:cNvSpPr txBox="1"/>
          <p:nvPr/>
        </p:nvSpPr>
        <p:spPr>
          <a:xfrm>
            <a:off x="465120" y="4034884"/>
            <a:ext cx="8069280" cy="646331"/>
          </a:xfrm>
          <a:prstGeom prst="rect">
            <a:avLst/>
          </a:prstGeom>
          <a:noFill/>
        </p:spPr>
        <p:txBody>
          <a:bodyPr wrap="square">
            <a:spAutoFit/>
          </a:bodyPr>
          <a:lstStyle/>
          <a:p>
            <a:pPr algn="ctr"/>
            <a:r>
              <a:rPr lang="en-US" dirty="0">
                <a:latin typeface="Aptos" panose="020B0004020202020204" pitchFamily="34" charset="0"/>
                <a:ea typeface="Aptos" panose="020B0004020202020204" pitchFamily="34" charset="0"/>
                <a:cs typeface="Times New Roman" panose="02020603050405020304" pitchFamily="18" charset="0"/>
              </a:rPr>
              <a:t>Based on this data, what are your initial thoughts about the proposal to mandate weekly professional development sessions for all employees?</a:t>
            </a:r>
            <a:endParaRPr lang="en-US" dirty="0"/>
          </a:p>
        </p:txBody>
      </p:sp>
      <p:sp>
        <p:nvSpPr>
          <p:cNvPr id="2" name="TextBox 1">
            <a:extLst>
              <a:ext uri="{FF2B5EF4-FFF2-40B4-BE49-F238E27FC236}">
                <a16:creationId xmlns:a16="http://schemas.microsoft.com/office/drawing/2014/main" id="{6E64DF32-8828-1D95-3E4B-F39B450CE7F3}"/>
              </a:ext>
            </a:extLst>
          </p:cNvPr>
          <p:cNvSpPr txBox="1"/>
          <p:nvPr/>
        </p:nvSpPr>
        <p:spPr>
          <a:xfrm>
            <a:off x="5005602" y="570803"/>
            <a:ext cx="7996299" cy="646331"/>
          </a:xfrm>
          <a:prstGeom prst="rect">
            <a:avLst/>
          </a:prstGeom>
          <a:noFill/>
        </p:spPr>
        <p:txBody>
          <a:bodyPr wrap="square">
            <a:spAutoFit/>
          </a:bodyPr>
          <a:lstStyle/>
          <a:p>
            <a:r>
              <a:rPr lang="en-US" b="1" dirty="0">
                <a:latin typeface="Aptos" panose="020B0004020202020204" pitchFamily="34" charset="0"/>
              </a:rPr>
              <a:t>The Metrics</a:t>
            </a:r>
          </a:p>
          <a:p>
            <a:endParaRPr lang="en-US" dirty="0">
              <a:latin typeface="Aptos" panose="020B0004020202020204" pitchFamily="34" charset="0"/>
            </a:endParaRPr>
          </a:p>
        </p:txBody>
      </p:sp>
    </p:spTree>
    <p:custDataLst>
      <p:tags r:id="rId1"/>
    </p:custDataLst>
    <p:extLst>
      <p:ext uri="{BB962C8B-B14F-4D97-AF65-F5344CB8AC3E}">
        <p14:creationId xmlns:p14="http://schemas.microsoft.com/office/powerpoint/2010/main" val="974246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p:bldP spid="14" grpId="0"/>
      <p:bldP spid="16" grpId="0"/>
      <p:bldP spid="18" grpId="0"/>
      <p:bldP spid="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BD0270-35B1-1C42-CFCB-59C678F296E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2C98301-224C-4688-EE83-14B94B9824A6}"/>
              </a:ext>
            </a:extLst>
          </p:cNvPr>
          <p:cNvSpPr>
            <a:spLocks noGrp="1"/>
          </p:cNvSpPr>
          <p:nvPr>
            <p:ph type="title"/>
          </p:nvPr>
        </p:nvSpPr>
        <p:spPr>
          <a:xfrm>
            <a:off x="495300" y="143444"/>
            <a:ext cx="8106305" cy="513211"/>
          </a:xfrm>
        </p:spPr>
        <p:txBody>
          <a:bodyPr/>
          <a:lstStyle/>
          <a:p>
            <a:r>
              <a:rPr lang="en-US" sz="2100" dirty="0"/>
              <a:t>The Data-Driven Decision Activity – Additional Context &amp; Risks</a:t>
            </a:r>
          </a:p>
        </p:txBody>
      </p:sp>
      <p:sp>
        <p:nvSpPr>
          <p:cNvPr id="4" name="TextBox 3">
            <a:extLst>
              <a:ext uri="{FF2B5EF4-FFF2-40B4-BE49-F238E27FC236}">
                <a16:creationId xmlns:a16="http://schemas.microsoft.com/office/drawing/2014/main" id="{B2A2428E-6FB6-3FA3-50A0-3B2F946C4C70}"/>
              </a:ext>
            </a:extLst>
          </p:cNvPr>
          <p:cNvSpPr txBox="1"/>
          <p:nvPr/>
        </p:nvSpPr>
        <p:spPr>
          <a:xfrm>
            <a:off x="465119" y="712481"/>
            <a:ext cx="8485698" cy="2916439"/>
          </a:xfrm>
          <a:prstGeom prst="rect">
            <a:avLst/>
          </a:prstGeom>
          <a:noFill/>
        </p:spPr>
        <p:txBody>
          <a:bodyPr wrap="square">
            <a:spAutoFit/>
          </a:bodyPr>
          <a:lstStyle/>
          <a:p>
            <a:r>
              <a:rPr lang="en-US" b="1" dirty="0"/>
              <a:t>Critical Factors</a:t>
            </a:r>
          </a:p>
          <a:p>
            <a:pPr marL="285750" lvl="1" indent="-114300">
              <a:lnSpc>
                <a:spcPct val="150000"/>
              </a:lnSpc>
              <a:buFont typeface="Arial" panose="020B0604020202020204" pitchFamily="34" charset="0"/>
              <a:buChar char="•"/>
            </a:pPr>
            <a:r>
              <a:rPr lang="en-US" sz="1600" dirty="0"/>
              <a:t>Professional development requires 2 hours/week per employee</a:t>
            </a:r>
          </a:p>
          <a:p>
            <a:pPr marL="285750" lvl="1" indent="-114300">
              <a:lnSpc>
                <a:spcPct val="150000"/>
              </a:lnSpc>
              <a:buFont typeface="Arial" panose="020B0604020202020204" pitchFamily="34" charset="0"/>
              <a:buChar char="•"/>
            </a:pPr>
            <a:r>
              <a:rPr lang="en-US" sz="1600" dirty="0"/>
              <a:t>Workload redistribution may lead to task delays</a:t>
            </a:r>
          </a:p>
          <a:p>
            <a:pPr marL="285750" lvl="1" indent="-114300">
              <a:lnSpc>
                <a:spcPct val="150000"/>
              </a:lnSpc>
              <a:buFont typeface="Arial" panose="020B0604020202020204" pitchFamily="34" charset="0"/>
              <a:buChar char="•"/>
            </a:pPr>
            <a:r>
              <a:rPr lang="en-US" sz="1600" dirty="0"/>
              <a:t>Only 60% of employees have expressed interest in professional development</a:t>
            </a:r>
          </a:p>
          <a:p>
            <a:pPr marL="285750" lvl="1" indent="-114300">
              <a:lnSpc>
                <a:spcPct val="150000"/>
              </a:lnSpc>
              <a:buFont typeface="Arial" panose="020B0604020202020204" pitchFamily="34" charset="0"/>
              <a:buChar char="•"/>
            </a:pPr>
            <a:r>
              <a:rPr lang="en-US" sz="1600" dirty="0"/>
              <a:t>Employees not engaged in development currently report higher focus on specialized tasks</a:t>
            </a:r>
          </a:p>
          <a:p>
            <a:pPr marL="285750" lvl="1" indent="-114300">
              <a:lnSpc>
                <a:spcPct val="150000"/>
              </a:lnSpc>
              <a:buFont typeface="Arial" panose="020B0604020202020204" pitchFamily="34" charset="0"/>
              <a:buChar char="•"/>
            </a:pPr>
            <a:r>
              <a:rPr lang="en-US" sz="1600" dirty="0"/>
              <a:t>Departments with complex workflows have reported 10% lower performance during mandatory training pilot programs</a:t>
            </a:r>
          </a:p>
          <a:p>
            <a:pPr marL="285750" lvl="1" indent="-114300">
              <a:lnSpc>
                <a:spcPct val="150000"/>
              </a:lnSpc>
              <a:buFont typeface="Arial" panose="020B0604020202020204" pitchFamily="34" charset="0"/>
              <a:buChar char="•"/>
            </a:pPr>
            <a:r>
              <a:rPr lang="en-US" sz="1600" dirty="0"/>
              <a:t>Competitor trends. Growth in on-demand microlearning instead of weekly sessions</a:t>
            </a:r>
          </a:p>
        </p:txBody>
      </p:sp>
      <p:sp>
        <p:nvSpPr>
          <p:cNvPr id="5" name="TextBox 4">
            <a:extLst>
              <a:ext uri="{FF2B5EF4-FFF2-40B4-BE49-F238E27FC236}">
                <a16:creationId xmlns:a16="http://schemas.microsoft.com/office/drawing/2014/main" id="{900F590D-9EEB-12B2-DA2F-6D5D354B1352}"/>
              </a:ext>
            </a:extLst>
          </p:cNvPr>
          <p:cNvSpPr txBox="1"/>
          <p:nvPr/>
        </p:nvSpPr>
        <p:spPr>
          <a:xfrm>
            <a:off x="1651502" y="4121617"/>
            <a:ext cx="6112932" cy="369332"/>
          </a:xfrm>
          <a:prstGeom prst="rect">
            <a:avLst/>
          </a:prstGeom>
          <a:noFill/>
        </p:spPr>
        <p:txBody>
          <a:bodyPr wrap="square">
            <a:spAutoFit/>
          </a:bodyPr>
          <a:lstStyle/>
          <a:p>
            <a:r>
              <a:rPr lang="en-US" dirty="0">
                <a:latin typeface="Aptos" panose="020B0004020202020204" pitchFamily="34" charset="0"/>
                <a:ea typeface="Aptos" panose="020B0004020202020204" pitchFamily="34" charset="0"/>
                <a:cs typeface="Times New Roman" panose="02020603050405020304" pitchFamily="18" charset="0"/>
              </a:rPr>
              <a:t>How does this additional information change your thinking?</a:t>
            </a:r>
            <a:endParaRPr lang="en-US" dirty="0"/>
          </a:p>
        </p:txBody>
      </p:sp>
    </p:spTree>
    <p:custDataLst>
      <p:tags r:id="rId1"/>
    </p:custDataLst>
    <p:extLst>
      <p:ext uri="{BB962C8B-B14F-4D97-AF65-F5344CB8AC3E}">
        <p14:creationId xmlns:p14="http://schemas.microsoft.com/office/powerpoint/2010/main" val="1527712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FAAFEC-8E51-DFCA-6C93-8C8E11E9FA2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387AADF-515D-213F-CB41-D71C87893E14}"/>
              </a:ext>
            </a:extLst>
          </p:cNvPr>
          <p:cNvSpPr>
            <a:spLocks noGrp="1"/>
          </p:cNvSpPr>
          <p:nvPr>
            <p:ph type="title"/>
          </p:nvPr>
        </p:nvSpPr>
        <p:spPr>
          <a:xfrm>
            <a:off x="495300" y="143444"/>
            <a:ext cx="8106305" cy="513211"/>
          </a:xfrm>
        </p:spPr>
        <p:txBody>
          <a:bodyPr/>
          <a:lstStyle/>
          <a:p>
            <a:r>
              <a:rPr lang="en-US" sz="2100"/>
              <a:t>Agenda &amp; Timings</a:t>
            </a:r>
          </a:p>
        </p:txBody>
      </p:sp>
      <p:graphicFrame>
        <p:nvGraphicFramePr>
          <p:cNvPr id="2" name="Table 1">
            <a:extLst>
              <a:ext uri="{FF2B5EF4-FFF2-40B4-BE49-F238E27FC236}">
                <a16:creationId xmlns:a16="http://schemas.microsoft.com/office/drawing/2014/main" id="{EA699C38-1BED-C900-825B-DA7853E1D84D}"/>
              </a:ext>
            </a:extLst>
          </p:cNvPr>
          <p:cNvGraphicFramePr>
            <a:graphicFrameLocks noGrp="1"/>
          </p:cNvGraphicFramePr>
          <p:nvPr>
            <p:extLst>
              <p:ext uri="{D42A27DB-BD31-4B8C-83A1-F6EECF244321}">
                <p14:modId xmlns:p14="http://schemas.microsoft.com/office/powerpoint/2010/main" val="3242740270"/>
              </p:ext>
            </p:extLst>
          </p:nvPr>
        </p:nvGraphicFramePr>
        <p:xfrm>
          <a:off x="1504681" y="887480"/>
          <a:ext cx="5707488" cy="3469640"/>
        </p:xfrm>
        <a:graphic>
          <a:graphicData uri="http://schemas.openxmlformats.org/drawingml/2006/table">
            <a:tbl>
              <a:tblPr firstRow="1" bandRow="1">
                <a:tableStyleId>{5C22544A-7EE6-4342-B048-85BDC9FD1C3A}</a:tableStyleId>
              </a:tblPr>
              <a:tblGrid>
                <a:gridCol w="4418125">
                  <a:extLst>
                    <a:ext uri="{9D8B030D-6E8A-4147-A177-3AD203B41FA5}">
                      <a16:colId xmlns:a16="http://schemas.microsoft.com/office/drawing/2014/main" val="4144322476"/>
                    </a:ext>
                  </a:extLst>
                </a:gridCol>
                <a:gridCol w="1289363">
                  <a:extLst>
                    <a:ext uri="{9D8B030D-6E8A-4147-A177-3AD203B41FA5}">
                      <a16:colId xmlns:a16="http://schemas.microsoft.com/office/drawing/2014/main" val="3266417062"/>
                    </a:ext>
                  </a:extLst>
                </a:gridCol>
              </a:tblGrid>
              <a:tr h="370840">
                <a:tc>
                  <a:txBody>
                    <a:bodyPr/>
                    <a:lstStyle/>
                    <a:p>
                      <a:r>
                        <a:rPr lang="en-US" dirty="0"/>
                        <a:t>Topic</a:t>
                      </a:r>
                    </a:p>
                  </a:txBody>
                  <a:tcPr>
                    <a:solidFill>
                      <a:schemeClr val="bg2"/>
                    </a:solidFill>
                  </a:tcPr>
                </a:tc>
                <a:tc>
                  <a:txBody>
                    <a:bodyPr/>
                    <a:lstStyle/>
                    <a:p>
                      <a:r>
                        <a:rPr lang="en-US"/>
                        <a:t>Estimated Timing</a:t>
                      </a:r>
                    </a:p>
                  </a:txBody>
                  <a:tcPr>
                    <a:solidFill>
                      <a:schemeClr val="bg2"/>
                    </a:solidFill>
                  </a:tcPr>
                </a:tc>
                <a:extLst>
                  <a:ext uri="{0D108BD9-81ED-4DB2-BD59-A6C34878D82A}">
                    <a16:rowId xmlns:a16="http://schemas.microsoft.com/office/drawing/2014/main" val="1175798459"/>
                  </a:ext>
                </a:extLst>
              </a:tr>
              <a:tr h="370840">
                <a:tc>
                  <a:txBody>
                    <a:bodyPr/>
                    <a:lstStyle/>
                    <a:p>
                      <a:r>
                        <a:rPr lang="en-US" dirty="0"/>
                        <a:t>Introductions</a:t>
                      </a:r>
                    </a:p>
                  </a:txBody>
                  <a:tcPr/>
                </a:tc>
                <a:tc>
                  <a:txBody>
                    <a:bodyPr/>
                    <a:lstStyle/>
                    <a:p>
                      <a:r>
                        <a:rPr lang="en-US"/>
                        <a:t>09:00 – 09:10</a:t>
                      </a:r>
                    </a:p>
                  </a:txBody>
                  <a:tcPr/>
                </a:tc>
                <a:extLst>
                  <a:ext uri="{0D108BD9-81ED-4DB2-BD59-A6C34878D82A}">
                    <a16:rowId xmlns:a16="http://schemas.microsoft.com/office/drawing/2014/main" val="3860309360"/>
                  </a:ext>
                </a:extLst>
              </a:tr>
              <a:tr h="370840">
                <a:tc>
                  <a:txBody>
                    <a:bodyPr/>
                    <a:lstStyle/>
                    <a:p>
                      <a:r>
                        <a:rPr lang="en-US" dirty="0"/>
                        <a:t>Data-Informed Decision-Making Process – Part 1</a:t>
                      </a:r>
                    </a:p>
                  </a:txBody>
                  <a:tcPr/>
                </a:tc>
                <a:tc>
                  <a:txBody>
                    <a:bodyPr/>
                    <a:lstStyle/>
                    <a:p>
                      <a:r>
                        <a:rPr lang="en-US"/>
                        <a:t>09:10 – 09:30</a:t>
                      </a:r>
                      <a:endParaRPr lang="en-US" dirty="0"/>
                    </a:p>
                  </a:txBody>
                  <a:tcPr/>
                </a:tc>
                <a:extLst>
                  <a:ext uri="{0D108BD9-81ED-4DB2-BD59-A6C34878D82A}">
                    <a16:rowId xmlns:a16="http://schemas.microsoft.com/office/drawing/2014/main" val="1141213648"/>
                  </a:ext>
                </a:extLst>
              </a:tr>
              <a:tr h="370840">
                <a:tc>
                  <a:txBody>
                    <a:bodyPr/>
                    <a:lstStyle/>
                    <a:p>
                      <a:r>
                        <a:rPr lang="en-US" b="1" dirty="0"/>
                        <a:t>BREAKOUT ACTIVITY</a:t>
                      </a:r>
                    </a:p>
                  </a:txBody>
                  <a:tcPr/>
                </a:tc>
                <a:tc>
                  <a:txBody>
                    <a:bodyPr/>
                    <a:lstStyle/>
                    <a:p>
                      <a:r>
                        <a:rPr lang="en-US" dirty="0"/>
                        <a:t>09:30 – 09:50</a:t>
                      </a:r>
                    </a:p>
                  </a:txBody>
                  <a:tcPr/>
                </a:tc>
                <a:extLst>
                  <a:ext uri="{0D108BD9-81ED-4DB2-BD59-A6C34878D82A}">
                    <a16:rowId xmlns:a16="http://schemas.microsoft.com/office/drawing/2014/main" val="2824568000"/>
                  </a:ext>
                </a:extLst>
              </a:tr>
              <a:tr h="370840">
                <a:tc>
                  <a:txBody>
                    <a:bodyPr/>
                    <a:lstStyle/>
                    <a:p>
                      <a:r>
                        <a:rPr lang="en-US" b="0" dirty="0"/>
                        <a:t>Breakout Recap</a:t>
                      </a:r>
                    </a:p>
                  </a:txBody>
                  <a:tcPr/>
                </a:tc>
                <a:tc>
                  <a:txBody>
                    <a:bodyPr/>
                    <a:lstStyle/>
                    <a:p>
                      <a:r>
                        <a:rPr lang="en-US" b="0" dirty="0"/>
                        <a:t>09:50 – 10:00</a:t>
                      </a:r>
                    </a:p>
                  </a:txBody>
                  <a:tcPr/>
                </a:tc>
                <a:extLst>
                  <a:ext uri="{0D108BD9-81ED-4DB2-BD59-A6C34878D82A}">
                    <a16:rowId xmlns:a16="http://schemas.microsoft.com/office/drawing/2014/main" val="3533172341"/>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QUICK BREAK</a:t>
                      </a:r>
                    </a:p>
                  </a:txBody>
                  <a:tcPr/>
                </a:tc>
                <a:tc>
                  <a:txBody>
                    <a:bodyPr/>
                    <a:lstStyle/>
                    <a:p>
                      <a:r>
                        <a:rPr lang="en-US" dirty="0"/>
                        <a:t>10:00 – 10:05</a:t>
                      </a:r>
                    </a:p>
                  </a:txBody>
                  <a:tcPr/>
                </a:tc>
                <a:extLst>
                  <a:ext uri="{0D108BD9-81ED-4DB2-BD59-A6C34878D82A}">
                    <a16:rowId xmlns:a16="http://schemas.microsoft.com/office/drawing/2014/main" val="3581793387"/>
                  </a:ext>
                </a:extLst>
              </a:tr>
              <a:tr h="370840">
                <a:tc>
                  <a:txBody>
                    <a:bodyPr/>
                    <a:lstStyle/>
                    <a:p>
                      <a:r>
                        <a:rPr lang="en-US" dirty="0"/>
                        <a:t>Data-Informed Decision-Making Process – Part 2</a:t>
                      </a:r>
                    </a:p>
                  </a:txBody>
                  <a:tcPr/>
                </a:tc>
                <a:tc>
                  <a:txBody>
                    <a:bodyPr/>
                    <a:lstStyle/>
                    <a:p>
                      <a:r>
                        <a:rPr lang="en-US" dirty="0"/>
                        <a:t>10:05 – 10:35</a:t>
                      </a:r>
                    </a:p>
                  </a:txBody>
                  <a:tcPr/>
                </a:tc>
                <a:extLst>
                  <a:ext uri="{0D108BD9-81ED-4DB2-BD59-A6C34878D82A}">
                    <a16:rowId xmlns:a16="http://schemas.microsoft.com/office/drawing/2014/main" val="1806092143"/>
                  </a:ext>
                </a:extLst>
              </a:tr>
              <a:tr h="370840">
                <a:tc>
                  <a:txBody>
                    <a:bodyPr/>
                    <a:lstStyle/>
                    <a:p>
                      <a:r>
                        <a:rPr lang="en-US"/>
                        <a:t>Key Takeaways</a:t>
                      </a:r>
                    </a:p>
                  </a:txBody>
                  <a:tcPr/>
                </a:tc>
                <a:tc>
                  <a:txBody>
                    <a:bodyPr/>
                    <a:lstStyle/>
                    <a:p>
                      <a:r>
                        <a:rPr lang="en-US" dirty="0"/>
                        <a:t>10:35 – 10:45</a:t>
                      </a:r>
                    </a:p>
                  </a:txBody>
                  <a:tcPr/>
                </a:tc>
                <a:extLst>
                  <a:ext uri="{0D108BD9-81ED-4DB2-BD59-A6C34878D82A}">
                    <a16:rowId xmlns:a16="http://schemas.microsoft.com/office/drawing/2014/main" val="3594732245"/>
                  </a:ext>
                </a:extLst>
              </a:tr>
              <a:tr h="370840">
                <a:tc>
                  <a:txBody>
                    <a:bodyPr/>
                    <a:lstStyle/>
                    <a:p>
                      <a:r>
                        <a:rPr lang="en-US"/>
                        <a:t>Open Q&amp;A</a:t>
                      </a:r>
                    </a:p>
                  </a:txBody>
                  <a:tcPr/>
                </a:tc>
                <a:tc>
                  <a:txBody>
                    <a:bodyPr/>
                    <a:lstStyle/>
                    <a:p>
                      <a:r>
                        <a:rPr lang="en-US" dirty="0"/>
                        <a:t>10:45 – 11:00</a:t>
                      </a:r>
                    </a:p>
                  </a:txBody>
                  <a:tcPr/>
                </a:tc>
                <a:extLst>
                  <a:ext uri="{0D108BD9-81ED-4DB2-BD59-A6C34878D82A}">
                    <a16:rowId xmlns:a16="http://schemas.microsoft.com/office/drawing/2014/main" val="2807547202"/>
                  </a:ext>
                </a:extLst>
              </a:tr>
            </a:tbl>
          </a:graphicData>
        </a:graphic>
      </p:graphicFrame>
    </p:spTree>
    <p:custDataLst>
      <p:tags r:id="rId1"/>
    </p:custDataLst>
    <p:extLst>
      <p:ext uri="{BB962C8B-B14F-4D97-AF65-F5344CB8AC3E}">
        <p14:creationId xmlns:p14="http://schemas.microsoft.com/office/powerpoint/2010/main" val="561588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95300" y="77994"/>
            <a:ext cx="8106305" cy="443818"/>
          </a:xfrm>
        </p:spPr>
        <p:txBody>
          <a:bodyPr/>
          <a:lstStyle/>
          <a:p>
            <a:r>
              <a:rPr lang="en-US" sz="2100"/>
              <a:t>Announce &amp; Market</a:t>
            </a:r>
          </a:p>
        </p:txBody>
      </p:sp>
      <p:sp>
        <p:nvSpPr>
          <p:cNvPr id="9" name="TextBox 8">
            <a:extLst>
              <a:ext uri="{FF2B5EF4-FFF2-40B4-BE49-F238E27FC236}">
                <a16:creationId xmlns:a16="http://schemas.microsoft.com/office/drawing/2014/main" id="{C39F303B-2BDE-D6FF-2860-60E9B00AD1CE}"/>
              </a:ext>
            </a:extLst>
          </p:cNvPr>
          <p:cNvSpPr txBox="1"/>
          <p:nvPr/>
        </p:nvSpPr>
        <p:spPr>
          <a:xfrm>
            <a:off x="5943946" y="1428725"/>
            <a:ext cx="2560726" cy="338554"/>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rPr>
              <a:t>Stakeholder Analysis</a:t>
            </a:r>
          </a:p>
        </p:txBody>
      </p:sp>
      <p:pic>
        <p:nvPicPr>
          <p:cNvPr id="15" name="Graphic 14" descr="Megaphone1 with solid fill">
            <a:extLst>
              <a:ext uri="{FF2B5EF4-FFF2-40B4-BE49-F238E27FC236}">
                <a16:creationId xmlns:a16="http://schemas.microsoft.com/office/drawing/2014/main" id="{1FEFAC3A-31B6-6A85-4238-A97C504DB0D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15021" y="2389282"/>
            <a:ext cx="914400" cy="914400"/>
          </a:xfrm>
          <a:prstGeom prst="rect">
            <a:avLst/>
          </a:prstGeom>
        </p:spPr>
      </p:pic>
      <p:pic>
        <p:nvPicPr>
          <p:cNvPr id="17" name="Graphic 16" descr="User with solid fill">
            <a:extLst>
              <a:ext uri="{FF2B5EF4-FFF2-40B4-BE49-F238E27FC236}">
                <a16:creationId xmlns:a16="http://schemas.microsoft.com/office/drawing/2014/main" id="{91A6086B-32C5-1DA7-C4FA-32B0DC62203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15021" y="1134121"/>
            <a:ext cx="914400" cy="914400"/>
          </a:xfrm>
          <a:prstGeom prst="rect">
            <a:avLst/>
          </a:prstGeom>
        </p:spPr>
      </p:pic>
      <p:sp>
        <p:nvSpPr>
          <p:cNvPr id="19" name="TextBox 18">
            <a:extLst>
              <a:ext uri="{FF2B5EF4-FFF2-40B4-BE49-F238E27FC236}">
                <a16:creationId xmlns:a16="http://schemas.microsoft.com/office/drawing/2014/main" id="{D32D51AC-E1D6-0DBA-F0B9-6C031CCE491D}"/>
              </a:ext>
            </a:extLst>
          </p:cNvPr>
          <p:cNvSpPr txBox="1"/>
          <p:nvPr/>
        </p:nvSpPr>
        <p:spPr>
          <a:xfrm>
            <a:off x="5943946" y="2677205"/>
            <a:ext cx="3221980" cy="584775"/>
          </a:xfrm>
          <a:prstGeom prst="rect">
            <a:avLst/>
          </a:prstGeom>
          <a:noFill/>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rPr>
              <a:t>Craft Clear and Consistent Messaging</a:t>
            </a:r>
          </a:p>
        </p:txBody>
      </p:sp>
      <p:pic>
        <p:nvPicPr>
          <p:cNvPr id="2" name="Picture 1">
            <a:extLst>
              <a:ext uri="{FF2B5EF4-FFF2-40B4-BE49-F238E27FC236}">
                <a16:creationId xmlns:a16="http://schemas.microsoft.com/office/drawing/2014/main" id="{EFE3C6E0-C1CE-3F56-3918-FEF4DEA69B76}"/>
              </a:ext>
            </a:extLst>
          </p:cNvPr>
          <p:cNvPicPr>
            <a:picLocks noChangeAspect="1"/>
          </p:cNvPicPr>
          <p:nvPr/>
        </p:nvPicPr>
        <p:blipFill>
          <a:blip r:embed="rId7"/>
          <a:stretch>
            <a:fillRect/>
          </a:stretch>
        </p:blipFill>
        <p:spPr>
          <a:xfrm>
            <a:off x="75719" y="933849"/>
            <a:ext cx="4496508" cy="2999232"/>
          </a:xfrm>
          <a:prstGeom prst="rect">
            <a:avLst/>
          </a:prstGeom>
        </p:spPr>
      </p:pic>
      <p:sp>
        <p:nvSpPr>
          <p:cNvPr id="3" name="Oval 2">
            <a:extLst>
              <a:ext uri="{FF2B5EF4-FFF2-40B4-BE49-F238E27FC236}">
                <a16:creationId xmlns:a16="http://schemas.microsoft.com/office/drawing/2014/main" id="{9D4122FF-937F-894B-C87B-9BE1BA6ACE43}"/>
              </a:ext>
            </a:extLst>
          </p:cNvPr>
          <p:cNvSpPr/>
          <p:nvPr/>
        </p:nvSpPr>
        <p:spPr>
          <a:xfrm>
            <a:off x="2777706" y="2123715"/>
            <a:ext cx="776377" cy="4388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7111311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subTnLst>
                                    <p:animClr clrSpc="rgb" dir="cw">
                                      <p:cBhvr override="childStyle">
                                        <p:cTn dur="1" fill="hold" display="0" masterRel="nextClick" afterEffect="1"/>
                                        <p:tgtEl>
                                          <p:spTgt spid="9"/>
                                        </p:tgtEl>
                                        <p:attrNameLst>
                                          <p:attrName>ppt_c</p:attrName>
                                        </p:attrNameLst>
                                      </p:cBhvr>
                                      <p:to>
                                        <a:schemeClr val="tx1"/>
                                      </p:to>
                                    </p:animClr>
                                  </p:sub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subTnLst>
                                    <p:animClr clrSpc="rgb" dir="cw">
                                      <p:cBhvr override="childStyle">
                                        <p:cTn dur="1" fill="hold" display="0" masterRel="nextClick" afterEffect="1"/>
                                        <p:tgtEl>
                                          <p:spTgt spid="17"/>
                                        </p:tgtEl>
                                        <p:attrNameLst>
                                          <p:attrName>ppt_c</p:attrName>
                                        </p:attrNameLst>
                                      </p:cBhvr>
                                      <p:to>
                                        <a:srgbClr val="B2B2B2"/>
                                      </p:to>
                                    </p:animClr>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subTnLst>
                                    <p:animClr clrSpc="rgb" dir="cw">
                                      <p:cBhvr override="childStyle">
                                        <p:cTn dur="1" fill="hold" display="0" masterRel="nextClick" afterEffect="1"/>
                                        <p:tgtEl>
                                          <p:spTgt spid="15"/>
                                        </p:tgtEl>
                                        <p:attrNameLst>
                                          <p:attrName>ppt_c</p:attrName>
                                        </p:attrNameLst>
                                      </p:cBhvr>
                                      <p:to>
                                        <a:srgbClr val="B2B2B2"/>
                                      </p:to>
                                    </p:animClr>
                                  </p:sub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subTnLst>
                                    <p:animClr clrSpc="rgb" dir="cw">
                                      <p:cBhvr override="childStyle">
                                        <p:cTn dur="1" fill="hold" display="0" masterRel="nextClick" afterEffect="1"/>
                                        <p:tgtEl>
                                          <p:spTgt spid="19"/>
                                        </p:tgtEl>
                                        <p:attrNameLst>
                                          <p:attrName>ppt_c</p:attrName>
                                        </p:attrNameLst>
                                      </p:cBhvr>
                                      <p:to>
                                        <a:schemeClr val="tx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9"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FC8BBA-0062-3A25-B298-4C53CE8CF49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040AB59-50B5-BE3F-00A2-6C44E78BD9C8}"/>
              </a:ext>
            </a:extLst>
          </p:cNvPr>
          <p:cNvSpPr>
            <a:spLocks noGrp="1"/>
          </p:cNvSpPr>
          <p:nvPr>
            <p:ph type="title"/>
          </p:nvPr>
        </p:nvSpPr>
        <p:spPr>
          <a:xfrm>
            <a:off x="495300" y="143444"/>
            <a:ext cx="8106305" cy="513211"/>
          </a:xfrm>
        </p:spPr>
        <p:txBody>
          <a:bodyPr/>
          <a:lstStyle/>
          <a:p>
            <a:r>
              <a:rPr lang="en-US" sz="2100" dirty="0"/>
              <a:t>Example – Focus on Insights Over Raw Data</a:t>
            </a:r>
          </a:p>
        </p:txBody>
      </p:sp>
      <p:pic>
        <p:nvPicPr>
          <p:cNvPr id="7" name="Picture 6">
            <a:extLst>
              <a:ext uri="{FF2B5EF4-FFF2-40B4-BE49-F238E27FC236}">
                <a16:creationId xmlns:a16="http://schemas.microsoft.com/office/drawing/2014/main" id="{2BF4DB9B-70BF-4F59-400D-3DBFE4962D37}"/>
              </a:ext>
            </a:extLst>
          </p:cNvPr>
          <p:cNvPicPr>
            <a:picLocks noChangeAspect="1"/>
          </p:cNvPicPr>
          <p:nvPr/>
        </p:nvPicPr>
        <p:blipFill>
          <a:blip r:embed="rId4"/>
          <a:stretch>
            <a:fillRect/>
          </a:stretch>
        </p:blipFill>
        <p:spPr>
          <a:xfrm>
            <a:off x="878631" y="772663"/>
            <a:ext cx="7665293" cy="3186445"/>
          </a:xfrm>
          <a:prstGeom prst="rect">
            <a:avLst/>
          </a:prstGeom>
        </p:spPr>
      </p:pic>
    </p:spTree>
    <p:custDataLst>
      <p:tags r:id="rId1"/>
    </p:custDataLst>
    <p:extLst>
      <p:ext uri="{BB962C8B-B14F-4D97-AF65-F5344CB8AC3E}">
        <p14:creationId xmlns:p14="http://schemas.microsoft.com/office/powerpoint/2010/main" val="819627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6CB003-2D47-4845-B1DF-3FC914B67AA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8CDB019-EAAF-BA6A-FD30-DDFCDD328F8C}"/>
              </a:ext>
            </a:extLst>
          </p:cNvPr>
          <p:cNvSpPr>
            <a:spLocks noGrp="1"/>
          </p:cNvSpPr>
          <p:nvPr>
            <p:ph type="title"/>
          </p:nvPr>
        </p:nvSpPr>
        <p:spPr>
          <a:xfrm>
            <a:off x="495300" y="143444"/>
            <a:ext cx="8106305" cy="513211"/>
          </a:xfrm>
        </p:spPr>
        <p:txBody>
          <a:bodyPr/>
          <a:lstStyle/>
          <a:p>
            <a:r>
              <a:rPr lang="en-US" sz="2100" dirty="0"/>
              <a:t>Example – Focus on Insights Over Raw Data</a:t>
            </a:r>
          </a:p>
        </p:txBody>
      </p:sp>
      <p:pic>
        <p:nvPicPr>
          <p:cNvPr id="7" name="Picture 6">
            <a:extLst>
              <a:ext uri="{FF2B5EF4-FFF2-40B4-BE49-F238E27FC236}">
                <a16:creationId xmlns:a16="http://schemas.microsoft.com/office/drawing/2014/main" id="{F08C176E-A77C-E3B0-47CE-C4E91E5987BB}"/>
              </a:ext>
            </a:extLst>
          </p:cNvPr>
          <p:cNvPicPr>
            <a:picLocks noChangeAspect="1"/>
          </p:cNvPicPr>
          <p:nvPr/>
        </p:nvPicPr>
        <p:blipFill>
          <a:blip r:embed="rId4"/>
          <a:srcRect/>
          <a:stretch/>
        </p:blipFill>
        <p:spPr>
          <a:xfrm>
            <a:off x="883197" y="901251"/>
            <a:ext cx="7599010" cy="3186445"/>
          </a:xfrm>
          <a:prstGeom prst="rect">
            <a:avLst/>
          </a:prstGeom>
        </p:spPr>
      </p:pic>
    </p:spTree>
    <p:custDataLst>
      <p:tags r:id="rId1"/>
    </p:custDataLst>
    <p:extLst>
      <p:ext uri="{BB962C8B-B14F-4D97-AF65-F5344CB8AC3E}">
        <p14:creationId xmlns:p14="http://schemas.microsoft.com/office/powerpoint/2010/main" val="1233287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7C9EE1-E02A-5AD1-380E-78E14F13487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62B71D9-CA8E-C538-E435-FC7634B9F44C}"/>
              </a:ext>
            </a:extLst>
          </p:cNvPr>
          <p:cNvSpPr>
            <a:spLocks noGrp="1"/>
          </p:cNvSpPr>
          <p:nvPr>
            <p:ph type="title"/>
          </p:nvPr>
        </p:nvSpPr>
        <p:spPr>
          <a:xfrm>
            <a:off x="495300" y="143444"/>
            <a:ext cx="8106305" cy="513211"/>
          </a:xfrm>
        </p:spPr>
        <p:txBody>
          <a:bodyPr/>
          <a:lstStyle/>
          <a:p>
            <a:r>
              <a:rPr lang="en-US" sz="2100" dirty="0"/>
              <a:t>Example – Focus on Insights Over Raw Data</a:t>
            </a:r>
          </a:p>
        </p:txBody>
      </p:sp>
      <p:pic>
        <p:nvPicPr>
          <p:cNvPr id="7" name="Picture 6">
            <a:extLst>
              <a:ext uri="{FF2B5EF4-FFF2-40B4-BE49-F238E27FC236}">
                <a16:creationId xmlns:a16="http://schemas.microsoft.com/office/drawing/2014/main" id="{E8B6A84D-07CA-B3C8-CA0F-59B7B13FE0DC}"/>
              </a:ext>
            </a:extLst>
          </p:cNvPr>
          <p:cNvPicPr>
            <a:picLocks noChangeAspect="1"/>
          </p:cNvPicPr>
          <p:nvPr/>
        </p:nvPicPr>
        <p:blipFill>
          <a:blip r:embed="rId4"/>
          <a:srcRect/>
          <a:stretch/>
        </p:blipFill>
        <p:spPr>
          <a:xfrm>
            <a:off x="883197" y="973202"/>
            <a:ext cx="7599010" cy="3042543"/>
          </a:xfrm>
          <a:prstGeom prst="rect">
            <a:avLst/>
          </a:prstGeom>
        </p:spPr>
      </p:pic>
    </p:spTree>
    <p:custDataLst>
      <p:tags r:id="rId1"/>
    </p:custDataLst>
    <p:extLst>
      <p:ext uri="{BB962C8B-B14F-4D97-AF65-F5344CB8AC3E}">
        <p14:creationId xmlns:p14="http://schemas.microsoft.com/office/powerpoint/2010/main" val="1342071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128162-D9CE-6B22-80B3-B5512FEA8AF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B5C049C-1FEF-0D0E-005C-534FD18A4234}"/>
              </a:ext>
            </a:extLst>
          </p:cNvPr>
          <p:cNvSpPr>
            <a:spLocks noGrp="1"/>
          </p:cNvSpPr>
          <p:nvPr>
            <p:ph type="title"/>
          </p:nvPr>
        </p:nvSpPr>
        <p:spPr>
          <a:xfrm>
            <a:off x="495300" y="143444"/>
            <a:ext cx="8106305" cy="513211"/>
          </a:xfrm>
        </p:spPr>
        <p:txBody>
          <a:bodyPr/>
          <a:lstStyle/>
          <a:p>
            <a:r>
              <a:rPr lang="en-US" sz="2100" dirty="0"/>
              <a:t>Example – Focus on Insights Over Raw Data</a:t>
            </a:r>
          </a:p>
        </p:txBody>
      </p:sp>
      <p:pic>
        <p:nvPicPr>
          <p:cNvPr id="7" name="Picture 6">
            <a:extLst>
              <a:ext uri="{FF2B5EF4-FFF2-40B4-BE49-F238E27FC236}">
                <a16:creationId xmlns:a16="http://schemas.microsoft.com/office/drawing/2014/main" id="{4D1CF0B3-36C7-C32E-912B-31F8A67BF8AE}"/>
              </a:ext>
            </a:extLst>
          </p:cNvPr>
          <p:cNvPicPr>
            <a:picLocks noChangeAspect="1"/>
          </p:cNvPicPr>
          <p:nvPr/>
        </p:nvPicPr>
        <p:blipFill>
          <a:blip r:embed="rId4"/>
          <a:srcRect/>
          <a:stretch/>
        </p:blipFill>
        <p:spPr>
          <a:xfrm>
            <a:off x="997368" y="973202"/>
            <a:ext cx="7370667" cy="3042543"/>
          </a:xfrm>
          <a:prstGeom prst="rect">
            <a:avLst/>
          </a:prstGeom>
        </p:spPr>
      </p:pic>
    </p:spTree>
    <p:custDataLst>
      <p:tags r:id="rId1"/>
    </p:custDataLst>
    <p:extLst>
      <p:ext uri="{BB962C8B-B14F-4D97-AF65-F5344CB8AC3E}">
        <p14:creationId xmlns:p14="http://schemas.microsoft.com/office/powerpoint/2010/main" val="4115342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95300" y="109317"/>
            <a:ext cx="8106305" cy="443818"/>
          </a:xfrm>
        </p:spPr>
        <p:txBody>
          <a:bodyPr/>
          <a:lstStyle/>
          <a:p>
            <a:r>
              <a:rPr lang="en-US" sz="2100"/>
              <a:t>Implement &amp; Act</a:t>
            </a:r>
          </a:p>
        </p:txBody>
      </p:sp>
      <p:sp>
        <p:nvSpPr>
          <p:cNvPr id="11" name="Text Placeholder 5">
            <a:extLst>
              <a:ext uri="{FF2B5EF4-FFF2-40B4-BE49-F238E27FC236}">
                <a16:creationId xmlns:a16="http://schemas.microsoft.com/office/drawing/2014/main" id="{DF74717B-6907-0AD1-2A8D-F0391544FE7F}"/>
              </a:ext>
            </a:extLst>
          </p:cNvPr>
          <p:cNvSpPr txBox="1">
            <a:spLocks/>
          </p:cNvSpPr>
          <p:nvPr/>
        </p:nvSpPr>
        <p:spPr>
          <a:xfrm>
            <a:off x="3618718" y="2384588"/>
            <a:ext cx="4991881" cy="814028"/>
          </a:xfrm>
          <a:prstGeom prst="rect">
            <a:avLst/>
          </a:prstGeom>
        </p:spPr>
        <p:txBody>
          <a:bodyPr vert="horz" lIns="182880" tIns="0" rIns="182880" bIns="0" rtlCol="0" anchor="ctr">
            <a:normAutofit/>
          </a:bodyPr>
          <a:lstStyle>
            <a:lvl1pPr marL="0" indent="0" algn="ctr" defTabSz="685800" rtl="0" eaLnBrk="1" fontAlgn="base" hangingPunct="1">
              <a:lnSpc>
                <a:spcPct val="90000"/>
              </a:lnSpc>
              <a:spcBef>
                <a:spcPts val="750"/>
              </a:spcBef>
              <a:spcAft>
                <a:spcPct val="0"/>
              </a:spcAft>
              <a:buClr>
                <a:schemeClr val="accent5"/>
              </a:buClr>
              <a:buFont typeface="Arial" charset="0"/>
              <a:buNone/>
              <a:defRPr sz="1400" b="0" i="0" kern="1200" baseline="0">
                <a:solidFill>
                  <a:schemeClr val="tx1"/>
                </a:solidFill>
                <a:latin typeface="PS TT Commons Light" charset="0"/>
                <a:ea typeface="PS TT Commons Light" charset="0"/>
                <a:cs typeface="PS TT Commons Light" charset="0"/>
                <a:sym typeface="Arial" panose="020B0604020202020204" pitchFamily="34" charset="0"/>
              </a:defRPr>
            </a:lvl1pPr>
            <a:lvl2pPr marL="297065" indent="0" algn="l" defTabSz="685800" rtl="0" eaLnBrk="1" fontAlgn="base" hangingPunct="1">
              <a:lnSpc>
                <a:spcPct val="90000"/>
              </a:lnSpc>
              <a:spcBef>
                <a:spcPts val="375"/>
              </a:spcBef>
              <a:spcAft>
                <a:spcPct val="0"/>
              </a:spcAft>
              <a:buClr>
                <a:schemeClr val="accent5"/>
              </a:buClr>
              <a:buFont typeface="Arial" charset="0"/>
              <a:buNone/>
              <a:defRPr sz="22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596161" indent="0" algn="l" defTabSz="685800" rtl="0" eaLnBrk="1" fontAlgn="base" hangingPunct="1">
              <a:lnSpc>
                <a:spcPct val="90000"/>
              </a:lnSpc>
              <a:spcBef>
                <a:spcPts val="375"/>
              </a:spcBef>
              <a:spcAft>
                <a:spcPct val="0"/>
              </a:spcAft>
              <a:buClr>
                <a:schemeClr val="accent5"/>
              </a:buClr>
              <a:buFont typeface="Arial" charset="0"/>
              <a:buNone/>
              <a:defRPr sz="22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883054" indent="0" algn="l" defTabSz="685800" rtl="0" eaLnBrk="1" fontAlgn="base" hangingPunct="1">
              <a:lnSpc>
                <a:spcPct val="90000"/>
              </a:lnSpc>
              <a:spcBef>
                <a:spcPts val="375"/>
              </a:spcBef>
              <a:spcAft>
                <a:spcPct val="0"/>
              </a:spcAft>
              <a:buClr>
                <a:schemeClr val="accent5"/>
              </a:buClr>
              <a:buFont typeface="Arial" charset="0"/>
              <a:buNone/>
              <a:defRPr sz="22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1096694" indent="0" algn="l" defTabSz="685800" rtl="0" eaLnBrk="1" fontAlgn="base" hangingPunct="1">
              <a:lnSpc>
                <a:spcPct val="90000"/>
              </a:lnSpc>
              <a:spcBef>
                <a:spcPts val="375"/>
              </a:spcBef>
              <a:spcAft>
                <a:spcPct val="0"/>
              </a:spcAft>
              <a:buClr>
                <a:schemeClr val="accent5"/>
              </a:buClr>
              <a:buFont typeface="Arial" charset="0"/>
              <a:buNone/>
              <a:defRPr sz="22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base" latinLnBrk="0" hangingPunct="1">
              <a:lnSpc>
                <a:spcPct val="90000"/>
              </a:lnSpc>
              <a:spcBef>
                <a:spcPts val="750"/>
              </a:spcBef>
              <a:spcAft>
                <a:spcPct val="0"/>
              </a:spcAft>
              <a:buClr>
                <a:srgbClr val="009845"/>
              </a:buClr>
              <a:buSzTx/>
              <a:buFont typeface="Arial" charset="0"/>
              <a:buNone/>
              <a:tabLst/>
              <a:defRPr/>
            </a:pPr>
            <a:endParaRPr kumimoji="0" lang="en-US" sz="21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4" name="Text Placeholder 9">
            <a:extLst>
              <a:ext uri="{FF2B5EF4-FFF2-40B4-BE49-F238E27FC236}">
                <a16:creationId xmlns:a16="http://schemas.microsoft.com/office/drawing/2014/main" id="{29238761-C91B-947A-9EC2-A0E216923320}"/>
              </a:ext>
            </a:extLst>
          </p:cNvPr>
          <p:cNvSpPr txBox="1">
            <a:spLocks/>
          </p:cNvSpPr>
          <p:nvPr/>
        </p:nvSpPr>
        <p:spPr>
          <a:xfrm>
            <a:off x="1295734" y="4316893"/>
            <a:ext cx="6890432" cy="814028"/>
          </a:xfrm>
          <a:prstGeom prst="rect">
            <a:avLst/>
          </a:prstGeom>
        </p:spPr>
        <p:txBody>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base" latinLnBrk="0" hangingPunct="1">
              <a:lnSpc>
                <a:spcPct val="90000"/>
              </a:lnSpc>
              <a:spcBef>
                <a:spcPts val="750"/>
              </a:spcBef>
              <a:spcAft>
                <a:spcPct val="0"/>
              </a:spcAft>
              <a:buClr>
                <a:srgbClr val="009845"/>
              </a:buClr>
              <a:buSzTx/>
              <a:buFont typeface="Arial" charset="0"/>
              <a:buNone/>
              <a:tabLst/>
              <a:defRPr/>
            </a:pPr>
            <a:endParaRPr kumimoji="0" lang="en-US" sz="2100" b="0" i="0" u="none" strike="noStrike" kern="1200" cap="none" spc="0" normalizeH="0" baseline="0" noProof="0">
              <a:ln>
                <a:noFill/>
              </a:ln>
              <a:solidFill>
                <a:srgbClr val="545659"/>
              </a:solidFill>
              <a:effectLst/>
              <a:uLnTx/>
              <a:uFillTx/>
              <a:latin typeface="Arial" panose="020B0604020202020204" pitchFamily="34" charset="0"/>
              <a:cs typeface="Arial" panose="020B0604020202020204" pitchFamily="34" charset="0"/>
              <a:sym typeface="Arial" panose="020B0604020202020204" pitchFamily="34" charset="0"/>
            </a:endParaRPr>
          </a:p>
        </p:txBody>
      </p:sp>
      <p:pic>
        <p:nvPicPr>
          <p:cNvPr id="2" name="Picture 1">
            <a:extLst>
              <a:ext uri="{FF2B5EF4-FFF2-40B4-BE49-F238E27FC236}">
                <a16:creationId xmlns:a16="http://schemas.microsoft.com/office/drawing/2014/main" id="{E56ECE42-74EE-994E-BEA1-7BEEDE40E2DE}"/>
              </a:ext>
            </a:extLst>
          </p:cNvPr>
          <p:cNvPicPr>
            <a:picLocks noChangeAspect="1"/>
          </p:cNvPicPr>
          <p:nvPr/>
        </p:nvPicPr>
        <p:blipFill>
          <a:blip r:embed="rId3"/>
          <a:stretch>
            <a:fillRect/>
          </a:stretch>
        </p:blipFill>
        <p:spPr>
          <a:xfrm>
            <a:off x="-116552" y="886321"/>
            <a:ext cx="4370919" cy="2996534"/>
          </a:xfrm>
          <a:prstGeom prst="rect">
            <a:avLst/>
          </a:prstGeom>
        </p:spPr>
      </p:pic>
      <p:sp>
        <p:nvSpPr>
          <p:cNvPr id="3" name="Oval 2">
            <a:extLst>
              <a:ext uri="{FF2B5EF4-FFF2-40B4-BE49-F238E27FC236}">
                <a16:creationId xmlns:a16="http://schemas.microsoft.com/office/drawing/2014/main" id="{C7B0A904-0474-7906-508B-EC326F8F1DCE}"/>
              </a:ext>
            </a:extLst>
          </p:cNvPr>
          <p:cNvSpPr/>
          <p:nvPr/>
        </p:nvSpPr>
        <p:spPr>
          <a:xfrm>
            <a:off x="2398846" y="2054165"/>
            <a:ext cx="776377" cy="4388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Text Placeholder 4">
            <a:extLst>
              <a:ext uri="{FF2B5EF4-FFF2-40B4-BE49-F238E27FC236}">
                <a16:creationId xmlns:a16="http://schemas.microsoft.com/office/drawing/2014/main" id="{8576B693-5875-EF16-354B-CCD79FB8A238}"/>
              </a:ext>
            </a:extLst>
          </p:cNvPr>
          <p:cNvSpPr>
            <a:spLocks noGrp="1"/>
          </p:cNvSpPr>
          <p:nvPr>
            <p:ph type="body" sz="quarter" idx="14"/>
          </p:nvPr>
        </p:nvSpPr>
        <p:spPr>
          <a:xfrm>
            <a:off x="5931584" y="1807570"/>
            <a:ext cx="3417241" cy="443819"/>
          </a:xfrm>
        </p:spPr>
        <p:txBody>
          <a:bodyPr/>
          <a:lstStyle/>
          <a:p>
            <a:pPr algn="l"/>
            <a:r>
              <a:rPr lang="en-US" sz="1600" b="1">
                <a:solidFill>
                  <a:schemeClr val="bg2"/>
                </a:solidFill>
                <a:latin typeface="Arial" panose="020B0604020202020204" pitchFamily="34" charset="0"/>
                <a:ea typeface="PS TT Commons DemiBold" charset="0"/>
                <a:cs typeface="Arial" panose="020B0604020202020204" pitchFamily="34" charset="0"/>
              </a:rPr>
              <a:t>Allocate Resources</a:t>
            </a:r>
            <a:endParaRPr lang="en-US" sz="1600">
              <a:solidFill>
                <a:schemeClr val="bg2"/>
              </a:solidFill>
              <a:latin typeface="Arial" panose="020B0604020202020204" pitchFamily="34" charset="0"/>
              <a:cs typeface="Arial" panose="020B0604020202020204" pitchFamily="34" charset="0"/>
            </a:endParaRPr>
          </a:p>
        </p:txBody>
      </p:sp>
      <p:sp>
        <p:nvSpPr>
          <p:cNvPr id="5" name="Text Placeholder 5">
            <a:extLst>
              <a:ext uri="{FF2B5EF4-FFF2-40B4-BE49-F238E27FC236}">
                <a16:creationId xmlns:a16="http://schemas.microsoft.com/office/drawing/2014/main" id="{F7E642D0-58A7-5D0C-ED8C-767269966E30}"/>
              </a:ext>
            </a:extLst>
          </p:cNvPr>
          <p:cNvSpPr>
            <a:spLocks noGrp="1"/>
          </p:cNvSpPr>
          <p:nvPr>
            <p:ph type="body" sz="quarter" idx="16"/>
          </p:nvPr>
        </p:nvSpPr>
        <p:spPr>
          <a:xfrm>
            <a:off x="5952740" y="3404020"/>
            <a:ext cx="3297185" cy="379743"/>
          </a:xfrm>
        </p:spPr>
        <p:txBody>
          <a:bodyPr/>
          <a:lstStyle/>
          <a:p>
            <a:pPr algn="l"/>
            <a:r>
              <a:rPr lang="en-US" sz="1600" b="1">
                <a:solidFill>
                  <a:schemeClr val="bg2"/>
                </a:solidFill>
                <a:latin typeface="Arial" panose="020B0604020202020204" pitchFamily="34" charset="0"/>
                <a:ea typeface="PS TT Commons DemiBold" charset="0"/>
                <a:cs typeface="Arial" panose="020B0604020202020204" pitchFamily="34" charset="0"/>
              </a:rPr>
              <a:t>Communicate Progress</a:t>
            </a:r>
          </a:p>
        </p:txBody>
      </p:sp>
      <p:sp>
        <p:nvSpPr>
          <p:cNvPr id="6" name="Text Placeholder 6">
            <a:extLst>
              <a:ext uri="{FF2B5EF4-FFF2-40B4-BE49-F238E27FC236}">
                <a16:creationId xmlns:a16="http://schemas.microsoft.com/office/drawing/2014/main" id="{E0678C40-7AB8-984A-E7F1-9B83983C845E}"/>
              </a:ext>
            </a:extLst>
          </p:cNvPr>
          <p:cNvSpPr txBox="1">
            <a:spLocks/>
          </p:cNvSpPr>
          <p:nvPr/>
        </p:nvSpPr>
        <p:spPr>
          <a:xfrm>
            <a:off x="6039771" y="2601782"/>
            <a:ext cx="2882665" cy="443819"/>
          </a:xfrm>
          <a:prstGeom prst="rect">
            <a:avLst/>
          </a:prstGeom>
          <a:ln>
            <a:noFill/>
          </a:ln>
        </p:spPr>
        <p:txBody>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base" latinLnBrk="0" hangingPunct="1">
              <a:lnSpc>
                <a:spcPct val="90000"/>
              </a:lnSpc>
              <a:spcBef>
                <a:spcPts val="750"/>
              </a:spcBef>
              <a:spcAft>
                <a:spcPct val="0"/>
              </a:spcAft>
              <a:buClr>
                <a:srgbClr val="009845"/>
              </a:buClr>
              <a:buSzTx/>
              <a:buFont typeface="Arial" charset="0"/>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PS TT Commons DemiBold" charset="0"/>
                <a:cs typeface="Arial" panose="020B0604020202020204" pitchFamily="34" charset="0"/>
                <a:sym typeface="Arial" panose="020B0604020202020204" pitchFamily="34" charset="0"/>
              </a:rPr>
              <a:t>Execute the Plan</a:t>
            </a:r>
            <a:endParaRPr kumimoji="0" lang="en-US" sz="1600" b="0" i="0" u="none" strike="noStrike" kern="1200" cap="none" spc="0" normalizeH="0" baseline="0" noProof="0">
              <a:ln>
                <a:noFill/>
              </a:ln>
              <a:solidFill>
                <a:schemeClr val="bg2"/>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7" name="Text Placeholder 5">
            <a:extLst>
              <a:ext uri="{FF2B5EF4-FFF2-40B4-BE49-F238E27FC236}">
                <a16:creationId xmlns:a16="http://schemas.microsoft.com/office/drawing/2014/main" id="{BBCB3F85-EE9A-F18F-0A19-6F017815E807}"/>
              </a:ext>
            </a:extLst>
          </p:cNvPr>
          <p:cNvSpPr txBox="1">
            <a:spLocks/>
          </p:cNvSpPr>
          <p:nvPr/>
        </p:nvSpPr>
        <p:spPr>
          <a:xfrm>
            <a:off x="5956335" y="4237769"/>
            <a:ext cx="2882665" cy="320040"/>
          </a:xfrm>
          <a:prstGeom prst="rect">
            <a:avLst/>
          </a:prstGeom>
        </p:spPr>
        <p:txBody>
          <a:bodyPr vert="horz" lIns="182880" tIns="0" rIns="182880" bIns="0" rtlCol="0">
            <a:noAutofit/>
          </a:bodyPr>
          <a:lstStyle>
            <a:lvl1pPr marL="0" indent="0" algn="ctr" defTabSz="685800" rtl="0" eaLnBrk="1" fontAlgn="base" hangingPunct="1">
              <a:lnSpc>
                <a:spcPct val="100000"/>
              </a:lnSpc>
              <a:spcBef>
                <a:spcPts val="0"/>
              </a:spcBef>
              <a:spcAft>
                <a:spcPct val="0"/>
              </a:spcAft>
              <a:buClr>
                <a:schemeClr val="accent5"/>
              </a:buClr>
              <a:buFont typeface="Arial" charset="0"/>
              <a:buNone/>
              <a:defRPr sz="1700" b="0" i="0" kern="1200">
                <a:solidFill>
                  <a:schemeClr val="tx1"/>
                </a:solidFill>
                <a:latin typeface="+mn-lt"/>
                <a:ea typeface="PS TT Commons Light" charset="0"/>
                <a:cs typeface="PS TT Commons Light" charset="0"/>
                <a:sym typeface="Arial" panose="020B0604020202020204" pitchFamily="34" charset="0"/>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base" latinLnBrk="0" hangingPunct="1">
              <a:lnSpc>
                <a:spcPct val="100000"/>
              </a:lnSpc>
              <a:spcBef>
                <a:spcPts val="0"/>
              </a:spcBef>
              <a:spcAft>
                <a:spcPct val="0"/>
              </a:spcAft>
              <a:buClr>
                <a:srgbClr val="009845"/>
              </a:buClr>
              <a:buSzTx/>
              <a:buFont typeface="Arial" charset="0"/>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PS TT Commons DemiBold" charset="0"/>
                <a:cs typeface="Arial" panose="020B0604020202020204" pitchFamily="34" charset="0"/>
                <a:sym typeface="Arial" panose="020B0604020202020204" pitchFamily="34" charset="0"/>
              </a:rPr>
              <a:t>Monitor Key Metrics</a:t>
            </a:r>
          </a:p>
        </p:txBody>
      </p:sp>
      <p:sp>
        <p:nvSpPr>
          <p:cNvPr id="9" name="Text Placeholder 4">
            <a:extLst>
              <a:ext uri="{FF2B5EF4-FFF2-40B4-BE49-F238E27FC236}">
                <a16:creationId xmlns:a16="http://schemas.microsoft.com/office/drawing/2014/main" id="{B242F1CC-1F2B-89C9-1A5C-28E7BF264041}"/>
              </a:ext>
            </a:extLst>
          </p:cNvPr>
          <p:cNvSpPr txBox="1">
            <a:spLocks/>
          </p:cNvSpPr>
          <p:nvPr/>
        </p:nvSpPr>
        <p:spPr>
          <a:xfrm>
            <a:off x="5856493" y="927730"/>
            <a:ext cx="2882665" cy="443818"/>
          </a:xfrm>
          <a:prstGeom prst="rect">
            <a:avLst/>
          </a:prstGeom>
        </p:spPr>
        <p:txBody>
          <a:bodyPr vert="horz" lIns="182880" tIns="0" rIns="182880" bIns="0" rtlCol="0">
            <a:noAutofit/>
          </a:bodyPr>
          <a:lstStyle>
            <a:lvl1pPr marL="0" indent="0" algn="ctr" defTabSz="685800" rtl="0" eaLnBrk="1" fontAlgn="base" hangingPunct="1">
              <a:lnSpc>
                <a:spcPct val="100000"/>
              </a:lnSpc>
              <a:spcBef>
                <a:spcPts val="0"/>
              </a:spcBef>
              <a:spcAft>
                <a:spcPct val="0"/>
              </a:spcAft>
              <a:buClr>
                <a:schemeClr val="accent5"/>
              </a:buClr>
              <a:buFont typeface="Arial" charset="0"/>
              <a:buNone/>
              <a:defRPr sz="1700" b="0" i="0" kern="1200">
                <a:solidFill>
                  <a:schemeClr val="tx1"/>
                </a:solidFill>
                <a:latin typeface="+mn-lt"/>
                <a:ea typeface="PS TT Commons Light" charset="0"/>
                <a:cs typeface="PS TT Commons Light" charset="0"/>
                <a:sym typeface="Arial" panose="020B0604020202020204" pitchFamily="34" charset="0"/>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ts val="0"/>
              </a:spcBef>
              <a:spcAft>
                <a:spcPct val="0"/>
              </a:spcAft>
              <a:buClr>
                <a:srgbClr val="009845"/>
              </a:buClr>
              <a:buSzTx/>
              <a:buFont typeface="Arial" charset="0"/>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cs typeface="Arial" panose="020B0604020202020204" pitchFamily="34" charset="0"/>
                <a:sym typeface="Arial" panose="020B0604020202020204" pitchFamily="34" charset="0"/>
              </a:rPr>
              <a:t>Develop and Action Plan</a:t>
            </a:r>
            <a:endParaRPr kumimoji="0" lang="en-US" sz="1600" b="0" i="0" u="none" strike="noStrike" kern="1200" cap="none" spc="0" normalizeH="0" baseline="0" noProof="0">
              <a:ln>
                <a:noFill/>
              </a:ln>
              <a:solidFill>
                <a:schemeClr val="bg2"/>
              </a:solidFill>
              <a:effectLst/>
              <a:uLnTx/>
              <a:uFillTx/>
              <a:latin typeface="Arial" panose="020B0604020202020204" pitchFamily="34" charset="0"/>
              <a:cs typeface="Arial" panose="020B0604020202020204" pitchFamily="34" charset="0"/>
              <a:sym typeface="Arial" panose="020B0604020202020204" pitchFamily="34" charset="0"/>
            </a:endParaRPr>
          </a:p>
        </p:txBody>
      </p:sp>
      <p:pic>
        <p:nvPicPr>
          <p:cNvPr id="19" name="Graphic 18" descr="Bar graph with upward trend with solid fill">
            <a:extLst>
              <a:ext uri="{FF2B5EF4-FFF2-40B4-BE49-F238E27FC236}">
                <a16:creationId xmlns:a16="http://schemas.microsoft.com/office/drawing/2014/main" id="{129CB7D2-54B7-9CC5-DAAB-B08EEA0FFCE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46243" y="4067708"/>
            <a:ext cx="640080" cy="640080"/>
          </a:xfrm>
          <a:prstGeom prst="rect">
            <a:avLst/>
          </a:prstGeom>
        </p:spPr>
      </p:pic>
      <p:pic>
        <p:nvPicPr>
          <p:cNvPr id="21" name="Graphic 20" descr="Megaphone with solid fill">
            <a:extLst>
              <a:ext uri="{FF2B5EF4-FFF2-40B4-BE49-F238E27FC236}">
                <a16:creationId xmlns:a16="http://schemas.microsoft.com/office/drawing/2014/main" id="{326D1398-67DC-10F8-4254-665DF01BD8F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27994" y="3237472"/>
            <a:ext cx="640080" cy="640080"/>
          </a:xfrm>
          <a:prstGeom prst="rect">
            <a:avLst/>
          </a:prstGeom>
        </p:spPr>
      </p:pic>
      <p:pic>
        <p:nvPicPr>
          <p:cNvPr id="23" name="Graphic 22" descr="Play with solid fill">
            <a:extLst>
              <a:ext uri="{FF2B5EF4-FFF2-40B4-BE49-F238E27FC236}">
                <a16:creationId xmlns:a16="http://schemas.microsoft.com/office/drawing/2014/main" id="{1BEE0EAD-7E00-1C80-4BB5-FF9E707F024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31688" y="2480386"/>
            <a:ext cx="640080" cy="640080"/>
          </a:xfrm>
          <a:prstGeom prst="rect">
            <a:avLst/>
          </a:prstGeom>
        </p:spPr>
      </p:pic>
      <p:pic>
        <p:nvPicPr>
          <p:cNvPr id="25" name="Graphic 24" descr="Briefcase with solid fill">
            <a:extLst>
              <a:ext uri="{FF2B5EF4-FFF2-40B4-BE49-F238E27FC236}">
                <a16:creationId xmlns:a16="http://schemas.microsoft.com/office/drawing/2014/main" id="{E2780D9B-ABE6-1224-DD2A-5DED9618BC9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120755" y="1620889"/>
            <a:ext cx="640080" cy="640080"/>
          </a:xfrm>
          <a:prstGeom prst="rect">
            <a:avLst/>
          </a:prstGeom>
        </p:spPr>
      </p:pic>
      <p:pic>
        <p:nvPicPr>
          <p:cNvPr id="27" name="Graphic 26" descr="Daily calendar with solid fill">
            <a:extLst>
              <a:ext uri="{FF2B5EF4-FFF2-40B4-BE49-F238E27FC236}">
                <a16:creationId xmlns:a16="http://schemas.microsoft.com/office/drawing/2014/main" id="{E64F03B6-6043-B04E-459C-38CC86F9E39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95190" y="768707"/>
            <a:ext cx="640080" cy="640080"/>
          </a:xfrm>
          <a:prstGeom prst="rect">
            <a:avLst/>
          </a:prstGeom>
        </p:spPr>
      </p:pic>
    </p:spTree>
    <p:extLst>
      <p:ext uri="{BB962C8B-B14F-4D97-AF65-F5344CB8AC3E}">
        <p14:creationId xmlns:p14="http://schemas.microsoft.com/office/powerpoint/2010/main" val="102003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subTnLst>
                                    <p:animClr clrSpc="rgb" dir="cw">
                                      <p:cBhvr override="childStyle">
                                        <p:cTn dur="1" fill="hold" display="0" masterRel="nextClick" afterEffect="1"/>
                                        <p:tgtEl>
                                          <p:spTgt spid="9"/>
                                        </p:tgtEl>
                                        <p:attrNameLst>
                                          <p:attrName>ppt_c</p:attrName>
                                        </p:attrNameLst>
                                      </p:cBhvr>
                                      <p:to>
                                        <a:schemeClr val="tx1"/>
                                      </p:to>
                                    </p:animClr>
                                  </p:subTnLst>
                                </p:cTn>
                              </p:par>
                              <p:par>
                                <p:cTn id="7" presetID="1" presetClass="entr" presetSubtype="0" fill="hold"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subTnLst>
                                    <p:animClr clrSpc="rgb" dir="cw">
                                      <p:cBhvr override="childStyle">
                                        <p:cTn dur="1" fill="hold" display="0" masterRel="nextClick" afterEffect="1"/>
                                        <p:tgtEl>
                                          <p:spTgt spid="27"/>
                                        </p:tgtEl>
                                        <p:attrNameLst>
                                          <p:attrName>ppt_c</p:attrName>
                                        </p:attrNameLst>
                                      </p:cBhvr>
                                      <p:to>
                                        <a:srgbClr val="B2B2B2"/>
                                      </p:to>
                                    </p:animClr>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4">
                                            <p:txEl>
                                              <p:pRg st="0" end="0"/>
                                            </p:txEl>
                                          </p:spTgt>
                                        </p:tgtEl>
                                        <p:attrNameLst>
                                          <p:attrName>ppt_c</p:attrName>
                                        </p:attrNameLst>
                                      </p:cBhvr>
                                      <p:to>
                                        <a:schemeClr val="tx1"/>
                                      </p:to>
                                    </p:animClr>
                                  </p:subTnLst>
                                </p:cTn>
                              </p:par>
                              <p:par>
                                <p:cTn id="13" presetID="1" presetClass="entr" presetSubtype="0" fill="hold" nodeType="withEffect">
                                  <p:stCondLst>
                                    <p:cond delay="0"/>
                                  </p:stCondLst>
                                  <p:childTnLst>
                                    <p:set>
                                      <p:cBhvr>
                                        <p:cTn id="14" dur="1" fill="hold">
                                          <p:stCondLst>
                                            <p:cond delay="0"/>
                                          </p:stCondLst>
                                        </p:cTn>
                                        <p:tgtEl>
                                          <p:spTgt spid="25"/>
                                        </p:tgtEl>
                                        <p:attrNameLst>
                                          <p:attrName>style.visibility</p:attrName>
                                        </p:attrNameLst>
                                      </p:cBhvr>
                                      <p:to>
                                        <p:strVal val="visible"/>
                                      </p:to>
                                    </p:set>
                                  </p:childTnLst>
                                  <p:subTnLst>
                                    <p:animClr clrSpc="rgb" dir="cw">
                                      <p:cBhvr override="childStyle">
                                        <p:cTn dur="1" fill="hold" display="0" masterRel="nextClick" afterEffect="1"/>
                                        <p:tgtEl>
                                          <p:spTgt spid="25"/>
                                        </p:tgtEl>
                                        <p:attrNameLst>
                                          <p:attrName>ppt_c</p:attrName>
                                        </p:attrNameLst>
                                      </p:cBhvr>
                                      <p:to>
                                        <a:srgbClr val="B2B2B2"/>
                                      </p:to>
                                    </p:animClr>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subTnLst>
                                    <p:animClr clrSpc="rgb" dir="cw">
                                      <p:cBhvr override="childStyle">
                                        <p:cTn dur="1" fill="hold" display="0" masterRel="nextClick" afterEffect="1"/>
                                        <p:tgtEl>
                                          <p:spTgt spid="23"/>
                                        </p:tgtEl>
                                        <p:attrNameLst>
                                          <p:attrName>ppt_c</p:attrName>
                                        </p:attrNameLst>
                                      </p:cBhvr>
                                      <p:to>
                                        <a:srgbClr val="B2B2B2"/>
                                      </p:to>
                                    </p:animClr>
                                  </p:subTnLst>
                                </p:cTn>
                              </p:par>
                              <p:par>
                                <p:cTn id="19" presetID="1" presetClass="entr" presetSubtype="0"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subTnLst>
                                    <p:animClr clrSpc="rgb" dir="cw">
                                      <p:cBhvr override="childStyle">
                                        <p:cTn dur="1" fill="hold" display="0" masterRel="nextClick" afterEffect="1"/>
                                        <p:tgtEl>
                                          <p:spTgt spid="6"/>
                                        </p:tgtEl>
                                        <p:attrNameLst>
                                          <p:attrName>ppt_c</p:attrName>
                                        </p:attrNameLst>
                                      </p:cBhvr>
                                      <p:to>
                                        <a:schemeClr val="tx1"/>
                                      </p:to>
                                    </p:animClr>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childTnLst>
                                  <p:subTnLst>
                                    <p:animClr clrSpc="rgb" dir="cw">
                                      <p:cBhvr override="childStyle">
                                        <p:cTn dur="1" fill="hold" display="0" masterRel="nextClick" afterEffect="1"/>
                                        <p:tgtEl>
                                          <p:spTgt spid="21"/>
                                        </p:tgtEl>
                                        <p:attrNameLst>
                                          <p:attrName>ppt_c</p:attrName>
                                        </p:attrNameLst>
                                      </p:cBhvr>
                                      <p:to>
                                        <a:srgbClr val="B2B2B2"/>
                                      </p:to>
                                    </p:animClr>
                                  </p:subTnLst>
                                </p:cTn>
                              </p:par>
                              <p:par>
                                <p:cTn id="25" presetID="1" presetClass="entr" presetSubtype="0" fill="hold" grpId="0" nodeType="withEffect">
                                  <p:stCondLst>
                                    <p:cond delay="0"/>
                                  </p:stCondLst>
                                  <p:childTnLst>
                                    <p:set>
                                      <p:cBhvr>
                                        <p:cTn id="26" dur="1" fill="hold">
                                          <p:stCondLst>
                                            <p:cond delay="0"/>
                                          </p:stCondLst>
                                        </p:cTn>
                                        <p:tgtEl>
                                          <p:spTgt spid="5">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5">
                                            <p:txEl>
                                              <p:pRg st="0" end="0"/>
                                            </p:txEl>
                                          </p:spTgt>
                                        </p:tgtEl>
                                        <p:attrNameLst>
                                          <p:attrName>ppt_c</p:attrName>
                                        </p:attrNameLst>
                                      </p:cBhvr>
                                      <p:to>
                                        <a:schemeClr val="tx1"/>
                                      </p:to>
                                    </p:animClr>
                                  </p:sub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9"/>
                                        </p:tgtEl>
                                        <p:attrNameLst>
                                          <p:attrName>style.visibility</p:attrName>
                                        </p:attrNameLst>
                                      </p:cBhvr>
                                      <p:to>
                                        <p:strVal val="visible"/>
                                      </p:to>
                                    </p:set>
                                  </p:childTnLst>
                                  <p:subTnLst>
                                    <p:animClr clrSpc="rgb" dir="cw">
                                      <p:cBhvr override="childStyle">
                                        <p:cTn dur="1" fill="hold" display="0" masterRel="nextClick" afterEffect="1"/>
                                        <p:tgtEl>
                                          <p:spTgt spid="19"/>
                                        </p:tgtEl>
                                        <p:attrNameLst>
                                          <p:attrName>ppt_c</p:attrName>
                                        </p:attrNameLst>
                                      </p:cBhvr>
                                      <p:to>
                                        <a:srgbClr val="B2B2B2"/>
                                      </p:to>
                                    </p:animClr>
                                  </p:subTnLst>
                                </p:cTn>
                              </p:par>
                              <p:par>
                                <p:cTn id="31" presetID="1" presetClass="entr" presetSubtype="0" fill="hold" grpId="0" nodeType="withEffect">
                                  <p:stCondLst>
                                    <p:cond delay="0"/>
                                  </p:stCondLst>
                                  <p:childTnLst>
                                    <p:set>
                                      <p:cBhvr>
                                        <p:cTn id="32" dur="1" fill="hold">
                                          <p:stCondLst>
                                            <p:cond delay="0"/>
                                          </p:stCondLst>
                                        </p:cTn>
                                        <p:tgtEl>
                                          <p:spTgt spid="7"/>
                                        </p:tgtEl>
                                        <p:attrNameLst>
                                          <p:attrName>style.visibility</p:attrName>
                                        </p:attrNameLst>
                                      </p:cBhvr>
                                      <p:to>
                                        <p:strVal val="visible"/>
                                      </p:to>
                                    </p:set>
                                  </p:childTnLst>
                                  <p:subTnLst>
                                    <p:animClr clrSpc="rgb" dir="cw">
                                      <p:cBhvr override="childStyle">
                                        <p:cTn dur="1" fill="hold" display="0" masterRel="nextClick" afterEffect="1"/>
                                        <p:tgtEl>
                                          <p:spTgt spid="7"/>
                                        </p:tgtEl>
                                        <p:attrNameLst>
                                          <p:attrName>ppt_c</p:attrName>
                                        </p:attrNameLst>
                                      </p:cBhvr>
                                      <p:to>
                                        <a:schemeClr val="tx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P spid="6" grpId="0"/>
      <p:bldP spid="7" grpId="0"/>
      <p:bldP spid="9"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5AAB1-F9EB-7E27-26AA-48BA9BBA3EA1}"/>
              </a:ext>
            </a:extLst>
          </p:cNvPr>
          <p:cNvSpPr>
            <a:spLocks noGrp="1"/>
          </p:cNvSpPr>
          <p:nvPr>
            <p:ph type="title"/>
          </p:nvPr>
        </p:nvSpPr>
        <p:spPr>
          <a:xfrm>
            <a:off x="504294" y="77994"/>
            <a:ext cx="8639706" cy="391380"/>
          </a:xfrm>
        </p:spPr>
        <p:txBody>
          <a:bodyPr/>
          <a:lstStyle/>
          <a:p>
            <a:r>
              <a:rPr lang="en-US" sz="2100"/>
              <a:t>Monitor &amp; Evaluate</a:t>
            </a:r>
          </a:p>
        </p:txBody>
      </p:sp>
      <p:pic>
        <p:nvPicPr>
          <p:cNvPr id="4" name="Picture 3">
            <a:extLst>
              <a:ext uri="{FF2B5EF4-FFF2-40B4-BE49-F238E27FC236}">
                <a16:creationId xmlns:a16="http://schemas.microsoft.com/office/drawing/2014/main" id="{AC0BCA3C-427C-0541-19A0-BEA4C438BCB4}"/>
              </a:ext>
            </a:extLst>
          </p:cNvPr>
          <p:cNvPicPr>
            <a:picLocks noChangeAspect="1"/>
          </p:cNvPicPr>
          <p:nvPr/>
        </p:nvPicPr>
        <p:blipFill>
          <a:blip r:embed="rId2"/>
          <a:stretch>
            <a:fillRect/>
          </a:stretch>
        </p:blipFill>
        <p:spPr>
          <a:xfrm>
            <a:off x="504294" y="930173"/>
            <a:ext cx="3925939" cy="3283153"/>
          </a:xfrm>
          <a:prstGeom prst="rect">
            <a:avLst/>
          </a:prstGeom>
        </p:spPr>
      </p:pic>
      <p:sp>
        <p:nvSpPr>
          <p:cNvPr id="3" name="Oval 2">
            <a:extLst>
              <a:ext uri="{FF2B5EF4-FFF2-40B4-BE49-F238E27FC236}">
                <a16:creationId xmlns:a16="http://schemas.microsoft.com/office/drawing/2014/main" id="{6C14773B-9BEE-2CB5-631C-DFE4DB16FE66}"/>
              </a:ext>
            </a:extLst>
          </p:cNvPr>
          <p:cNvSpPr/>
          <p:nvPr/>
        </p:nvSpPr>
        <p:spPr>
          <a:xfrm>
            <a:off x="2536167" y="2352314"/>
            <a:ext cx="776377" cy="4388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TextBox 4">
            <a:extLst>
              <a:ext uri="{FF2B5EF4-FFF2-40B4-BE49-F238E27FC236}">
                <a16:creationId xmlns:a16="http://schemas.microsoft.com/office/drawing/2014/main" id="{70DDBDC8-E226-63DF-D1E9-B9F98D5F9766}"/>
              </a:ext>
            </a:extLst>
          </p:cNvPr>
          <p:cNvSpPr txBox="1"/>
          <p:nvPr/>
        </p:nvSpPr>
        <p:spPr>
          <a:xfrm>
            <a:off x="6446512" y="924147"/>
            <a:ext cx="2415318" cy="830997"/>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rPr>
              <a:t>Monitor Short-Term and Long-Term Outcomes</a:t>
            </a:r>
          </a:p>
        </p:txBody>
      </p:sp>
      <p:sp>
        <p:nvSpPr>
          <p:cNvPr id="6" name="TextBox 5">
            <a:extLst>
              <a:ext uri="{FF2B5EF4-FFF2-40B4-BE49-F238E27FC236}">
                <a16:creationId xmlns:a16="http://schemas.microsoft.com/office/drawing/2014/main" id="{383561BE-5358-62BB-8E77-9B7CC87BCCA7}"/>
              </a:ext>
            </a:extLst>
          </p:cNvPr>
          <p:cNvSpPr txBox="1"/>
          <p:nvPr/>
        </p:nvSpPr>
        <p:spPr>
          <a:xfrm>
            <a:off x="6451622" y="3692666"/>
            <a:ext cx="2965558" cy="830997"/>
          </a:xfrm>
          <a:prstGeom prst="rect">
            <a:avLst/>
          </a:prstGeom>
          <a:noFill/>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rPr>
              <a:t>Adjust and Refine for Continuous Improvement</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endParaRPr>
          </a:p>
        </p:txBody>
      </p:sp>
      <p:sp>
        <p:nvSpPr>
          <p:cNvPr id="13" name="TextBox 12">
            <a:extLst>
              <a:ext uri="{FF2B5EF4-FFF2-40B4-BE49-F238E27FC236}">
                <a16:creationId xmlns:a16="http://schemas.microsoft.com/office/drawing/2014/main" id="{65EFC7A8-3018-52E0-3DBE-12186A2A4C99}"/>
              </a:ext>
            </a:extLst>
          </p:cNvPr>
          <p:cNvSpPr txBox="1"/>
          <p:nvPr/>
        </p:nvSpPr>
        <p:spPr>
          <a:xfrm>
            <a:off x="6478366" y="2267331"/>
            <a:ext cx="2526486" cy="830997"/>
          </a:xfrm>
          <a:prstGeom prst="rect">
            <a:avLst/>
          </a:prstGeom>
          <a:noFill/>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rPr>
              <a:t>Assess the Decision-Making Process</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endParaRPr>
          </a:p>
        </p:txBody>
      </p:sp>
      <p:pic>
        <p:nvPicPr>
          <p:cNvPr id="14" name="Graphic 13" descr="Clipboard Checked with solid fill">
            <a:extLst>
              <a:ext uri="{FF2B5EF4-FFF2-40B4-BE49-F238E27FC236}">
                <a16:creationId xmlns:a16="http://schemas.microsoft.com/office/drawing/2014/main" id="{A59ACE1B-C384-24DE-9348-F1A9677FD7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11871" y="907228"/>
            <a:ext cx="640080" cy="640080"/>
          </a:xfrm>
          <a:prstGeom prst="rect">
            <a:avLst/>
          </a:prstGeom>
        </p:spPr>
      </p:pic>
      <p:pic>
        <p:nvPicPr>
          <p:cNvPr id="15" name="Graphic 14" descr="Warning with solid fill">
            <a:extLst>
              <a:ext uri="{FF2B5EF4-FFF2-40B4-BE49-F238E27FC236}">
                <a16:creationId xmlns:a16="http://schemas.microsoft.com/office/drawing/2014/main" id="{5B2740A3-0C20-D9F4-5B78-1B60DCFCA0F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70704" y="3599927"/>
            <a:ext cx="640080" cy="640080"/>
          </a:xfrm>
          <a:prstGeom prst="rect">
            <a:avLst/>
          </a:prstGeom>
        </p:spPr>
      </p:pic>
      <p:pic>
        <p:nvPicPr>
          <p:cNvPr id="16" name="Graphic 15" descr="Scales of justice with solid fill">
            <a:extLst>
              <a:ext uri="{FF2B5EF4-FFF2-40B4-BE49-F238E27FC236}">
                <a16:creationId xmlns:a16="http://schemas.microsoft.com/office/drawing/2014/main" id="{684FBAFF-D1B6-4CF4-160B-82E38E17DA5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42623" y="2231231"/>
            <a:ext cx="640080" cy="640080"/>
          </a:xfrm>
          <a:prstGeom prst="rect">
            <a:avLst/>
          </a:prstGeom>
        </p:spPr>
      </p:pic>
    </p:spTree>
    <p:extLst>
      <p:ext uri="{BB962C8B-B14F-4D97-AF65-F5344CB8AC3E}">
        <p14:creationId xmlns:p14="http://schemas.microsoft.com/office/powerpoint/2010/main" val="4103837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subTnLst>
                                    <p:animClr clrSpc="rgb" dir="cw">
                                      <p:cBhvr override="childStyle">
                                        <p:cTn dur="1" fill="hold" display="0" masterRel="nextClick" afterEffect="1"/>
                                        <p:tgtEl>
                                          <p:spTgt spid="5"/>
                                        </p:tgtEl>
                                        <p:attrNameLst>
                                          <p:attrName>ppt_c</p:attrName>
                                        </p:attrNameLst>
                                      </p:cBhvr>
                                      <p:to>
                                        <a:schemeClr val="tx1"/>
                                      </p:to>
                                    </p:animClr>
                                  </p:sub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subTnLst>
                                    <p:animClr clrSpc="rgb" dir="cw">
                                      <p:cBhvr override="childStyle">
                                        <p:cTn dur="1" fill="hold" display="0" masterRel="nextClick" afterEffect="1"/>
                                        <p:tgtEl>
                                          <p:spTgt spid="14"/>
                                        </p:tgtEl>
                                        <p:attrNameLst>
                                          <p:attrName>ppt_c</p:attrName>
                                        </p:attrNameLst>
                                      </p:cBhvr>
                                      <p:to>
                                        <a:srgbClr val="B2B2B2"/>
                                      </p:to>
                                    </p:animClr>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subTnLst>
                                    <p:animClr clrSpc="rgb" dir="cw">
                                      <p:cBhvr override="childStyle">
                                        <p:cTn dur="1" fill="hold" display="0" masterRel="nextClick" afterEffect="1"/>
                                        <p:tgtEl>
                                          <p:spTgt spid="13"/>
                                        </p:tgtEl>
                                        <p:attrNameLst>
                                          <p:attrName>ppt_c</p:attrName>
                                        </p:attrNameLst>
                                      </p:cBhvr>
                                      <p:to>
                                        <a:schemeClr val="tx1"/>
                                      </p:to>
                                    </p:animClr>
                                  </p:sub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subTnLst>
                                    <p:animClr clrSpc="rgb" dir="cw">
                                      <p:cBhvr override="childStyle">
                                        <p:cTn dur="1" fill="hold" display="0" masterRel="nextClick" afterEffect="1"/>
                                        <p:tgtEl>
                                          <p:spTgt spid="16"/>
                                        </p:tgtEl>
                                        <p:attrNameLst>
                                          <p:attrName>ppt_c</p:attrName>
                                        </p:attrNameLst>
                                      </p:cBhvr>
                                      <p:to>
                                        <a:srgbClr val="B2B2B2"/>
                                      </p:to>
                                    </p:animClr>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subTnLst>
                                    <p:animClr clrSpc="rgb" dir="cw">
                                      <p:cBhvr override="childStyle">
                                        <p:cTn dur="1" fill="hold" display="0" masterRel="nextClick" afterEffect="1"/>
                                        <p:tgtEl>
                                          <p:spTgt spid="6"/>
                                        </p:tgtEl>
                                        <p:attrNameLst>
                                          <p:attrName>ppt_c</p:attrName>
                                        </p:attrNameLst>
                                      </p:cBhvr>
                                      <p:to>
                                        <a:schemeClr val="tx1"/>
                                      </p:to>
                                    </p:animClr>
                                  </p:subTnLst>
                                </p:cTn>
                              </p:par>
                              <p:par>
                                <p:cTn id="19" presetID="1" presetClass="entr" presetSubtype="0"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subTnLst>
                                    <p:animClr clrSpc="rgb" dir="cw">
                                      <p:cBhvr override="childStyle">
                                        <p:cTn dur="1" fill="hold" display="0" masterRel="nextClick" afterEffect="1"/>
                                        <p:tgtEl>
                                          <p:spTgt spid="15"/>
                                        </p:tgtEl>
                                        <p:attrNameLst>
                                          <p:attrName>ppt_c</p:attrName>
                                        </p:attrNameLst>
                                      </p:cBhvr>
                                      <p:to>
                                        <a:srgbClr val="B2B2B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13"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5AAB1-F9EB-7E27-26AA-48BA9BBA3EA1}"/>
              </a:ext>
            </a:extLst>
          </p:cNvPr>
          <p:cNvSpPr>
            <a:spLocks noGrp="1"/>
          </p:cNvSpPr>
          <p:nvPr>
            <p:ph type="title"/>
          </p:nvPr>
        </p:nvSpPr>
        <p:spPr>
          <a:xfrm>
            <a:off x="504294" y="107491"/>
            <a:ext cx="8639706" cy="391380"/>
          </a:xfrm>
        </p:spPr>
        <p:txBody>
          <a:bodyPr/>
          <a:lstStyle/>
          <a:p>
            <a:r>
              <a:rPr lang="en-US" sz="2100"/>
              <a:t>Assess the Decision-Making Process</a:t>
            </a:r>
          </a:p>
        </p:txBody>
      </p:sp>
      <p:sp>
        <p:nvSpPr>
          <p:cNvPr id="24" name="TextBox 23">
            <a:extLst>
              <a:ext uri="{FF2B5EF4-FFF2-40B4-BE49-F238E27FC236}">
                <a16:creationId xmlns:a16="http://schemas.microsoft.com/office/drawing/2014/main" id="{EAA8A9E2-DC29-B0C5-5726-AFF3996840EB}"/>
              </a:ext>
            </a:extLst>
          </p:cNvPr>
          <p:cNvSpPr txBox="1"/>
          <p:nvPr/>
        </p:nvSpPr>
        <p:spPr>
          <a:xfrm>
            <a:off x="0" y="1556642"/>
            <a:ext cx="4696238" cy="584775"/>
          </a:xfrm>
          <a:prstGeom prst="rect">
            <a:avLst/>
          </a:prstGeom>
          <a:noFill/>
        </p:spPr>
        <p:txBody>
          <a:bodyPr wrap="square">
            <a:spAutoFit/>
          </a:bodyPr>
          <a:lstStyle/>
          <a:p>
            <a:pPr algn="ctr"/>
            <a:r>
              <a:rPr lang="en-US" sz="1600" b="1">
                <a:latin typeface="+mj-lt"/>
              </a:rPr>
              <a:t>A successful outcome despite a flawed process</a:t>
            </a:r>
          </a:p>
        </p:txBody>
      </p:sp>
      <p:sp>
        <p:nvSpPr>
          <p:cNvPr id="26" name="TextBox 25">
            <a:extLst>
              <a:ext uri="{FF2B5EF4-FFF2-40B4-BE49-F238E27FC236}">
                <a16:creationId xmlns:a16="http://schemas.microsoft.com/office/drawing/2014/main" id="{59D128CF-9EA9-7CA4-696E-90B645CE7587}"/>
              </a:ext>
            </a:extLst>
          </p:cNvPr>
          <p:cNvSpPr txBox="1"/>
          <p:nvPr/>
        </p:nvSpPr>
        <p:spPr>
          <a:xfrm>
            <a:off x="4539554" y="1573447"/>
            <a:ext cx="4696238" cy="338554"/>
          </a:xfrm>
          <a:prstGeom prst="rect">
            <a:avLst/>
          </a:prstGeom>
          <a:noFill/>
        </p:spPr>
        <p:txBody>
          <a:bodyPr wrap="square">
            <a:spAutoFit/>
          </a:bodyPr>
          <a:lstStyle/>
          <a:p>
            <a:pPr algn="ctr"/>
            <a:r>
              <a:rPr lang="en-US" sz="1600" b="1">
                <a:latin typeface="+mj-lt"/>
              </a:rPr>
              <a:t>A failed outcome but a solid process</a:t>
            </a:r>
          </a:p>
        </p:txBody>
      </p:sp>
      <p:sp>
        <p:nvSpPr>
          <p:cNvPr id="6" name="TextBox 5">
            <a:extLst>
              <a:ext uri="{FF2B5EF4-FFF2-40B4-BE49-F238E27FC236}">
                <a16:creationId xmlns:a16="http://schemas.microsoft.com/office/drawing/2014/main" id="{3D1EF098-8277-3E26-B23C-1C39A63BF892}"/>
              </a:ext>
            </a:extLst>
          </p:cNvPr>
          <p:cNvSpPr txBox="1"/>
          <p:nvPr/>
        </p:nvSpPr>
        <p:spPr>
          <a:xfrm>
            <a:off x="195116" y="2354492"/>
            <a:ext cx="4389606" cy="1169551"/>
          </a:xfrm>
          <a:prstGeom prst="rect">
            <a:avLst/>
          </a:prstGeom>
          <a:noFill/>
        </p:spPr>
        <p:txBody>
          <a:bodyPr wrap="square">
            <a:spAutoFit/>
          </a:bodyPr>
          <a:lstStyle/>
          <a:p>
            <a:r>
              <a:rPr lang="en-US" sz="1400">
                <a:latin typeface="+mj-lt"/>
              </a:rPr>
              <a:t>What risks does this flawed process introduce for future decisions? </a:t>
            </a:r>
          </a:p>
          <a:p>
            <a:endParaRPr lang="en-US" sz="1400">
              <a:latin typeface="+mj-lt"/>
            </a:endParaRPr>
          </a:p>
          <a:p>
            <a:r>
              <a:rPr lang="en-US" sz="1400">
                <a:latin typeface="+mj-lt"/>
              </a:rPr>
              <a:t>How can we strengthen the process to ensure repeated, predictable success?</a:t>
            </a:r>
          </a:p>
        </p:txBody>
      </p:sp>
      <p:sp>
        <p:nvSpPr>
          <p:cNvPr id="13" name="TextBox 12">
            <a:extLst>
              <a:ext uri="{FF2B5EF4-FFF2-40B4-BE49-F238E27FC236}">
                <a16:creationId xmlns:a16="http://schemas.microsoft.com/office/drawing/2014/main" id="{A90B4823-22DE-B2CB-2DDE-CBBF62587631}"/>
              </a:ext>
            </a:extLst>
          </p:cNvPr>
          <p:cNvSpPr txBox="1"/>
          <p:nvPr/>
        </p:nvSpPr>
        <p:spPr>
          <a:xfrm>
            <a:off x="4948946" y="2391092"/>
            <a:ext cx="3903224" cy="1384995"/>
          </a:xfrm>
          <a:prstGeom prst="rect">
            <a:avLst/>
          </a:prstGeom>
          <a:noFill/>
        </p:spPr>
        <p:txBody>
          <a:bodyPr wrap="square">
            <a:spAutoFit/>
          </a:bodyPr>
          <a:lstStyle/>
          <a:p>
            <a:r>
              <a:rPr lang="en-US" sz="1400">
                <a:latin typeface="+mj-lt"/>
              </a:rPr>
              <a:t>What external factors or unforeseen challenges led to the failed outcome, despite a solid process? </a:t>
            </a:r>
          </a:p>
          <a:p>
            <a:endParaRPr lang="en-US" sz="1400">
              <a:latin typeface="+mj-lt"/>
            </a:endParaRPr>
          </a:p>
          <a:p>
            <a:r>
              <a:rPr lang="en-US" sz="1400">
                <a:latin typeface="+mj-lt"/>
              </a:rPr>
              <a:t>Is there anything in the environment that needs re-evaluation, or is this a case of bad luck?</a:t>
            </a:r>
          </a:p>
        </p:txBody>
      </p:sp>
      <p:pic>
        <p:nvPicPr>
          <p:cNvPr id="15" name="Graphic 14">
            <a:extLst>
              <a:ext uri="{FF2B5EF4-FFF2-40B4-BE49-F238E27FC236}">
                <a16:creationId xmlns:a16="http://schemas.microsoft.com/office/drawing/2014/main" id="{CD76B552-5A19-DFC9-AE73-B66B0156A1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39177" y="875490"/>
            <a:ext cx="640080" cy="640080"/>
          </a:xfrm>
          <a:prstGeom prst="rect">
            <a:avLst/>
          </a:prstGeom>
        </p:spPr>
      </p:pic>
      <p:pic>
        <p:nvPicPr>
          <p:cNvPr id="18" name="Graphic 17">
            <a:extLst>
              <a:ext uri="{FF2B5EF4-FFF2-40B4-BE49-F238E27FC236}">
                <a16:creationId xmlns:a16="http://schemas.microsoft.com/office/drawing/2014/main" id="{B5C26619-D93A-756F-FCE6-02486F49B1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0148" y="914400"/>
            <a:ext cx="640080" cy="640080"/>
          </a:xfrm>
          <a:prstGeom prst="rect">
            <a:avLst/>
          </a:prstGeom>
        </p:spPr>
      </p:pic>
      <p:pic>
        <p:nvPicPr>
          <p:cNvPr id="21" name="Graphic 20">
            <a:extLst>
              <a:ext uri="{FF2B5EF4-FFF2-40B4-BE49-F238E27FC236}">
                <a16:creationId xmlns:a16="http://schemas.microsoft.com/office/drawing/2014/main" id="{BA891C42-9481-8714-08B7-D2CD469015D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31261" y="894944"/>
            <a:ext cx="640080" cy="640080"/>
          </a:xfrm>
          <a:prstGeom prst="rect">
            <a:avLst/>
          </a:prstGeom>
        </p:spPr>
      </p:pic>
      <p:pic>
        <p:nvPicPr>
          <p:cNvPr id="25" name="Graphic 24">
            <a:extLst>
              <a:ext uri="{FF2B5EF4-FFF2-40B4-BE49-F238E27FC236}">
                <a16:creationId xmlns:a16="http://schemas.microsoft.com/office/drawing/2014/main" id="{E513C6A5-7D79-5322-5F61-1A424DEE0B7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01687" y="865762"/>
            <a:ext cx="640080" cy="640080"/>
          </a:xfrm>
          <a:prstGeom prst="rect">
            <a:avLst/>
          </a:prstGeom>
        </p:spPr>
      </p:pic>
      <p:cxnSp>
        <p:nvCxnSpPr>
          <p:cNvPr id="28" name="Straight Connector 27">
            <a:extLst>
              <a:ext uri="{FF2B5EF4-FFF2-40B4-BE49-F238E27FC236}">
                <a16:creationId xmlns:a16="http://schemas.microsoft.com/office/drawing/2014/main" id="{A2DD9524-74E7-8290-EDFA-FF9EE2675002}"/>
              </a:ext>
            </a:extLst>
          </p:cNvPr>
          <p:cNvCxnSpPr>
            <a:cxnSpLocks/>
          </p:cNvCxnSpPr>
          <p:nvPr/>
        </p:nvCxnSpPr>
        <p:spPr>
          <a:xfrm>
            <a:off x="4562273" y="1215957"/>
            <a:ext cx="0" cy="319067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978106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923EFA-2B74-BEBD-93A0-445621461824}"/>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D9256A55-916C-59BB-2694-353F53350DE0}"/>
              </a:ext>
            </a:extLst>
          </p:cNvPr>
          <p:cNvSpPr>
            <a:spLocks noGrp="1"/>
          </p:cNvSpPr>
          <p:nvPr>
            <p:ph type="title"/>
          </p:nvPr>
        </p:nvSpPr>
        <p:spPr>
          <a:xfrm>
            <a:off x="504294" y="84445"/>
            <a:ext cx="8525406" cy="513211"/>
          </a:xfrm>
        </p:spPr>
        <p:txBody>
          <a:bodyPr/>
          <a:lstStyle/>
          <a:p>
            <a:r>
              <a:rPr lang="en-US" sz="2100"/>
              <a:t>Monitor Key Metrics</a:t>
            </a:r>
          </a:p>
        </p:txBody>
      </p:sp>
      <p:sp>
        <p:nvSpPr>
          <p:cNvPr id="10" name="Rectangle: Rounded Corners 1032">
            <a:extLst>
              <a:ext uri="{FF2B5EF4-FFF2-40B4-BE49-F238E27FC236}">
                <a16:creationId xmlns:a16="http://schemas.microsoft.com/office/drawing/2014/main" id="{969BDC9B-EBCE-F650-8E82-4CA3CBE7958F}"/>
              </a:ext>
            </a:extLst>
          </p:cNvPr>
          <p:cNvSpPr/>
          <p:nvPr/>
        </p:nvSpPr>
        <p:spPr>
          <a:xfrm>
            <a:off x="2000250" y="1764922"/>
            <a:ext cx="1596528" cy="1645023"/>
          </a:xfrm>
          <a:prstGeom prst="rect">
            <a:avLst/>
          </a:prstGeom>
          <a:noFill/>
          <a:ln w="6350" cap="flat" cmpd="sng" algn="ctr">
            <a:solidFill>
              <a:srgbClr val="000000">
                <a:lumMod val="65000"/>
                <a:lumOff val="35000"/>
              </a:srgbClr>
            </a:solidFill>
            <a:prstDash val="solid"/>
            <a:miter lim="800000"/>
            <a:tailEnd type="oval" w="sm" len="sm"/>
          </a:ln>
          <a:effectLst/>
        </p:spPr>
        <p:txBody>
          <a:bodyPr rtlCol="0" anchor="ctr"/>
          <a:lstStyle/>
          <a:p>
            <a:pPr algn="ctr" defTabSz="685831" fontAlgn="auto">
              <a:spcBef>
                <a:spcPts val="0"/>
              </a:spcBef>
              <a:spcAft>
                <a:spcPts val="0"/>
              </a:spcAft>
              <a:defRPr/>
            </a:pPr>
            <a:endParaRPr lang="en-IN" sz="1000" kern="0">
              <a:solidFill>
                <a:prstClr val="white"/>
              </a:solidFill>
              <a:latin typeface="Calibri" panose="020F0502020204030204"/>
              <a:cs typeface="+mn-cs"/>
            </a:endParaRPr>
          </a:p>
        </p:txBody>
      </p:sp>
      <p:sp>
        <p:nvSpPr>
          <p:cNvPr id="11" name="Rectangle 10">
            <a:extLst>
              <a:ext uri="{FF2B5EF4-FFF2-40B4-BE49-F238E27FC236}">
                <a16:creationId xmlns:a16="http://schemas.microsoft.com/office/drawing/2014/main" id="{F21947BE-D5A0-2C96-4EFC-0C45CA8C5679}"/>
              </a:ext>
            </a:extLst>
          </p:cNvPr>
          <p:cNvSpPr/>
          <p:nvPr/>
        </p:nvSpPr>
        <p:spPr>
          <a:xfrm>
            <a:off x="2486524" y="3387789"/>
            <a:ext cx="632700" cy="62647"/>
          </a:xfrm>
          <a:prstGeom prst="rect">
            <a:avLst/>
          </a:prstGeom>
          <a:solidFill>
            <a:srgbClr val="006580"/>
          </a:solidFill>
          <a:ln w="12700" cap="flat" cmpd="sng" algn="ctr">
            <a:noFill/>
            <a:prstDash val="solid"/>
            <a:miter lim="800000"/>
          </a:ln>
          <a:effectLst/>
        </p:spPr>
        <p:txBody>
          <a:bodyPr rtlCol="0" anchor="ctr"/>
          <a:lstStyle/>
          <a:p>
            <a:pPr algn="ctr" defTabSz="685831" fontAlgn="auto">
              <a:spcBef>
                <a:spcPts val="0"/>
              </a:spcBef>
              <a:spcAft>
                <a:spcPts val="0"/>
              </a:spcAft>
              <a:defRPr/>
            </a:pPr>
            <a:endParaRPr lang="en-IN" sz="1400" kern="0">
              <a:solidFill>
                <a:prstClr val="white"/>
              </a:solidFill>
              <a:latin typeface="Calibri" panose="020F0502020204030204"/>
              <a:cs typeface="+mn-cs"/>
            </a:endParaRPr>
          </a:p>
        </p:txBody>
      </p:sp>
      <p:sp>
        <p:nvSpPr>
          <p:cNvPr id="7" name="Rectangle 6">
            <a:extLst>
              <a:ext uri="{FF2B5EF4-FFF2-40B4-BE49-F238E27FC236}">
                <a16:creationId xmlns:a16="http://schemas.microsoft.com/office/drawing/2014/main" id="{CEE133E8-599B-1C91-C76D-F5008AA1504A}"/>
              </a:ext>
            </a:extLst>
          </p:cNvPr>
          <p:cNvSpPr/>
          <p:nvPr/>
        </p:nvSpPr>
        <p:spPr>
          <a:xfrm>
            <a:off x="2055300" y="1815314"/>
            <a:ext cx="1498539" cy="1518431"/>
          </a:xfrm>
          <a:prstGeom prst="rect">
            <a:avLst/>
          </a:prstGeom>
          <a:solidFill>
            <a:srgbClr val="006580"/>
          </a:solidFill>
          <a:ln w="6350" cap="flat" cmpd="sng" algn="ctr">
            <a:noFill/>
            <a:prstDash val="solid"/>
            <a:miter lim="800000"/>
          </a:ln>
          <a:effectLst/>
        </p:spPr>
        <p:txBody>
          <a:bodyPr rtlCol="0" anchor="ctr"/>
          <a:lstStyle/>
          <a:p>
            <a:pPr algn="ctr" defTabSz="685831" fontAlgn="auto">
              <a:spcBef>
                <a:spcPts val="0"/>
              </a:spcBef>
              <a:spcAft>
                <a:spcPts val="0"/>
              </a:spcAft>
              <a:defRPr/>
            </a:pPr>
            <a:endParaRPr lang="en-IN" sz="1000" kern="0">
              <a:solidFill>
                <a:prstClr val="white"/>
              </a:solidFill>
              <a:latin typeface="Calibri" panose="020F0502020204030204"/>
              <a:cs typeface="+mn-cs"/>
            </a:endParaRPr>
          </a:p>
        </p:txBody>
      </p:sp>
      <p:sp>
        <p:nvSpPr>
          <p:cNvPr id="9" name="Rectangle 8">
            <a:extLst>
              <a:ext uri="{FF2B5EF4-FFF2-40B4-BE49-F238E27FC236}">
                <a16:creationId xmlns:a16="http://schemas.microsoft.com/office/drawing/2014/main" id="{44092DCD-05B4-5606-262C-382BF24FEA85}"/>
              </a:ext>
            </a:extLst>
          </p:cNvPr>
          <p:cNvSpPr/>
          <p:nvPr/>
        </p:nvSpPr>
        <p:spPr>
          <a:xfrm>
            <a:off x="2044617" y="1815348"/>
            <a:ext cx="1477610" cy="1073469"/>
          </a:xfrm>
          <a:prstGeom prst="rect">
            <a:avLst/>
          </a:prstGeom>
          <a:noFill/>
          <a:ln w="12700" cap="flat" cmpd="sng" algn="ctr">
            <a:noFill/>
            <a:prstDash val="solid"/>
            <a:miter lim="800000"/>
          </a:ln>
          <a:effectLst/>
        </p:spPr>
        <p:txBody>
          <a:bodyPr rtlCol="0" anchor="t"/>
          <a:lstStyle/>
          <a:p>
            <a:pPr algn="ctr" defTabSz="685831" fontAlgn="auto">
              <a:spcBef>
                <a:spcPts val="0"/>
              </a:spcBef>
              <a:spcAft>
                <a:spcPts val="0"/>
              </a:spcAft>
              <a:defRPr/>
            </a:pPr>
            <a:r>
              <a:rPr lang="en-US" sz="1059" b="1" kern="0">
                <a:solidFill>
                  <a:srgbClr val="FFFFFF"/>
                </a:solidFill>
                <a:latin typeface="Arial" panose="020B0604020202020204"/>
                <a:cs typeface="Arial" panose="020B0604020202020204" pitchFamily="34" charset="0"/>
              </a:rPr>
              <a:t>Leading vs Lagging Indicators</a:t>
            </a:r>
          </a:p>
        </p:txBody>
      </p:sp>
      <p:sp>
        <p:nvSpPr>
          <p:cNvPr id="17" name="Rectangle: Rounded Corners 1032">
            <a:extLst>
              <a:ext uri="{FF2B5EF4-FFF2-40B4-BE49-F238E27FC236}">
                <a16:creationId xmlns:a16="http://schemas.microsoft.com/office/drawing/2014/main" id="{F3D6C79A-5A7D-2E95-0201-1BF4E630D381}"/>
              </a:ext>
            </a:extLst>
          </p:cNvPr>
          <p:cNvSpPr/>
          <p:nvPr/>
        </p:nvSpPr>
        <p:spPr>
          <a:xfrm>
            <a:off x="3714750" y="1764927"/>
            <a:ext cx="1597067" cy="1645024"/>
          </a:xfrm>
          <a:prstGeom prst="rect">
            <a:avLst/>
          </a:prstGeom>
          <a:noFill/>
          <a:ln w="6350" cap="flat" cmpd="sng" algn="ctr">
            <a:solidFill>
              <a:srgbClr val="000000">
                <a:lumMod val="65000"/>
                <a:lumOff val="35000"/>
              </a:srgbClr>
            </a:solidFill>
            <a:prstDash val="solid"/>
            <a:miter lim="800000"/>
            <a:tailEnd type="oval" w="sm" len="sm"/>
          </a:ln>
          <a:effectLst/>
        </p:spPr>
        <p:txBody>
          <a:bodyPr rtlCol="0" anchor="ctr"/>
          <a:lstStyle/>
          <a:p>
            <a:pPr algn="ctr" defTabSz="685831" fontAlgn="auto">
              <a:spcBef>
                <a:spcPts val="0"/>
              </a:spcBef>
              <a:spcAft>
                <a:spcPts val="0"/>
              </a:spcAft>
              <a:defRPr/>
            </a:pPr>
            <a:endParaRPr lang="en-IN" sz="1000" kern="0">
              <a:solidFill>
                <a:prstClr val="white"/>
              </a:solidFill>
              <a:latin typeface="Calibri" panose="020F0502020204030204"/>
              <a:cs typeface="+mn-cs"/>
            </a:endParaRPr>
          </a:p>
        </p:txBody>
      </p:sp>
      <p:sp>
        <p:nvSpPr>
          <p:cNvPr id="18" name="Rectangle 17">
            <a:extLst>
              <a:ext uri="{FF2B5EF4-FFF2-40B4-BE49-F238E27FC236}">
                <a16:creationId xmlns:a16="http://schemas.microsoft.com/office/drawing/2014/main" id="{DCDA2FE2-32AC-4731-0DAC-6FABA7DB384D}"/>
              </a:ext>
            </a:extLst>
          </p:cNvPr>
          <p:cNvSpPr/>
          <p:nvPr/>
        </p:nvSpPr>
        <p:spPr>
          <a:xfrm>
            <a:off x="4198500" y="3387820"/>
            <a:ext cx="632700" cy="62635"/>
          </a:xfrm>
          <a:prstGeom prst="rect">
            <a:avLst/>
          </a:prstGeom>
          <a:solidFill>
            <a:srgbClr val="870064"/>
          </a:solidFill>
          <a:ln w="12700" cap="flat" cmpd="sng" algn="ctr">
            <a:noFill/>
            <a:prstDash val="solid"/>
            <a:miter lim="800000"/>
          </a:ln>
          <a:effectLst/>
        </p:spPr>
        <p:txBody>
          <a:bodyPr rtlCol="0" anchor="ctr"/>
          <a:lstStyle/>
          <a:p>
            <a:pPr algn="ctr" defTabSz="685831" fontAlgn="auto">
              <a:spcBef>
                <a:spcPts val="0"/>
              </a:spcBef>
              <a:spcAft>
                <a:spcPts val="0"/>
              </a:spcAft>
              <a:defRPr/>
            </a:pPr>
            <a:endParaRPr lang="en-IN" sz="1400" kern="0">
              <a:solidFill>
                <a:prstClr val="white"/>
              </a:solidFill>
              <a:latin typeface="Calibri" panose="020F0502020204030204"/>
              <a:cs typeface="+mn-cs"/>
            </a:endParaRPr>
          </a:p>
        </p:txBody>
      </p:sp>
      <p:sp>
        <p:nvSpPr>
          <p:cNvPr id="15" name="Rectangle 14">
            <a:extLst>
              <a:ext uri="{FF2B5EF4-FFF2-40B4-BE49-F238E27FC236}">
                <a16:creationId xmlns:a16="http://schemas.microsoft.com/office/drawing/2014/main" id="{30CD8EE0-CEEA-5E6C-C26A-8F87F8B0CC2B}"/>
              </a:ext>
            </a:extLst>
          </p:cNvPr>
          <p:cNvSpPr/>
          <p:nvPr/>
        </p:nvSpPr>
        <p:spPr>
          <a:xfrm>
            <a:off x="3765581" y="1814705"/>
            <a:ext cx="1498539" cy="1519045"/>
          </a:xfrm>
          <a:prstGeom prst="rect">
            <a:avLst/>
          </a:prstGeom>
          <a:solidFill>
            <a:srgbClr val="870064"/>
          </a:solidFill>
          <a:ln w="6350" cap="flat" cmpd="sng" algn="ctr">
            <a:noFill/>
            <a:prstDash val="solid"/>
            <a:miter lim="800000"/>
          </a:ln>
          <a:effectLst/>
        </p:spPr>
        <p:txBody>
          <a:bodyPr rtlCol="0" anchor="ctr"/>
          <a:lstStyle/>
          <a:p>
            <a:pPr algn="ctr" defTabSz="685831" fontAlgn="auto">
              <a:spcBef>
                <a:spcPts val="0"/>
              </a:spcBef>
              <a:spcAft>
                <a:spcPts val="0"/>
              </a:spcAft>
              <a:defRPr/>
            </a:pPr>
            <a:endParaRPr lang="en-IN" sz="1000" kern="0">
              <a:solidFill>
                <a:prstClr val="white"/>
              </a:solidFill>
              <a:latin typeface="Calibri" panose="020F0502020204030204"/>
              <a:cs typeface="+mn-cs"/>
            </a:endParaRPr>
          </a:p>
        </p:txBody>
      </p:sp>
      <p:sp>
        <p:nvSpPr>
          <p:cNvPr id="16" name="Rectangle 15">
            <a:extLst>
              <a:ext uri="{FF2B5EF4-FFF2-40B4-BE49-F238E27FC236}">
                <a16:creationId xmlns:a16="http://schemas.microsoft.com/office/drawing/2014/main" id="{1EB7DE6C-CEAF-0178-F0B6-F3A8AF8FC670}"/>
              </a:ext>
            </a:extLst>
          </p:cNvPr>
          <p:cNvSpPr/>
          <p:nvPr/>
        </p:nvSpPr>
        <p:spPr>
          <a:xfrm>
            <a:off x="3765581" y="1815353"/>
            <a:ext cx="1477610" cy="1073256"/>
          </a:xfrm>
          <a:prstGeom prst="rect">
            <a:avLst/>
          </a:prstGeom>
          <a:noFill/>
          <a:ln w="12700" cap="flat" cmpd="sng" algn="ctr">
            <a:noFill/>
            <a:prstDash val="solid"/>
            <a:miter lim="800000"/>
          </a:ln>
          <a:effectLst/>
        </p:spPr>
        <p:txBody>
          <a:bodyPr rtlCol="0" anchor="t"/>
          <a:lstStyle/>
          <a:p>
            <a:pPr algn="ctr" defTabSz="685831" fontAlgn="auto">
              <a:spcBef>
                <a:spcPts val="0"/>
              </a:spcBef>
              <a:spcAft>
                <a:spcPts val="0"/>
              </a:spcAft>
              <a:defRPr/>
            </a:pPr>
            <a:r>
              <a:rPr lang="en-US" sz="1059" b="1" kern="0">
                <a:solidFill>
                  <a:srgbClr val="FFFFFF"/>
                </a:solidFill>
                <a:latin typeface="Arial" panose="020B0604020202020204"/>
                <a:cs typeface="Arial" panose="020B0604020202020204" pitchFamily="34" charset="0"/>
              </a:rPr>
              <a:t>Measurement Frameworks</a:t>
            </a:r>
          </a:p>
          <a:p>
            <a:pPr algn="ctr" defTabSz="685831" fontAlgn="auto">
              <a:spcBef>
                <a:spcPts val="0"/>
              </a:spcBef>
              <a:spcAft>
                <a:spcPts val="0"/>
              </a:spcAft>
              <a:defRPr/>
            </a:pPr>
            <a:endParaRPr lang="en-US" sz="1059" kern="0">
              <a:solidFill>
                <a:srgbClr val="FFFFFF"/>
              </a:solidFill>
              <a:latin typeface="Arial" panose="020B0604020202020204"/>
              <a:cs typeface="Arial" panose="020B0604020202020204" pitchFamily="34" charset="0"/>
            </a:endParaRPr>
          </a:p>
          <a:p>
            <a:pPr algn="ctr" defTabSz="685831" fontAlgn="auto">
              <a:spcBef>
                <a:spcPts val="0"/>
              </a:spcBef>
              <a:spcAft>
                <a:spcPts val="0"/>
              </a:spcAft>
              <a:defRPr/>
            </a:pPr>
            <a:endParaRPr lang="en-US" sz="1059" kern="0">
              <a:solidFill>
                <a:srgbClr val="FFFFFF"/>
              </a:solidFill>
              <a:latin typeface="Arial" panose="020B0604020202020204"/>
              <a:cs typeface="Arial" panose="020B0604020202020204" pitchFamily="34" charset="0"/>
            </a:endParaRPr>
          </a:p>
          <a:p>
            <a:pPr algn="ctr" defTabSz="685831" fontAlgn="auto">
              <a:spcBef>
                <a:spcPts val="0"/>
              </a:spcBef>
              <a:spcAft>
                <a:spcPts val="0"/>
              </a:spcAft>
              <a:defRPr/>
            </a:pPr>
            <a:endParaRPr lang="en-US" sz="1059" kern="0">
              <a:solidFill>
                <a:srgbClr val="FFFFFF"/>
              </a:solidFill>
              <a:latin typeface="Arial" panose="020B0604020202020204"/>
              <a:cs typeface="Arial" panose="020B0604020202020204" pitchFamily="34" charset="0"/>
            </a:endParaRPr>
          </a:p>
        </p:txBody>
      </p:sp>
      <p:sp>
        <p:nvSpPr>
          <p:cNvPr id="24" name="Rectangle: Rounded Corners 1032">
            <a:extLst>
              <a:ext uri="{FF2B5EF4-FFF2-40B4-BE49-F238E27FC236}">
                <a16:creationId xmlns:a16="http://schemas.microsoft.com/office/drawing/2014/main" id="{653AA37D-61FB-5A76-5D6A-BCA583954D96}"/>
              </a:ext>
            </a:extLst>
          </p:cNvPr>
          <p:cNvSpPr/>
          <p:nvPr/>
        </p:nvSpPr>
        <p:spPr>
          <a:xfrm>
            <a:off x="7244603" y="1764926"/>
            <a:ext cx="1593933" cy="1645028"/>
          </a:xfrm>
          <a:prstGeom prst="rect">
            <a:avLst/>
          </a:prstGeom>
          <a:noFill/>
          <a:ln w="6350" cap="flat" cmpd="sng" algn="ctr">
            <a:solidFill>
              <a:srgbClr val="000000">
                <a:lumMod val="65000"/>
                <a:lumOff val="35000"/>
              </a:srgbClr>
            </a:solidFill>
            <a:prstDash val="solid"/>
            <a:miter lim="800000"/>
            <a:tailEnd type="oval" w="sm" len="sm"/>
          </a:ln>
          <a:effectLst/>
        </p:spPr>
        <p:txBody>
          <a:bodyPr rtlCol="0" anchor="ctr"/>
          <a:lstStyle/>
          <a:p>
            <a:pPr algn="ctr" defTabSz="685831" fontAlgn="auto">
              <a:spcBef>
                <a:spcPts val="0"/>
              </a:spcBef>
              <a:spcAft>
                <a:spcPts val="0"/>
              </a:spcAft>
              <a:defRPr/>
            </a:pPr>
            <a:endParaRPr lang="en-IN" sz="1000" kern="0">
              <a:solidFill>
                <a:prstClr val="white"/>
              </a:solidFill>
              <a:latin typeface="Calibri" panose="020F0502020204030204"/>
              <a:cs typeface="+mn-cs"/>
            </a:endParaRPr>
          </a:p>
        </p:txBody>
      </p:sp>
      <p:sp>
        <p:nvSpPr>
          <p:cNvPr id="25" name="Rectangle 24">
            <a:extLst>
              <a:ext uri="{FF2B5EF4-FFF2-40B4-BE49-F238E27FC236}">
                <a16:creationId xmlns:a16="http://schemas.microsoft.com/office/drawing/2014/main" id="{39F24B22-6D68-2AFE-085F-7BDC8006610E}"/>
              </a:ext>
            </a:extLst>
          </p:cNvPr>
          <p:cNvSpPr/>
          <p:nvPr/>
        </p:nvSpPr>
        <p:spPr>
          <a:xfrm>
            <a:off x="7725356" y="3387781"/>
            <a:ext cx="632700" cy="62685"/>
          </a:xfrm>
          <a:prstGeom prst="rect">
            <a:avLst/>
          </a:prstGeom>
          <a:solidFill>
            <a:schemeClr val="accent6"/>
          </a:solidFill>
          <a:ln w="12700" cap="flat" cmpd="sng" algn="ctr">
            <a:noFill/>
            <a:prstDash val="solid"/>
            <a:miter lim="800000"/>
          </a:ln>
          <a:effectLst/>
        </p:spPr>
        <p:txBody>
          <a:bodyPr rtlCol="0" anchor="ctr"/>
          <a:lstStyle/>
          <a:p>
            <a:pPr algn="ctr" defTabSz="685831" fontAlgn="auto">
              <a:spcBef>
                <a:spcPts val="0"/>
              </a:spcBef>
              <a:spcAft>
                <a:spcPts val="0"/>
              </a:spcAft>
              <a:defRPr/>
            </a:pPr>
            <a:endParaRPr lang="en-IN" sz="1400" kern="0">
              <a:solidFill>
                <a:prstClr val="white"/>
              </a:solidFill>
              <a:latin typeface="Calibri" panose="020F0502020204030204"/>
              <a:cs typeface="+mn-cs"/>
            </a:endParaRPr>
          </a:p>
        </p:txBody>
      </p:sp>
      <p:sp>
        <p:nvSpPr>
          <p:cNvPr id="22" name="Rectangle 21">
            <a:extLst>
              <a:ext uri="{FF2B5EF4-FFF2-40B4-BE49-F238E27FC236}">
                <a16:creationId xmlns:a16="http://schemas.microsoft.com/office/drawing/2014/main" id="{756A5FF8-F375-3804-6FC3-6475935CC894}"/>
              </a:ext>
            </a:extLst>
          </p:cNvPr>
          <p:cNvSpPr/>
          <p:nvPr/>
        </p:nvSpPr>
        <p:spPr>
          <a:xfrm>
            <a:off x="7292300" y="1815597"/>
            <a:ext cx="1498540" cy="1517267"/>
          </a:xfrm>
          <a:prstGeom prst="rect">
            <a:avLst/>
          </a:prstGeom>
          <a:solidFill>
            <a:srgbClr val="8064A2"/>
          </a:solidFill>
          <a:ln w="6350" cap="flat" cmpd="sng" algn="ctr">
            <a:noFill/>
            <a:prstDash val="solid"/>
            <a:miter lim="800000"/>
          </a:ln>
          <a:effectLst/>
        </p:spPr>
        <p:txBody>
          <a:bodyPr rtlCol="0" anchor="ctr"/>
          <a:lstStyle/>
          <a:p>
            <a:pPr algn="ctr" defTabSz="685831" fontAlgn="auto">
              <a:spcBef>
                <a:spcPts val="0"/>
              </a:spcBef>
              <a:spcAft>
                <a:spcPts val="0"/>
              </a:spcAft>
              <a:defRPr/>
            </a:pPr>
            <a:endParaRPr lang="en-IN" sz="1000" kern="0">
              <a:solidFill>
                <a:prstClr val="white"/>
              </a:solidFill>
              <a:latin typeface="Calibri" panose="020F0502020204030204"/>
              <a:cs typeface="+mn-cs"/>
            </a:endParaRPr>
          </a:p>
        </p:txBody>
      </p:sp>
      <p:sp>
        <p:nvSpPr>
          <p:cNvPr id="23" name="Rectangle 22">
            <a:extLst>
              <a:ext uri="{FF2B5EF4-FFF2-40B4-BE49-F238E27FC236}">
                <a16:creationId xmlns:a16="http://schemas.microsoft.com/office/drawing/2014/main" id="{01EA62BA-1F17-35A8-80AE-44ABF3731449}"/>
              </a:ext>
            </a:extLst>
          </p:cNvPr>
          <p:cNvSpPr/>
          <p:nvPr/>
        </p:nvSpPr>
        <p:spPr>
          <a:xfrm>
            <a:off x="7269366" y="1815352"/>
            <a:ext cx="1544405" cy="1074106"/>
          </a:xfrm>
          <a:prstGeom prst="rect">
            <a:avLst/>
          </a:prstGeom>
          <a:noFill/>
          <a:ln w="12700" cap="flat" cmpd="sng" algn="ctr">
            <a:noFill/>
            <a:prstDash val="solid"/>
            <a:miter lim="800000"/>
          </a:ln>
          <a:effectLst/>
        </p:spPr>
        <p:txBody>
          <a:bodyPr rtlCol="0" anchor="t"/>
          <a:lstStyle/>
          <a:p>
            <a:pPr algn="ctr" defTabSz="457221">
              <a:defRPr/>
            </a:pPr>
            <a:r>
              <a:rPr lang="en-US" sz="1059" b="1" kern="0">
                <a:solidFill>
                  <a:srgbClr val="FFFFFF"/>
                </a:solidFill>
                <a:latin typeface="Arial" panose="020B0604020202020204"/>
                <a:cs typeface="Arial" panose="020B0604020202020204" pitchFamily="34" charset="0"/>
              </a:rPr>
              <a:t>Continuous Monitoring and Adjustment</a:t>
            </a:r>
          </a:p>
        </p:txBody>
      </p:sp>
      <p:sp>
        <p:nvSpPr>
          <p:cNvPr id="31" name="Rectangle 30">
            <a:extLst>
              <a:ext uri="{FF2B5EF4-FFF2-40B4-BE49-F238E27FC236}">
                <a16:creationId xmlns:a16="http://schemas.microsoft.com/office/drawing/2014/main" id="{99DB701D-5397-FC3E-3229-3A398FAC590C}"/>
              </a:ext>
            </a:extLst>
          </p:cNvPr>
          <p:cNvSpPr/>
          <p:nvPr/>
        </p:nvSpPr>
        <p:spPr>
          <a:xfrm>
            <a:off x="322949" y="1820537"/>
            <a:ext cx="1498540" cy="1513218"/>
          </a:xfrm>
          <a:prstGeom prst="rect">
            <a:avLst/>
          </a:prstGeom>
          <a:solidFill>
            <a:srgbClr val="244B59"/>
          </a:solidFill>
          <a:ln w="6350" cap="flat" cmpd="sng" algn="ctr">
            <a:noFill/>
            <a:prstDash val="solid"/>
            <a:miter lim="800000"/>
          </a:ln>
          <a:effectLst/>
        </p:spPr>
        <p:txBody>
          <a:bodyPr rtlCol="0" anchor="ctr"/>
          <a:lstStyle/>
          <a:p>
            <a:pPr algn="ctr" defTabSz="685831" fontAlgn="auto">
              <a:spcBef>
                <a:spcPts val="0"/>
              </a:spcBef>
              <a:spcAft>
                <a:spcPts val="0"/>
              </a:spcAft>
              <a:defRPr/>
            </a:pPr>
            <a:endParaRPr lang="en-IN" sz="1000" kern="0">
              <a:solidFill>
                <a:prstClr val="white"/>
              </a:solidFill>
              <a:latin typeface="Calibri" panose="020F0502020204030204"/>
              <a:cs typeface="+mn-cs"/>
            </a:endParaRPr>
          </a:p>
        </p:txBody>
      </p:sp>
      <p:sp>
        <p:nvSpPr>
          <p:cNvPr id="32" name="Rectangle 31">
            <a:extLst>
              <a:ext uri="{FF2B5EF4-FFF2-40B4-BE49-F238E27FC236}">
                <a16:creationId xmlns:a16="http://schemas.microsoft.com/office/drawing/2014/main" id="{CA949BE0-04EC-0E7A-6113-58D0DBE80199}"/>
              </a:ext>
            </a:extLst>
          </p:cNvPr>
          <p:cNvSpPr/>
          <p:nvPr/>
        </p:nvSpPr>
        <p:spPr>
          <a:xfrm>
            <a:off x="343879" y="1815354"/>
            <a:ext cx="1477610" cy="1068995"/>
          </a:xfrm>
          <a:prstGeom prst="rect">
            <a:avLst/>
          </a:prstGeom>
          <a:noFill/>
          <a:ln w="12700" cap="flat" cmpd="sng" algn="ctr">
            <a:noFill/>
            <a:prstDash val="solid"/>
            <a:miter lim="800000"/>
          </a:ln>
          <a:effectLst/>
        </p:spPr>
        <p:txBody>
          <a:bodyPr rtlCol="0" anchor="t"/>
          <a:lstStyle/>
          <a:p>
            <a:pPr algn="ctr" defTabSz="685831" fontAlgn="auto">
              <a:spcBef>
                <a:spcPts val="0"/>
              </a:spcBef>
              <a:spcAft>
                <a:spcPts val="0"/>
              </a:spcAft>
              <a:defRPr/>
            </a:pPr>
            <a:r>
              <a:rPr lang="en-US" sz="1059" b="1" kern="0">
                <a:solidFill>
                  <a:srgbClr val="FFFFFF"/>
                </a:solidFill>
                <a:latin typeface="Arial" panose="020B0604020202020204"/>
                <a:cs typeface="Arial" panose="020B0604020202020204" pitchFamily="34" charset="0"/>
              </a:rPr>
              <a:t>Measurements, Metrics, and KPIs</a:t>
            </a:r>
          </a:p>
        </p:txBody>
      </p:sp>
      <p:sp>
        <p:nvSpPr>
          <p:cNvPr id="29" name="Rectangle: Rounded Corners 1032">
            <a:extLst>
              <a:ext uri="{FF2B5EF4-FFF2-40B4-BE49-F238E27FC236}">
                <a16:creationId xmlns:a16="http://schemas.microsoft.com/office/drawing/2014/main" id="{74D67C8D-B96F-EFBD-44BA-6516F796C62C}"/>
              </a:ext>
            </a:extLst>
          </p:cNvPr>
          <p:cNvSpPr/>
          <p:nvPr/>
        </p:nvSpPr>
        <p:spPr>
          <a:xfrm>
            <a:off x="268942" y="1764928"/>
            <a:ext cx="1595989" cy="1645028"/>
          </a:xfrm>
          <a:prstGeom prst="rect">
            <a:avLst/>
          </a:prstGeom>
          <a:noFill/>
          <a:ln w="6350" cap="flat" cmpd="sng" algn="ctr">
            <a:solidFill>
              <a:srgbClr val="000000">
                <a:lumMod val="65000"/>
                <a:lumOff val="35000"/>
              </a:srgbClr>
            </a:solidFill>
            <a:prstDash val="solid"/>
            <a:miter lim="800000"/>
            <a:tailEnd type="oval" w="sm" len="sm"/>
          </a:ln>
          <a:effectLst/>
        </p:spPr>
        <p:txBody>
          <a:bodyPr rtlCol="0" anchor="ctr"/>
          <a:lstStyle/>
          <a:p>
            <a:pPr algn="ctr" defTabSz="685831" fontAlgn="auto">
              <a:spcBef>
                <a:spcPts val="0"/>
              </a:spcBef>
              <a:spcAft>
                <a:spcPts val="0"/>
              </a:spcAft>
              <a:defRPr/>
            </a:pPr>
            <a:endParaRPr lang="en-IN" sz="1000" kern="0">
              <a:solidFill>
                <a:prstClr val="white"/>
              </a:solidFill>
              <a:latin typeface="Calibri" panose="020F0502020204030204"/>
              <a:cs typeface="+mn-cs"/>
            </a:endParaRPr>
          </a:p>
        </p:txBody>
      </p:sp>
      <p:sp>
        <p:nvSpPr>
          <p:cNvPr id="30" name="Rectangle 29">
            <a:extLst>
              <a:ext uri="{FF2B5EF4-FFF2-40B4-BE49-F238E27FC236}">
                <a16:creationId xmlns:a16="http://schemas.microsoft.com/office/drawing/2014/main" id="{3E3C1D28-F935-8BF9-DDBA-7207D68600AB}"/>
              </a:ext>
            </a:extLst>
          </p:cNvPr>
          <p:cNvSpPr/>
          <p:nvPr/>
        </p:nvSpPr>
        <p:spPr>
          <a:xfrm>
            <a:off x="754173" y="3386932"/>
            <a:ext cx="632700" cy="63523"/>
          </a:xfrm>
          <a:prstGeom prst="rect">
            <a:avLst/>
          </a:prstGeom>
          <a:solidFill>
            <a:srgbClr val="244B59"/>
          </a:solidFill>
          <a:ln w="12700" cap="flat" cmpd="sng" algn="ctr">
            <a:noFill/>
            <a:prstDash val="solid"/>
            <a:miter lim="800000"/>
          </a:ln>
          <a:effectLst/>
        </p:spPr>
        <p:txBody>
          <a:bodyPr rtlCol="0" anchor="ctr"/>
          <a:lstStyle/>
          <a:p>
            <a:pPr algn="ctr" defTabSz="685831" fontAlgn="auto">
              <a:spcBef>
                <a:spcPts val="0"/>
              </a:spcBef>
              <a:spcAft>
                <a:spcPts val="0"/>
              </a:spcAft>
              <a:defRPr/>
            </a:pPr>
            <a:endParaRPr lang="en-IN" sz="1400" kern="0">
              <a:solidFill>
                <a:prstClr val="white"/>
              </a:solidFill>
              <a:latin typeface="Calibri" panose="020F0502020204030204"/>
              <a:cs typeface="+mn-cs"/>
            </a:endParaRPr>
          </a:p>
        </p:txBody>
      </p:sp>
      <p:sp>
        <p:nvSpPr>
          <p:cNvPr id="38" name="Rectangle: Rounded Corners 1032">
            <a:extLst>
              <a:ext uri="{FF2B5EF4-FFF2-40B4-BE49-F238E27FC236}">
                <a16:creationId xmlns:a16="http://schemas.microsoft.com/office/drawing/2014/main" id="{D18B5347-BF3F-2DDC-94EC-B6203FDD3EC5}"/>
              </a:ext>
            </a:extLst>
          </p:cNvPr>
          <p:cNvSpPr/>
          <p:nvPr/>
        </p:nvSpPr>
        <p:spPr>
          <a:xfrm>
            <a:off x="5479677" y="1764926"/>
            <a:ext cx="1593933" cy="1645024"/>
          </a:xfrm>
          <a:prstGeom prst="rect">
            <a:avLst/>
          </a:prstGeom>
          <a:noFill/>
          <a:ln w="6350" cap="flat" cmpd="sng" algn="ctr">
            <a:solidFill>
              <a:srgbClr val="000000">
                <a:lumMod val="65000"/>
                <a:lumOff val="35000"/>
              </a:srgbClr>
            </a:solidFill>
            <a:prstDash val="solid"/>
            <a:miter lim="800000"/>
            <a:tailEnd type="oval" w="sm" len="sm"/>
          </a:ln>
          <a:effectLst/>
        </p:spPr>
        <p:txBody>
          <a:bodyPr rtlCol="0" anchor="ctr"/>
          <a:lstStyle/>
          <a:p>
            <a:pPr algn="ctr" defTabSz="685831" fontAlgn="auto">
              <a:spcBef>
                <a:spcPts val="0"/>
              </a:spcBef>
              <a:spcAft>
                <a:spcPts val="0"/>
              </a:spcAft>
              <a:defRPr/>
            </a:pPr>
            <a:endParaRPr lang="en-IN" sz="1000" kern="0">
              <a:solidFill>
                <a:prstClr val="white"/>
              </a:solidFill>
              <a:latin typeface="Calibri" panose="020F0502020204030204"/>
              <a:cs typeface="+mn-cs"/>
            </a:endParaRPr>
          </a:p>
        </p:txBody>
      </p:sp>
      <p:sp>
        <p:nvSpPr>
          <p:cNvPr id="39" name="Rectangle 38">
            <a:extLst>
              <a:ext uri="{FF2B5EF4-FFF2-40B4-BE49-F238E27FC236}">
                <a16:creationId xmlns:a16="http://schemas.microsoft.com/office/drawing/2014/main" id="{B0263A10-0C1A-126E-449D-7D7FC02272A2}"/>
              </a:ext>
            </a:extLst>
          </p:cNvPr>
          <p:cNvSpPr/>
          <p:nvPr/>
        </p:nvSpPr>
        <p:spPr>
          <a:xfrm>
            <a:off x="5960430" y="3387779"/>
            <a:ext cx="632700" cy="62685"/>
          </a:xfrm>
          <a:prstGeom prst="rect">
            <a:avLst/>
          </a:prstGeom>
          <a:solidFill>
            <a:srgbClr val="156838"/>
          </a:solidFill>
          <a:ln w="12700" cap="flat" cmpd="sng" algn="ctr">
            <a:noFill/>
            <a:prstDash val="solid"/>
            <a:miter lim="800000"/>
          </a:ln>
          <a:effectLst/>
        </p:spPr>
        <p:txBody>
          <a:bodyPr rtlCol="0" anchor="ctr"/>
          <a:lstStyle/>
          <a:p>
            <a:pPr algn="ctr" defTabSz="685831" fontAlgn="auto">
              <a:spcBef>
                <a:spcPts val="0"/>
              </a:spcBef>
              <a:spcAft>
                <a:spcPts val="0"/>
              </a:spcAft>
              <a:defRPr/>
            </a:pPr>
            <a:endParaRPr lang="en-IN" sz="1400" kern="0">
              <a:solidFill>
                <a:prstClr val="white"/>
              </a:solidFill>
              <a:latin typeface="Calibri" panose="020F0502020204030204"/>
              <a:cs typeface="+mn-cs"/>
            </a:endParaRPr>
          </a:p>
        </p:txBody>
      </p:sp>
      <p:sp>
        <p:nvSpPr>
          <p:cNvPr id="36" name="Rectangle 35">
            <a:extLst>
              <a:ext uri="{FF2B5EF4-FFF2-40B4-BE49-F238E27FC236}">
                <a16:creationId xmlns:a16="http://schemas.microsoft.com/office/drawing/2014/main" id="{C6AEEEFF-9B02-DE7F-34A0-C38E7E09321E}"/>
              </a:ext>
            </a:extLst>
          </p:cNvPr>
          <p:cNvSpPr/>
          <p:nvPr/>
        </p:nvSpPr>
        <p:spPr>
          <a:xfrm>
            <a:off x="5527374" y="1815597"/>
            <a:ext cx="1498540" cy="1525809"/>
          </a:xfrm>
          <a:prstGeom prst="rect">
            <a:avLst/>
          </a:prstGeom>
          <a:solidFill>
            <a:srgbClr val="156838"/>
          </a:solidFill>
          <a:ln w="6350" cap="flat" cmpd="sng" algn="ctr">
            <a:noFill/>
            <a:prstDash val="solid"/>
            <a:miter lim="800000"/>
          </a:ln>
          <a:effectLst/>
        </p:spPr>
        <p:txBody>
          <a:bodyPr rtlCol="0" anchor="ctr"/>
          <a:lstStyle/>
          <a:p>
            <a:pPr algn="ctr" defTabSz="685831" fontAlgn="auto">
              <a:spcBef>
                <a:spcPts val="0"/>
              </a:spcBef>
              <a:spcAft>
                <a:spcPts val="0"/>
              </a:spcAft>
              <a:defRPr/>
            </a:pPr>
            <a:endParaRPr lang="en-IN" sz="1000" kern="0">
              <a:solidFill>
                <a:prstClr val="white"/>
              </a:solidFill>
              <a:latin typeface="Calibri" panose="020F0502020204030204"/>
              <a:cs typeface="+mn-cs"/>
            </a:endParaRPr>
          </a:p>
        </p:txBody>
      </p:sp>
      <p:sp>
        <p:nvSpPr>
          <p:cNvPr id="37" name="Rectangle 36">
            <a:extLst>
              <a:ext uri="{FF2B5EF4-FFF2-40B4-BE49-F238E27FC236}">
                <a16:creationId xmlns:a16="http://schemas.microsoft.com/office/drawing/2014/main" id="{23612901-F9FE-12A0-75DC-EB912685DC79}"/>
              </a:ext>
            </a:extLst>
          </p:cNvPr>
          <p:cNvSpPr/>
          <p:nvPr/>
        </p:nvSpPr>
        <p:spPr>
          <a:xfrm>
            <a:off x="5504440" y="1815352"/>
            <a:ext cx="1544405" cy="1074103"/>
          </a:xfrm>
          <a:prstGeom prst="rect">
            <a:avLst/>
          </a:prstGeom>
          <a:noFill/>
          <a:ln w="12700" cap="flat" cmpd="sng" algn="ctr">
            <a:noFill/>
            <a:prstDash val="solid"/>
            <a:miter lim="800000"/>
          </a:ln>
          <a:effectLst/>
        </p:spPr>
        <p:txBody>
          <a:bodyPr rtlCol="0" anchor="t"/>
          <a:lstStyle/>
          <a:p>
            <a:pPr algn="ctr" defTabSz="457221">
              <a:defRPr/>
            </a:pPr>
            <a:r>
              <a:rPr lang="en-US" sz="1059" b="1" kern="0">
                <a:solidFill>
                  <a:srgbClr val="FFFFFF"/>
                </a:solidFill>
                <a:latin typeface="Arial" panose="020B0604020202020204"/>
                <a:cs typeface="Arial" panose="020B0604020202020204" pitchFamily="34" charset="0"/>
              </a:rPr>
              <a:t>Short-term vs Long-term</a:t>
            </a:r>
          </a:p>
        </p:txBody>
      </p:sp>
      <p:sp>
        <p:nvSpPr>
          <p:cNvPr id="40" name="TextBox 39">
            <a:extLst>
              <a:ext uri="{FF2B5EF4-FFF2-40B4-BE49-F238E27FC236}">
                <a16:creationId xmlns:a16="http://schemas.microsoft.com/office/drawing/2014/main" id="{48D65018-1DC9-D977-2D1A-EEAE40EAFCD2}"/>
              </a:ext>
            </a:extLst>
          </p:cNvPr>
          <p:cNvSpPr txBox="1"/>
          <p:nvPr/>
        </p:nvSpPr>
        <p:spPr>
          <a:xfrm>
            <a:off x="372117" y="2565346"/>
            <a:ext cx="1380483" cy="581185"/>
          </a:xfrm>
          <a:prstGeom prst="rect">
            <a:avLst/>
          </a:prstGeom>
          <a:noFill/>
        </p:spPr>
        <p:txBody>
          <a:bodyPr wrap="square">
            <a:spAutoFit/>
          </a:bodyPr>
          <a:lstStyle/>
          <a:p>
            <a:pPr indent="-154625"/>
            <a:r>
              <a:rPr lang="en-US" sz="794">
                <a:solidFill>
                  <a:schemeClr val="bg1"/>
                </a:solidFill>
                <a:latin typeface="Arial" panose="020B0604020202020204" pitchFamily="34" charset="0"/>
                <a:cs typeface="Arial" panose="020B0604020202020204" pitchFamily="34" charset="0"/>
              </a:rPr>
              <a:t>Define and track the right performance indicators aligned with your objectives</a:t>
            </a:r>
          </a:p>
        </p:txBody>
      </p:sp>
      <p:sp>
        <p:nvSpPr>
          <p:cNvPr id="41" name="TextBox 40">
            <a:extLst>
              <a:ext uri="{FF2B5EF4-FFF2-40B4-BE49-F238E27FC236}">
                <a16:creationId xmlns:a16="http://schemas.microsoft.com/office/drawing/2014/main" id="{ECFAA5F2-DAA5-1178-A030-947848750F53}"/>
              </a:ext>
            </a:extLst>
          </p:cNvPr>
          <p:cNvSpPr txBox="1"/>
          <p:nvPr/>
        </p:nvSpPr>
        <p:spPr>
          <a:xfrm>
            <a:off x="2050990" y="2565346"/>
            <a:ext cx="1444797" cy="458972"/>
          </a:xfrm>
          <a:prstGeom prst="rect">
            <a:avLst/>
          </a:prstGeom>
          <a:noFill/>
        </p:spPr>
        <p:txBody>
          <a:bodyPr wrap="square">
            <a:spAutoFit/>
          </a:bodyPr>
          <a:lstStyle/>
          <a:p>
            <a:pPr indent="-157963"/>
            <a:r>
              <a:rPr lang="en-US" sz="794">
                <a:solidFill>
                  <a:schemeClr val="bg1"/>
                </a:solidFill>
                <a:latin typeface="Arial" panose="020B0604020202020204" pitchFamily="34" charset="0"/>
                <a:cs typeface="Arial" panose="020B0604020202020204" pitchFamily="34" charset="0"/>
              </a:rPr>
              <a:t>Balance predictive (leading) and reflective (lagging) KPIs for a full performance view</a:t>
            </a:r>
          </a:p>
        </p:txBody>
      </p:sp>
      <p:sp>
        <p:nvSpPr>
          <p:cNvPr id="42" name="TextBox 41">
            <a:extLst>
              <a:ext uri="{FF2B5EF4-FFF2-40B4-BE49-F238E27FC236}">
                <a16:creationId xmlns:a16="http://schemas.microsoft.com/office/drawing/2014/main" id="{6ABC3520-4701-300B-670F-18A279BEBBAA}"/>
              </a:ext>
            </a:extLst>
          </p:cNvPr>
          <p:cNvSpPr txBox="1"/>
          <p:nvPr/>
        </p:nvSpPr>
        <p:spPr>
          <a:xfrm>
            <a:off x="3768694" y="2565346"/>
            <a:ext cx="1475941" cy="584775"/>
          </a:xfrm>
          <a:prstGeom prst="rect">
            <a:avLst/>
          </a:prstGeom>
          <a:noFill/>
        </p:spPr>
        <p:txBody>
          <a:bodyPr wrap="square">
            <a:spAutoFit/>
          </a:bodyPr>
          <a:lstStyle/>
          <a:p>
            <a:pPr indent="-154625"/>
            <a:r>
              <a:rPr lang="en-US" sz="794">
                <a:solidFill>
                  <a:schemeClr val="bg1"/>
                </a:solidFill>
                <a:latin typeface="Arial" panose="020B0604020202020204" pitchFamily="34" charset="0"/>
                <a:cs typeface="Arial" panose="020B0604020202020204" pitchFamily="34" charset="0"/>
              </a:rPr>
              <a:t>Use tools like Balanced Scorecard or OKRs to organize and evaluate metrics</a:t>
            </a:r>
          </a:p>
        </p:txBody>
      </p:sp>
      <p:sp>
        <p:nvSpPr>
          <p:cNvPr id="43" name="TextBox 42">
            <a:extLst>
              <a:ext uri="{FF2B5EF4-FFF2-40B4-BE49-F238E27FC236}">
                <a16:creationId xmlns:a16="http://schemas.microsoft.com/office/drawing/2014/main" id="{24FFF653-74D7-D99B-D55A-03CE872C65EE}"/>
              </a:ext>
            </a:extLst>
          </p:cNvPr>
          <p:cNvSpPr txBox="1"/>
          <p:nvPr/>
        </p:nvSpPr>
        <p:spPr>
          <a:xfrm>
            <a:off x="5520583" y="2565346"/>
            <a:ext cx="1541102" cy="461665"/>
          </a:xfrm>
          <a:prstGeom prst="rect">
            <a:avLst/>
          </a:prstGeom>
          <a:noFill/>
        </p:spPr>
        <p:txBody>
          <a:bodyPr wrap="square">
            <a:spAutoFit/>
          </a:bodyPr>
          <a:lstStyle/>
          <a:p>
            <a:pPr indent="-305912"/>
            <a:r>
              <a:rPr lang="en-US" sz="794">
                <a:solidFill>
                  <a:schemeClr val="bg1"/>
                </a:solidFill>
                <a:latin typeface="Arial" panose="020B0604020202020204" pitchFamily="34" charset="0"/>
                <a:cs typeface="Arial" panose="020B0604020202020204" pitchFamily="34" charset="0"/>
              </a:rPr>
              <a:t>Track immediate results and long-term outcomes for sustainable growth</a:t>
            </a:r>
          </a:p>
        </p:txBody>
      </p:sp>
      <p:sp>
        <p:nvSpPr>
          <p:cNvPr id="44" name="TextBox 43">
            <a:extLst>
              <a:ext uri="{FF2B5EF4-FFF2-40B4-BE49-F238E27FC236}">
                <a16:creationId xmlns:a16="http://schemas.microsoft.com/office/drawing/2014/main" id="{FB23EB11-940D-321A-3B4D-09A6789D2796}"/>
              </a:ext>
            </a:extLst>
          </p:cNvPr>
          <p:cNvSpPr txBox="1"/>
          <p:nvPr/>
        </p:nvSpPr>
        <p:spPr>
          <a:xfrm>
            <a:off x="7315199" y="2565346"/>
            <a:ext cx="1459289" cy="581185"/>
          </a:xfrm>
          <a:prstGeom prst="rect">
            <a:avLst/>
          </a:prstGeom>
          <a:noFill/>
        </p:spPr>
        <p:txBody>
          <a:bodyPr wrap="square">
            <a:spAutoFit/>
          </a:bodyPr>
          <a:lstStyle/>
          <a:p>
            <a:pPr indent="-154625"/>
            <a:r>
              <a:rPr lang="en-US" sz="794">
                <a:solidFill>
                  <a:schemeClr val="bg1"/>
                </a:solidFill>
                <a:latin typeface="Arial" panose="020B0604020202020204" pitchFamily="34" charset="0"/>
                <a:cs typeface="Arial" panose="020B0604020202020204" pitchFamily="34" charset="0"/>
              </a:rPr>
              <a:t>Regularly review metrics and adjust strategies as needed based on performance</a:t>
            </a:r>
          </a:p>
        </p:txBody>
      </p:sp>
    </p:spTree>
    <p:extLst>
      <p:ext uri="{BB962C8B-B14F-4D97-AF65-F5344CB8AC3E}">
        <p14:creationId xmlns:p14="http://schemas.microsoft.com/office/powerpoint/2010/main" val="14445459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subTnLst>
                                    <p:animClr clrSpc="rgb" dir="cw">
                                      <p:cBhvr override="childStyle">
                                        <p:cTn dur="1" fill="hold" display="0" masterRel="nextClick" afterEffect="1"/>
                                        <p:tgtEl>
                                          <p:spTgt spid="31"/>
                                        </p:tgtEl>
                                        <p:attrNameLst>
                                          <p:attrName>ppt_c</p:attrName>
                                        </p:attrNameLst>
                                      </p:cBhvr>
                                      <p:to>
                                        <a:srgbClr val="B2B2B2"/>
                                      </p:to>
                                    </p:animClr>
                                  </p:subTnLst>
                                </p:cTn>
                              </p:par>
                              <p:par>
                                <p:cTn id="7" presetID="1" presetClass="entr" presetSubtype="0"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subTnLst>
                                    <p:animClr clrSpc="rgb" dir="cw">
                                      <p:cBhvr override="childStyle">
                                        <p:cTn dur="1" fill="hold" display="0" masterRel="nextClick" afterEffect="1"/>
                                        <p:tgtEl>
                                          <p:spTgt spid="32"/>
                                        </p:tgtEl>
                                        <p:attrNameLst>
                                          <p:attrName>ppt_c</p:attrName>
                                        </p:attrNameLst>
                                      </p:cBhvr>
                                      <p:to>
                                        <a:schemeClr val="tx1"/>
                                      </p:to>
                                    </p:animClr>
                                  </p:subTnLst>
                                </p:cTn>
                              </p:par>
                              <p:par>
                                <p:cTn id="9" presetID="1" presetClass="entr" presetSubtype="0" fill="hold" grpId="0"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childTnLst>
                                  <p:subTnLst>
                                    <p:animClr clrSpc="rgb" dir="cw">
                                      <p:cBhvr override="childStyle">
                                        <p:cTn dur="1" fill="hold" display="0" masterRel="nextClick" afterEffect="1"/>
                                        <p:tgtEl>
                                          <p:spTgt spid="30"/>
                                        </p:tgtEl>
                                        <p:attrNameLst>
                                          <p:attrName>ppt_c</p:attrName>
                                        </p:attrNameLst>
                                      </p:cBhvr>
                                      <p:to>
                                        <a:srgbClr val="B2B2B2"/>
                                      </p:to>
                                    </p:animClr>
                                  </p:subTnLst>
                                </p:cTn>
                              </p:par>
                              <p:par>
                                <p:cTn id="13" presetID="1" presetClass="entr" presetSubtype="0" fill="hold" grpId="0" nodeType="withEffect">
                                  <p:stCondLst>
                                    <p:cond delay="0"/>
                                  </p:stCondLst>
                                  <p:childTnLst>
                                    <p:set>
                                      <p:cBhvr>
                                        <p:cTn id="14" dur="1" fill="hold">
                                          <p:stCondLst>
                                            <p:cond delay="0"/>
                                          </p:stCondLst>
                                        </p:cTn>
                                        <p:tgtEl>
                                          <p:spTgt spid="40"/>
                                        </p:tgtEl>
                                        <p:attrNameLst>
                                          <p:attrName>style.visibility</p:attrName>
                                        </p:attrNameLst>
                                      </p:cBhvr>
                                      <p:to>
                                        <p:strVal val="visible"/>
                                      </p:to>
                                    </p:set>
                                  </p:childTnLst>
                                  <p:subTnLst>
                                    <p:animClr clrSpc="rgb" dir="cw">
                                      <p:cBhvr override="childStyle">
                                        <p:cTn dur="1" fill="hold" display="0" masterRel="nextClick" afterEffect="1"/>
                                        <p:tgtEl>
                                          <p:spTgt spid="40"/>
                                        </p:tgtEl>
                                        <p:attrNameLst>
                                          <p:attrName>ppt_c</p:attrName>
                                        </p:attrNameLst>
                                      </p:cBhvr>
                                      <p:to>
                                        <a:schemeClr val="tx1"/>
                                      </p:to>
                                    </p:animClr>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subTnLst>
                                    <p:animClr clrSpc="rgb" dir="cw">
                                      <p:cBhvr override="childStyle">
                                        <p:cTn dur="1" fill="hold" display="0" masterRel="nextClick" afterEffect="1"/>
                                        <p:tgtEl>
                                          <p:spTgt spid="11"/>
                                        </p:tgtEl>
                                        <p:attrNameLst>
                                          <p:attrName>ppt_c</p:attrName>
                                        </p:attrNameLst>
                                      </p:cBhvr>
                                      <p:to>
                                        <a:srgbClr val="B2B2B2"/>
                                      </p:to>
                                    </p:animClr>
                                  </p:subTnLst>
                                </p:cTn>
                              </p:par>
                              <p:par>
                                <p:cTn id="21" presetID="1"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subTnLst>
                                    <p:animClr clrSpc="rgb" dir="cw">
                                      <p:cBhvr override="childStyle">
                                        <p:cTn dur="1" fill="hold" display="0" masterRel="nextClick" afterEffect="1"/>
                                        <p:tgtEl>
                                          <p:spTgt spid="7"/>
                                        </p:tgtEl>
                                        <p:attrNameLst>
                                          <p:attrName>ppt_c</p:attrName>
                                        </p:attrNameLst>
                                      </p:cBhvr>
                                      <p:to>
                                        <a:srgbClr val="B2B2B2"/>
                                      </p:to>
                                    </p:animClr>
                                  </p:sub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subTnLst>
                                    <p:animClr clrSpc="rgb" dir="cw">
                                      <p:cBhvr override="childStyle">
                                        <p:cTn dur="1" fill="hold" display="0" masterRel="nextClick" afterEffect="1"/>
                                        <p:tgtEl>
                                          <p:spTgt spid="9"/>
                                        </p:tgtEl>
                                        <p:attrNameLst>
                                          <p:attrName>ppt_c</p:attrName>
                                        </p:attrNameLst>
                                      </p:cBhvr>
                                      <p:to>
                                        <a:schemeClr val="tx1"/>
                                      </p:to>
                                    </p:animClr>
                                  </p:subTnLst>
                                </p:cTn>
                              </p:par>
                              <p:par>
                                <p:cTn id="25" presetID="1"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childTnLst>
                                  <p:subTnLst>
                                    <p:animClr clrSpc="rgb" dir="cw">
                                      <p:cBhvr override="childStyle">
                                        <p:cTn dur="1" fill="hold" display="0" masterRel="nextClick" afterEffect="1"/>
                                        <p:tgtEl>
                                          <p:spTgt spid="41"/>
                                        </p:tgtEl>
                                        <p:attrNameLst>
                                          <p:attrName>ppt_c</p:attrName>
                                        </p:attrNameLst>
                                      </p:cBhvr>
                                      <p:to>
                                        <a:schemeClr val="tx1"/>
                                      </p:to>
                                    </p:animClr>
                                  </p:sub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8"/>
                                        </p:tgtEl>
                                        <p:attrNameLst>
                                          <p:attrName>style.visibility</p:attrName>
                                        </p:attrNameLst>
                                      </p:cBhvr>
                                      <p:to>
                                        <p:strVal val="visible"/>
                                      </p:to>
                                    </p:set>
                                  </p:childTnLst>
                                  <p:subTnLst>
                                    <p:animClr clrSpc="rgb" dir="cw">
                                      <p:cBhvr override="childStyle">
                                        <p:cTn dur="1" fill="hold" display="0" masterRel="nextClick" afterEffect="1"/>
                                        <p:tgtEl>
                                          <p:spTgt spid="18"/>
                                        </p:tgtEl>
                                        <p:attrNameLst>
                                          <p:attrName>ppt_c</p:attrName>
                                        </p:attrNameLst>
                                      </p:cBhvr>
                                      <p:to>
                                        <a:srgbClr val="B2B2B2"/>
                                      </p:to>
                                    </p:animClr>
                                  </p:subTnLst>
                                </p:cTn>
                              </p:par>
                              <p:par>
                                <p:cTn id="33" presetID="1"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childTnLst>
                                  <p:subTnLst>
                                    <p:animClr clrSpc="rgb" dir="cw">
                                      <p:cBhvr override="childStyle">
                                        <p:cTn dur="1" fill="hold" display="0" masterRel="nextClick" afterEffect="1"/>
                                        <p:tgtEl>
                                          <p:spTgt spid="15"/>
                                        </p:tgtEl>
                                        <p:attrNameLst>
                                          <p:attrName>ppt_c</p:attrName>
                                        </p:attrNameLst>
                                      </p:cBhvr>
                                      <p:to>
                                        <a:srgbClr val="B2B2B2"/>
                                      </p:to>
                                    </p:animClr>
                                  </p:subTnLst>
                                </p:cTn>
                              </p:par>
                              <p:par>
                                <p:cTn id="35" presetID="1" presetClass="entr" presetSubtype="0"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childTnLst>
                                  <p:subTnLst>
                                    <p:animClr clrSpc="rgb" dir="cw">
                                      <p:cBhvr override="childStyle">
                                        <p:cTn dur="1" fill="hold" display="0" masterRel="nextClick" afterEffect="1"/>
                                        <p:tgtEl>
                                          <p:spTgt spid="16"/>
                                        </p:tgtEl>
                                        <p:attrNameLst>
                                          <p:attrName>ppt_c</p:attrName>
                                        </p:attrNameLst>
                                      </p:cBhvr>
                                      <p:to>
                                        <a:schemeClr val="tx1"/>
                                      </p:to>
                                    </p:animClr>
                                  </p:subTnLst>
                                </p:cTn>
                              </p:par>
                              <p:par>
                                <p:cTn id="37" presetID="1" presetClass="entr" presetSubtype="0" fill="hold" grpId="0" nodeType="withEffect">
                                  <p:stCondLst>
                                    <p:cond delay="0"/>
                                  </p:stCondLst>
                                  <p:childTnLst>
                                    <p:set>
                                      <p:cBhvr>
                                        <p:cTn id="38" dur="1" fill="hold">
                                          <p:stCondLst>
                                            <p:cond delay="0"/>
                                          </p:stCondLst>
                                        </p:cTn>
                                        <p:tgtEl>
                                          <p:spTgt spid="42"/>
                                        </p:tgtEl>
                                        <p:attrNameLst>
                                          <p:attrName>style.visibility</p:attrName>
                                        </p:attrNameLst>
                                      </p:cBhvr>
                                      <p:to>
                                        <p:strVal val="visible"/>
                                      </p:to>
                                    </p:set>
                                  </p:childTnLst>
                                  <p:subTnLst>
                                    <p:animClr clrSpc="rgb" dir="cw">
                                      <p:cBhvr override="childStyle">
                                        <p:cTn dur="1" fill="hold" display="0" masterRel="nextClick" afterEffect="1"/>
                                        <p:tgtEl>
                                          <p:spTgt spid="42"/>
                                        </p:tgtEl>
                                        <p:attrNameLst>
                                          <p:attrName>ppt_c</p:attrName>
                                        </p:attrNameLst>
                                      </p:cBhvr>
                                      <p:to>
                                        <a:schemeClr val="tx1"/>
                                      </p:to>
                                    </p:animClr>
                                  </p:sub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9"/>
                                        </p:tgtEl>
                                        <p:attrNameLst>
                                          <p:attrName>style.visibility</p:attrName>
                                        </p:attrNameLst>
                                      </p:cBhvr>
                                      <p:to>
                                        <p:strVal val="visible"/>
                                      </p:to>
                                    </p:set>
                                  </p:childTnLst>
                                  <p:subTnLst>
                                    <p:animClr clrSpc="rgb" dir="cw">
                                      <p:cBhvr override="childStyle">
                                        <p:cTn dur="1" fill="hold" display="0" masterRel="nextClick" afterEffect="1"/>
                                        <p:tgtEl>
                                          <p:spTgt spid="39"/>
                                        </p:tgtEl>
                                        <p:attrNameLst>
                                          <p:attrName>ppt_c</p:attrName>
                                        </p:attrNameLst>
                                      </p:cBhvr>
                                      <p:to>
                                        <a:srgbClr val="B2B2B2"/>
                                      </p:to>
                                    </p:animClr>
                                  </p:subTnLst>
                                </p:cTn>
                              </p:par>
                              <p:par>
                                <p:cTn id="45" presetID="1" presetClass="entr" presetSubtype="0" fill="hold" grpId="0" nodeType="withEffect">
                                  <p:stCondLst>
                                    <p:cond delay="0"/>
                                  </p:stCondLst>
                                  <p:childTnLst>
                                    <p:set>
                                      <p:cBhvr>
                                        <p:cTn id="46" dur="1" fill="hold">
                                          <p:stCondLst>
                                            <p:cond delay="0"/>
                                          </p:stCondLst>
                                        </p:cTn>
                                        <p:tgtEl>
                                          <p:spTgt spid="36"/>
                                        </p:tgtEl>
                                        <p:attrNameLst>
                                          <p:attrName>style.visibility</p:attrName>
                                        </p:attrNameLst>
                                      </p:cBhvr>
                                      <p:to>
                                        <p:strVal val="visible"/>
                                      </p:to>
                                    </p:set>
                                  </p:childTnLst>
                                  <p:subTnLst>
                                    <p:animClr clrSpc="rgb" dir="cw">
                                      <p:cBhvr override="childStyle">
                                        <p:cTn dur="1" fill="hold" display="0" masterRel="nextClick" afterEffect="1"/>
                                        <p:tgtEl>
                                          <p:spTgt spid="36"/>
                                        </p:tgtEl>
                                        <p:attrNameLst>
                                          <p:attrName>ppt_c</p:attrName>
                                        </p:attrNameLst>
                                      </p:cBhvr>
                                      <p:to>
                                        <a:srgbClr val="B2B2B2"/>
                                      </p:to>
                                    </p:animClr>
                                  </p:subTnLst>
                                </p:cTn>
                              </p:par>
                              <p:par>
                                <p:cTn id="47" presetID="1" presetClass="entr" presetSubtype="0" fill="hold" grpId="0" nodeType="withEffect">
                                  <p:stCondLst>
                                    <p:cond delay="0"/>
                                  </p:stCondLst>
                                  <p:childTnLst>
                                    <p:set>
                                      <p:cBhvr>
                                        <p:cTn id="48" dur="1" fill="hold">
                                          <p:stCondLst>
                                            <p:cond delay="0"/>
                                          </p:stCondLst>
                                        </p:cTn>
                                        <p:tgtEl>
                                          <p:spTgt spid="37"/>
                                        </p:tgtEl>
                                        <p:attrNameLst>
                                          <p:attrName>style.visibility</p:attrName>
                                        </p:attrNameLst>
                                      </p:cBhvr>
                                      <p:to>
                                        <p:strVal val="visible"/>
                                      </p:to>
                                    </p:set>
                                  </p:childTnLst>
                                  <p:subTnLst>
                                    <p:animClr clrSpc="rgb" dir="cw">
                                      <p:cBhvr override="childStyle">
                                        <p:cTn dur="1" fill="hold" display="0" masterRel="nextClick" afterEffect="1"/>
                                        <p:tgtEl>
                                          <p:spTgt spid="37"/>
                                        </p:tgtEl>
                                        <p:attrNameLst>
                                          <p:attrName>ppt_c</p:attrName>
                                        </p:attrNameLst>
                                      </p:cBhvr>
                                      <p:to>
                                        <a:schemeClr val="tx1"/>
                                      </p:to>
                                    </p:animClr>
                                  </p:subTnLst>
                                </p:cTn>
                              </p:par>
                              <p:par>
                                <p:cTn id="49" presetID="1" presetClass="entr" presetSubtype="0" fill="hold" grpId="0" nodeType="withEffect">
                                  <p:stCondLst>
                                    <p:cond delay="0"/>
                                  </p:stCondLst>
                                  <p:childTnLst>
                                    <p:set>
                                      <p:cBhvr>
                                        <p:cTn id="50" dur="1" fill="hold">
                                          <p:stCondLst>
                                            <p:cond delay="0"/>
                                          </p:stCondLst>
                                        </p:cTn>
                                        <p:tgtEl>
                                          <p:spTgt spid="43"/>
                                        </p:tgtEl>
                                        <p:attrNameLst>
                                          <p:attrName>style.visibility</p:attrName>
                                        </p:attrNameLst>
                                      </p:cBhvr>
                                      <p:to>
                                        <p:strVal val="visible"/>
                                      </p:to>
                                    </p:set>
                                  </p:childTnLst>
                                  <p:subTnLst>
                                    <p:animClr clrSpc="rgb" dir="cw">
                                      <p:cBhvr override="childStyle">
                                        <p:cTn dur="1" fill="hold" display="0" masterRel="nextClick" afterEffect="1"/>
                                        <p:tgtEl>
                                          <p:spTgt spid="43"/>
                                        </p:tgtEl>
                                        <p:attrNameLst>
                                          <p:attrName>ppt_c</p:attrName>
                                        </p:attrNameLst>
                                      </p:cBhvr>
                                      <p:to>
                                        <a:schemeClr val="tx1"/>
                                      </p:to>
                                    </p:animClr>
                                  </p:sub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4"/>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5"/>
                                        </p:tgtEl>
                                        <p:attrNameLst>
                                          <p:attrName>style.visibility</p:attrName>
                                        </p:attrNameLst>
                                      </p:cBhvr>
                                      <p:to>
                                        <p:strVal val="visible"/>
                                      </p:to>
                                    </p:set>
                                  </p:childTnLst>
                                  <p:subTnLst>
                                    <p:animClr clrSpc="rgb" dir="cw">
                                      <p:cBhvr override="childStyle">
                                        <p:cTn dur="1" fill="hold" display="0" masterRel="nextClick" afterEffect="1"/>
                                        <p:tgtEl>
                                          <p:spTgt spid="25"/>
                                        </p:tgtEl>
                                        <p:attrNameLst>
                                          <p:attrName>ppt_c</p:attrName>
                                        </p:attrNameLst>
                                      </p:cBhvr>
                                      <p:to>
                                        <a:srgbClr val="B2B2B2"/>
                                      </p:to>
                                    </p:animClr>
                                  </p:subTnLst>
                                </p:cTn>
                              </p:par>
                              <p:par>
                                <p:cTn id="57" presetID="1" presetClass="entr" presetSubtype="0" fill="hold" grpId="0" nodeType="withEffect">
                                  <p:stCondLst>
                                    <p:cond delay="0"/>
                                  </p:stCondLst>
                                  <p:childTnLst>
                                    <p:set>
                                      <p:cBhvr>
                                        <p:cTn id="58" dur="1" fill="hold">
                                          <p:stCondLst>
                                            <p:cond delay="0"/>
                                          </p:stCondLst>
                                        </p:cTn>
                                        <p:tgtEl>
                                          <p:spTgt spid="22"/>
                                        </p:tgtEl>
                                        <p:attrNameLst>
                                          <p:attrName>style.visibility</p:attrName>
                                        </p:attrNameLst>
                                      </p:cBhvr>
                                      <p:to>
                                        <p:strVal val="visible"/>
                                      </p:to>
                                    </p:set>
                                  </p:childTnLst>
                                  <p:subTnLst>
                                    <p:animClr clrSpc="rgb" dir="cw">
                                      <p:cBhvr override="childStyle">
                                        <p:cTn dur="1" fill="hold" display="0" masterRel="nextClick" afterEffect="1"/>
                                        <p:tgtEl>
                                          <p:spTgt spid="22"/>
                                        </p:tgtEl>
                                        <p:attrNameLst>
                                          <p:attrName>ppt_c</p:attrName>
                                        </p:attrNameLst>
                                      </p:cBhvr>
                                      <p:to>
                                        <a:srgbClr val="B2B2B2"/>
                                      </p:to>
                                    </p:animClr>
                                  </p:subTnLst>
                                </p:cTn>
                              </p:par>
                              <p:par>
                                <p:cTn id="59" presetID="1" presetClass="entr" presetSubtype="0" fill="hold" grpId="0" nodeType="withEffect">
                                  <p:stCondLst>
                                    <p:cond delay="0"/>
                                  </p:stCondLst>
                                  <p:childTnLst>
                                    <p:set>
                                      <p:cBhvr>
                                        <p:cTn id="60" dur="1" fill="hold">
                                          <p:stCondLst>
                                            <p:cond delay="0"/>
                                          </p:stCondLst>
                                        </p:cTn>
                                        <p:tgtEl>
                                          <p:spTgt spid="23"/>
                                        </p:tgtEl>
                                        <p:attrNameLst>
                                          <p:attrName>style.visibility</p:attrName>
                                        </p:attrNameLst>
                                      </p:cBhvr>
                                      <p:to>
                                        <p:strVal val="visible"/>
                                      </p:to>
                                    </p:set>
                                  </p:childTnLst>
                                  <p:subTnLst>
                                    <p:animClr clrSpc="rgb" dir="cw">
                                      <p:cBhvr override="childStyle">
                                        <p:cTn dur="1" fill="hold" display="0" masterRel="nextClick" afterEffect="1"/>
                                        <p:tgtEl>
                                          <p:spTgt spid="23"/>
                                        </p:tgtEl>
                                        <p:attrNameLst>
                                          <p:attrName>ppt_c</p:attrName>
                                        </p:attrNameLst>
                                      </p:cBhvr>
                                      <p:to>
                                        <a:schemeClr val="tx1"/>
                                      </p:to>
                                    </p:animClr>
                                  </p:subTnLst>
                                </p:cTn>
                              </p:par>
                              <p:par>
                                <p:cTn id="61" presetID="1" presetClass="entr" presetSubtype="0" fill="hold" grpId="0" nodeType="withEffect">
                                  <p:stCondLst>
                                    <p:cond delay="0"/>
                                  </p:stCondLst>
                                  <p:childTnLst>
                                    <p:set>
                                      <p:cBhvr>
                                        <p:cTn id="62" dur="1" fill="hold">
                                          <p:stCondLst>
                                            <p:cond delay="0"/>
                                          </p:stCondLst>
                                        </p:cTn>
                                        <p:tgtEl>
                                          <p:spTgt spid="44"/>
                                        </p:tgtEl>
                                        <p:attrNameLst>
                                          <p:attrName>style.visibility</p:attrName>
                                        </p:attrNameLst>
                                      </p:cBhvr>
                                      <p:to>
                                        <p:strVal val="visible"/>
                                      </p:to>
                                    </p:set>
                                  </p:childTnLst>
                                  <p:subTnLst>
                                    <p:animClr clrSpc="rgb" dir="cw">
                                      <p:cBhvr override="childStyle">
                                        <p:cTn dur="1" fill="hold" display="0" masterRel="nextClick" afterEffect="1"/>
                                        <p:tgtEl>
                                          <p:spTgt spid="44"/>
                                        </p:tgtEl>
                                        <p:attrNameLst>
                                          <p:attrName>ppt_c</p:attrName>
                                        </p:attrNameLst>
                                      </p:cBhvr>
                                      <p:to>
                                        <a:schemeClr val="tx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7" grpId="0" animBg="1"/>
      <p:bldP spid="9" grpId="0"/>
      <p:bldP spid="17" grpId="0" animBg="1"/>
      <p:bldP spid="18" grpId="0" animBg="1"/>
      <p:bldP spid="15" grpId="0" animBg="1"/>
      <p:bldP spid="16" grpId="0"/>
      <p:bldP spid="24" grpId="0" animBg="1"/>
      <p:bldP spid="25" grpId="0" animBg="1"/>
      <p:bldP spid="22" grpId="0" animBg="1"/>
      <p:bldP spid="23" grpId="0"/>
      <p:bldP spid="31" grpId="0" animBg="1"/>
      <p:bldP spid="32" grpId="0"/>
      <p:bldP spid="29" grpId="0" animBg="1"/>
      <p:bldP spid="30" grpId="0" animBg="1"/>
      <p:bldP spid="38" grpId="0" animBg="1"/>
      <p:bldP spid="39" grpId="0" animBg="1"/>
      <p:bldP spid="36" grpId="0" animBg="1"/>
      <p:bldP spid="37" grpId="0"/>
      <p:bldP spid="40" grpId="0"/>
      <p:bldP spid="41" grpId="0"/>
      <p:bldP spid="42" grpId="0"/>
      <p:bldP spid="43" grpId="0"/>
      <p:bldP spid="44"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143444"/>
            <a:ext cx="8106305" cy="513211"/>
          </a:xfrm>
        </p:spPr>
        <p:txBody>
          <a:bodyPr/>
          <a:lstStyle/>
          <a:p>
            <a:r>
              <a:rPr lang="en-US" sz="2100">
                <a:solidFill>
                  <a:srgbClr val="54565A"/>
                </a:solidFill>
              </a:rPr>
              <a:t>Review - Data-Informed Decision-Making Process</a:t>
            </a:r>
            <a:endParaRPr lang="en-IN" sz="2100"/>
          </a:p>
        </p:txBody>
      </p:sp>
      <p:grpSp>
        <p:nvGrpSpPr>
          <p:cNvPr id="16" name="Group 49">
            <a:extLst>
              <a:ext uri="{FF2B5EF4-FFF2-40B4-BE49-F238E27FC236}">
                <a16:creationId xmlns:a16="http://schemas.microsoft.com/office/drawing/2014/main" id="{1B29896E-9B8D-3E17-932C-3903EAE2D72F}"/>
              </a:ext>
            </a:extLst>
          </p:cNvPr>
          <p:cNvGrpSpPr/>
          <p:nvPr/>
        </p:nvGrpSpPr>
        <p:grpSpPr>
          <a:xfrm>
            <a:off x="2724413" y="979496"/>
            <a:ext cx="3757308" cy="3790791"/>
            <a:chOff x="1389843" y="389521"/>
            <a:chExt cx="6137936" cy="6192637"/>
          </a:xfrm>
        </p:grpSpPr>
        <p:grpSp>
          <p:nvGrpSpPr>
            <p:cNvPr id="21" name="Group 54">
              <a:extLst>
                <a:ext uri="{FF2B5EF4-FFF2-40B4-BE49-F238E27FC236}">
                  <a16:creationId xmlns:a16="http://schemas.microsoft.com/office/drawing/2014/main" id="{3E52458F-AC4D-B8DF-D4B9-5D41B9A81250}"/>
                </a:ext>
              </a:extLst>
            </p:cNvPr>
            <p:cNvGrpSpPr/>
            <p:nvPr/>
          </p:nvGrpSpPr>
          <p:grpSpPr>
            <a:xfrm>
              <a:off x="4399743" y="465721"/>
              <a:ext cx="3128036" cy="6116437"/>
              <a:chOff x="4399743" y="465721"/>
              <a:chExt cx="3128036" cy="6116437"/>
            </a:xfrm>
          </p:grpSpPr>
          <p:grpSp>
            <p:nvGrpSpPr>
              <p:cNvPr id="54" name="Group 70">
                <a:extLst>
                  <a:ext uri="{FF2B5EF4-FFF2-40B4-BE49-F238E27FC236}">
                    <a16:creationId xmlns:a16="http://schemas.microsoft.com/office/drawing/2014/main" id="{F1476AC4-6453-4C40-CD1F-A8C040C88D0A}"/>
                  </a:ext>
                </a:extLst>
              </p:cNvPr>
              <p:cNvGrpSpPr/>
              <p:nvPr/>
            </p:nvGrpSpPr>
            <p:grpSpPr>
              <a:xfrm>
                <a:off x="4444203" y="465721"/>
                <a:ext cx="3083576" cy="3089935"/>
                <a:chOff x="4444203" y="465721"/>
                <a:chExt cx="3083576" cy="3089935"/>
              </a:xfrm>
            </p:grpSpPr>
            <p:grpSp>
              <p:nvGrpSpPr>
                <p:cNvPr id="62" name="Group 78">
                  <a:extLst>
                    <a:ext uri="{FF2B5EF4-FFF2-40B4-BE49-F238E27FC236}">
                      <a16:creationId xmlns:a16="http://schemas.microsoft.com/office/drawing/2014/main" id="{AE8779C5-D990-F63D-214D-843B38173EEA}"/>
                    </a:ext>
                  </a:extLst>
                </p:cNvPr>
                <p:cNvGrpSpPr/>
                <p:nvPr/>
              </p:nvGrpSpPr>
              <p:grpSpPr>
                <a:xfrm>
                  <a:off x="4444203" y="465721"/>
                  <a:ext cx="1900448" cy="1827219"/>
                  <a:chOff x="4444203" y="465721"/>
                  <a:chExt cx="1900448" cy="1827219"/>
                </a:xfrm>
              </p:grpSpPr>
              <p:sp>
                <p:nvSpPr>
                  <p:cNvPr id="66" name="Donut 24">
                    <a:extLst>
                      <a:ext uri="{FF2B5EF4-FFF2-40B4-BE49-F238E27FC236}">
                        <a16:creationId xmlns:a16="http://schemas.microsoft.com/office/drawing/2014/main" id="{5ECF8042-07D3-601B-180B-7090DF06CFB4}"/>
                      </a:ext>
                    </a:extLst>
                  </p:cNvPr>
                  <p:cNvSpPr/>
                  <p:nvPr/>
                </p:nvSpPr>
                <p:spPr>
                  <a:xfrm>
                    <a:off x="4444203" y="465721"/>
                    <a:ext cx="1900448" cy="1827219"/>
                  </a:xfrm>
                  <a:custGeom>
                    <a:avLst/>
                    <a:gdLst>
                      <a:gd name="connsiteX0" fmla="*/ 970678 w 2130202"/>
                      <a:gd name="connsiteY0" fmla="*/ 2000917 h 2043773"/>
                      <a:gd name="connsiteX1" fmla="*/ 1016277 w 2130202"/>
                      <a:gd name="connsiteY1" fmla="*/ 2043773 h 2043773"/>
                      <a:gd name="connsiteX2" fmla="*/ 970678 w 2130202"/>
                      <a:gd name="connsiteY2" fmla="*/ 2000917 h 2043773"/>
                      <a:gd name="connsiteX3" fmla="*/ 2104790 w 2130202"/>
                      <a:gd name="connsiteY3" fmla="*/ 886382 h 2043773"/>
                      <a:gd name="connsiteX4" fmla="*/ 2130202 w 2130202"/>
                      <a:gd name="connsiteY4" fmla="*/ 910265 h 2043773"/>
                      <a:gd name="connsiteX5" fmla="*/ 2060315 w 2130202"/>
                      <a:gd name="connsiteY5" fmla="*/ 981381 h 2043773"/>
                      <a:gd name="connsiteX6" fmla="*/ 2104790 w 2130202"/>
                      <a:gd name="connsiteY6" fmla="*/ 886382 h 2043773"/>
                      <a:gd name="connsiteX7" fmla="*/ 0 w 2130202"/>
                      <a:gd name="connsiteY7" fmla="*/ 0 h 2043773"/>
                      <a:gd name="connsiteX8" fmla="*/ 1900448 w 2130202"/>
                      <a:gd name="connsiteY8" fmla="*/ 697070 h 2043773"/>
                      <a:gd name="connsiteX9" fmla="*/ 1591947 w 2130202"/>
                      <a:gd name="connsiteY9" fmla="*/ 1417307 h 2043773"/>
                      <a:gd name="connsiteX10" fmla="*/ 747346 w 2130202"/>
                      <a:gd name="connsiteY10" fmla="*/ 1827219 h 2043773"/>
                      <a:gd name="connsiteX11" fmla="*/ 0 w 2130202"/>
                      <a:gd name="connsiteY11" fmla="*/ 1609503 h 2043773"/>
                      <a:gd name="connsiteX12" fmla="*/ 264145 w 2130202"/>
                      <a:gd name="connsiteY12" fmla="*/ 789774 h 2043773"/>
                      <a:gd name="connsiteX13" fmla="*/ 0 w 2130202"/>
                      <a:gd name="connsiteY13" fmla="*/ 0 h 2043773"/>
                      <a:gd name="connsiteX0" fmla="*/ 2104790 w 2130202"/>
                      <a:gd name="connsiteY0" fmla="*/ 886382 h 1827219"/>
                      <a:gd name="connsiteX1" fmla="*/ 2130202 w 2130202"/>
                      <a:gd name="connsiteY1" fmla="*/ 910265 h 1827219"/>
                      <a:gd name="connsiteX2" fmla="*/ 2060315 w 2130202"/>
                      <a:gd name="connsiteY2" fmla="*/ 981381 h 1827219"/>
                      <a:gd name="connsiteX3" fmla="*/ 2104790 w 2130202"/>
                      <a:gd name="connsiteY3" fmla="*/ 886382 h 1827219"/>
                      <a:gd name="connsiteX4" fmla="*/ 0 w 2130202"/>
                      <a:gd name="connsiteY4" fmla="*/ 0 h 1827219"/>
                      <a:gd name="connsiteX5" fmla="*/ 1900448 w 2130202"/>
                      <a:gd name="connsiteY5" fmla="*/ 697070 h 1827219"/>
                      <a:gd name="connsiteX6" fmla="*/ 1591947 w 2130202"/>
                      <a:gd name="connsiteY6" fmla="*/ 1417307 h 1827219"/>
                      <a:gd name="connsiteX7" fmla="*/ 747346 w 2130202"/>
                      <a:gd name="connsiteY7" fmla="*/ 1827219 h 1827219"/>
                      <a:gd name="connsiteX8" fmla="*/ 0 w 2130202"/>
                      <a:gd name="connsiteY8" fmla="*/ 1609503 h 1827219"/>
                      <a:gd name="connsiteX9" fmla="*/ 264145 w 2130202"/>
                      <a:gd name="connsiteY9" fmla="*/ 789774 h 1827219"/>
                      <a:gd name="connsiteX10" fmla="*/ 0 w 2130202"/>
                      <a:gd name="connsiteY10" fmla="*/ 0 h 1827219"/>
                      <a:gd name="connsiteX0" fmla="*/ 2104790 w 2130202"/>
                      <a:gd name="connsiteY0" fmla="*/ 886382 h 1827219"/>
                      <a:gd name="connsiteX1" fmla="*/ 2130202 w 2130202"/>
                      <a:gd name="connsiteY1" fmla="*/ 910265 h 1827219"/>
                      <a:gd name="connsiteX2" fmla="*/ 2104790 w 2130202"/>
                      <a:gd name="connsiteY2" fmla="*/ 886382 h 1827219"/>
                      <a:gd name="connsiteX3" fmla="*/ 0 w 2130202"/>
                      <a:gd name="connsiteY3" fmla="*/ 0 h 1827219"/>
                      <a:gd name="connsiteX4" fmla="*/ 1900448 w 2130202"/>
                      <a:gd name="connsiteY4" fmla="*/ 697070 h 1827219"/>
                      <a:gd name="connsiteX5" fmla="*/ 1591947 w 2130202"/>
                      <a:gd name="connsiteY5" fmla="*/ 1417307 h 1827219"/>
                      <a:gd name="connsiteX6" fmla="*/ 747346 w 2130202"/>
                      <a:gd name="connsiteY6" fmla="*/ 1827219 h 1827219"/>
                      <a:gd name="connsiteX7" fmla="*/ 0 w 2130202"/>
                      <a:gd name="connsiteY7" fmla="*/ 1609503 h 1827219"/>
                      <a:gd name="connsiteX8" fmla="*/ 264145 w 2130202"/>
                      <a:gd name="connsiteY8" fmla="*/ 789774 h 1827219"/>
                      <a:gd name="connsiteX9" fmla="*/ 0 w 2130202"/>
                      <a:gd name="connsiteY9" fmla="*/ 0 h 1827219"/>
                      <a:gd name="connsiteX0" fmla="*/ 0 w 1900448"/>
                      <a:gd name="connsiteY0" fmla="*/ 0 h 1827219"/>
                      <a:gd name="connsiteX1" fmla="*/ 1900448 w 1900448"/>
                      <a:gd name="connsiteY1" fmla="*/ 697070 h 1827219"/>
                      <a:gd name="connsiteX2" fmla="*/ 1591947 w 1900448"/>
                      <a:gd name="connsiteY2" fmla="*/ 1417307 h 1827219"/>
                      <a:gd name="connsiteX3" fmla="*/ 747346 w 1900448"/>
                      <a:gd name="connsiteY3" fmla="*/ 1827219 h 1827219"/>
                      <a:gd name="connsiteX4" fmla="*/ 0 w 1900448"/>
                      <a:gd name="connsiteY4" fmla="*/ 1609503 h 1827219"/>
                      <a:gd name="connsiteX5" fmla="*/ 264145 w 1900448"/>
                      <a:gd name="connsiteY5" fmla="*/ 789774 h 1827219"/>
                      <a:gd name="connsiteX6" fmla="*/ 0 w 1900448"/>
                      <a:gd name="connsiteY6" fmla="*/ 0 h 182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0448" h="1827219">
                        <a:moveTo>
                          <a:pt x="0" y="0"/>
                        </a:moveTo>
                        <a:cubicBezTo>
                          <a:pt x="721537" y="0"/>
                          <a:pt x="1383611" y="261067"/>
                          <a:pt x="1900448" y="697070"/>
                        </a:cubicBezTo>
                        <a:lnTo>
                          <a:pt x="1591947" y="1417307"/>
                        </a:lnTo>
                        <a:lnTo>
                          <a:pt x="747346" y="1827219"/>
                        </a:lnTo>
                        <a:cubicBezTo>
                          <a:pt x="530554" y="1688578"/>
                          <a:pt x="274282" y="1609503"/>
                          <a:pt x="0" y="1609503"/>
                        </a:cubicBezTo>
                        <a:lnTo>
                          <a:pt x="264145" y="789774"/>
                        </a:lnTo>
                        <a:lnTo>
                          <a:pt x="0" y="0"/>
                        </a:lnTo>
                        <a:close/>
                      </a:path>
                    </a:pathLst>
                  </a:custGeom>
                  <a:solidFill>
                    <a:schemeClr val="bg2">
                      <a:lumMod val="50000"/>
                    </a:schemeClr>
                  </a:solidFill>
                  <a:ln w="508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67" name="Donut 24">
                    <a:extLst>
                      <a:ext uri="{FF2B5EF4-FFF2-40B4-BE49-F238E27FC236}">
                        <a16:creationId xmlns:a16="http://schemas.microsoft.com/office/drawing/2014/main" id="{A9916B93-5077-CCAE-848F-2BBD1640EDAC}"/>
                      </a:ext>
                    </a:extLst>
                  </p:cNvPr>
                  <p:cNvSpPr/>
                  <p:nvPr/>
                </p:nvSpPr>
                <p:spPr>
                  <a:xfrm>
                    <a:off x="4557010" y="560455"/>
                    <a:ext cx="1680062" cy="1587599"/>
                  </a:xfrm>
                  <a:custGeom>
                    <a:avLst/>
                    <a:gdLst/>
                    <a:ahLst/>
                    <a:cxnLst/>
                    <a:rect l="l" t="t" r="r" b="b"/>
                    <a:pathLst>
                      <a:path w="1680063" h="1587599">
                        <a:moveTo>
                          <a:pt x="23469" y="0"/>
                        </a:moveTo>
                        <a:cubicBezTo>
                          <a:pt x="648030" y="25947"/>
                          <a:pt x="1221342" y="255814"/>
                          <a:pt x="1680063" y="628703"/>
                        </a:cubicBezTo>
                        <a:lnTo>
                          <a:pt x="1426718" y="1229154"/>
                        </a:lnTo>
                        <a:lnTo>
                          <a:pt x="662412" y="1587599"/>
                        </a:lnTo>
                        <a:cubicBezTo>
                          <a:pt x="463983" y="1479615"/>
                          <a:pt x="239095" y="1414515"/>
                          <a:pt x="0" y="1404060"/>
                        </a:cubicBezTo>
                        <a:lnTo>
                          <a:pt x="283794" y="677957"/>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grpSp>
            <p:grpSp>
              <p:nvGrpSpPr>
                <p:cNvPr id="63" name="Group 79">
                  <a:extLst>
                    <a:ext uri="{FF2B5EF4-FFF2-40B4-BE49-F238E27FC236}">
                      <a16:creationId xmlns:a16="http://schemas.microsoft.com/office/drawing/2014/main" id="{0EB372EF-1D52-68FD-D527-08923EEB52FF}"/>
                    </a:ext>
                  </a:extLst>
                </p:cNvPr>
                <p:cNvGrpSpPr/>
                <p:nvPr/>
              </p:nvGrpSpPr>
              <p:grpSpPr>
                <a:xfrm rot="2659168">
                  <a:off x="5627331" y="1728437"/>
                  <a:ext cx="1900448" cy="1827219"/>
                  <a:chOff x="4444203" y="465721"/>
                  <a:chExt cx="1900448" cy="1827219"/>
                </a:xfrm>
              </p:grpSpPr>
              <p:sp>
                <p:nvSpPr>
                  <p:cNvPr id="64" name="Donut 24">
                    <a:extLst>
                      <a:ext uri="{FF2B5EF4-FFF2-40B4-BE49-F238E27FC236}">
                        <a16:creationId xmlns:a16="http://schemas.microsoft.com/office/drawing/2014/main" id="{6492FA31-2B62-A53F-C151-14725ED3934B}"/>
                      </a:ext>
                    </a:extLst>
                  </p:cNvPr>
                  <p:cNvSpPr/>
                  <p:nvPr/>
                </p:nvSpPr>
                <p:spPr>
                  <a:xfrm>
                    <a:off x="4444203" y="465721"/>
                    <a:ext cx="1900448" cy="1827219"/>
                  </a:xfrm>
                  <a:custGeom>
                    <a:avLst/>
                    <a:gdLst>
                      <a:gd name="connsiteX0" fmla="*/ 970678 w 2130202"/>
                      <a:gd name="connsiteY0" fmla="*/ 2000917 h 2043773"/>
                      <a:gd name="connsiteX1" fmla="*/ 1016277 w 2130202"/>
                      <a:gd name="connsiteY1" fmla="*/ 2043773 h 2043773"/>
                      <a:gd name="connsiteX2" fmla="*/ 970678 w 2130202"/>
                      <a:gd name="connsiteY2" fmla="*/ 2000917 h 2043773"/>
                      <a:gd name="connsiteX3" fmla="*/ 2104790 w 2130202"/>
                      <a:gd name="connsiteY3" fmla="*/ 886382 h 2043773"/>
                      <a:gd name="connsiteX4" fmla="*/ 2130202 w 2130202"/>
                      <a:gd name="connsiteY4" fmla="*/ 910265 h 2043773"/>
                      <a:gd name="connsiteX5" fmla="*/ 2060315 w 2130202"/>
                      <a:gd name="connsiteY5" fmla="*/ 981381 h 2043773"/>
                      <a:gd name="connsiteX6" fmla="*/ 2104790 w 2130202"/>
                      <a:gd name="connsiteY6" fmla="*/ 886382 h 2043773"/>
                      <a:gd name="connsiteX7" fmla="*/ 0 w 2130202"/>
                      <a:gd name="connsiteY7" fmla="*/ 0 h 2043773"/>
                      <a:gd name="connsiteX8" fmla="*/ 1900448 w 2130202"/>
                      <a:gd name="connsiteY8" fmla="*/ 697070 h 2043773"/>
                      <a:gd name="connsiteX9" fmla="*/ 1591947 w 2130202"/>
                      <a:gd name="connsiteY9" fmla="*/ 1417307 h 2043773"/>
                      <a:gd name="connsiteX10" fmla="*/ 747346 w 2130202"/>
                      <a:gd name="connsiteY10" fmla="*/ 1827219 h 2043773"/>
                      <a:gd name="connsiteX11" fmla="*/ 0 w 2130202"/>
                      <a:gd name="connsiteY11" fmla="*/ 1609503 h 2043773"/>
                      <a:gd name="connsiteX12" fmla="*/ 264145 w 2130202"/>
                      <a:gd name="connsiteY12" fmla="*/ 789774 h 2043773"/>
                      <a:gd name="connsiteX13" fmla="*/ 0 w 2130202"/>
                      <a:gd name="connsiteY13" fmla="*/ 0 h 2043773"/>
                      <a:gd name="connsiteX0" fmla="*/ 2104790 w 2130202"/>
                      <a:gd name="connsiteY0" fmla="*/ 886382 h 1827219"/>
                      <a:gd name="connsiteX1" fmla="*/ 2130202 w 2130202"/>
                      <a:gd name="connsiteY1" fmla="*/ 910265 h 1827219"/>
                      <a:gd name="connsiteX2" fmla="*/ 2060315 w 2130202"/>
                      <a:gd name="connsiteY2" fmla="*/ 981381 h 1827219"/>
                      <a:gd name="connsiteX3" fmla="*/ 2104790 w 2130202"/>
                      <a:gd name="connsiteY3" fmla="*/ 886382 h 1827219"/>
                      <a:gd name="connsiteX4" fmla="*/ 0 w 2130202"/>
                      <a:gd name="connsiteY4" fmla="*/ 0 h 1827219"/>
                      <a:gd name="connsiteX5" fmla="*/ 1900448 w 2130202"/>
                      <a:gd name="connsiteY5" fmla="*/ 697070 h 1827219"/>
                      <a:gd name="connsiteX6" fmla="*/ 1591947 w 2130202"/>
                      <a:gd name="connsiteY6" fmla="*/ 1417307 h 1827219"/>
                      <a:gd name="connsiteX7" fmla="*/ 747346 w 2130202"/>
                      <a:gd name="connsiteY7" fmla="*/ 1827219 h 1827219"/>
                      <a:gd name="connsiteX8" fmla="*/ 0 w 2130202"/>
                      <a:gd name="connsiteY8" fmla="*/ 1609503 h 1827219"/>
                      <a:gd name="connsiteX9" fmla="*/ 264145 w 2130202"/>
                      <a:gd name="connsiteY9" fmla="*/ 789774 h 1827219"/>
                      <a:gd name="connsiteX10" fmla="*/ 0 w 2130202"/>
                      <a:gd name="connsiteY10" fmla="*/ 0 h 1827219"/>
                      <a:gd name="connsiteX0" fmla="*/ 2104790 w 2130202"/>
                      <a:gd name="connsiteY0" fmla="*/ 886382 h 1827219"/>
                      <a:gd name="connsiteX1" fmla="*/ 2130202 w 2130202"/>
                      <a:gd name="connsiteY1" fmla="*/ 910265 h 1827219"/>
                      <a:gd name="connsiteX2" fmla="*/ 2104790 w 2130202"/>
                      <a:gd name="connsiteY2" fmla="*/ 886382 h 1827219"/>
                      <a:gd name="connsiteX3" fmla="*/ 0 w 2130202"/>
                      <a:gd name="connsiteY3" fmla="*/ 0 h 1827219"/>
                      <a:gd name="connsiteX4" fmla="*/ 1900448 w 2130202"/>
                      <a:gd name="connsiteY4" fmla="*/ 697070 h 1827219"/>
                      <a:gd name="connsiteX5" fmla="*/ 1591947 w 2130202"/>
                      <a:gd name="connsiteY5" fmla="*/ 1417307 h 1827219"/>
                      <a:gd name="connsiteX6" fmla="*/ 747346 w 2130202"/>
                      <a:gd name="connsiteY6" fmla="*/ 1827219 h 1827219"/>
                      <a:gd name="connsiteX7" fmla="*/ 0 w 2130202"/>
                      <a:gd name="connsiteY7" fmla="*/ 1609503 h 1827219"/>
                      <a:gd name="connsiteX8" fmla="*/ 264145 w 2130202"/>
                      <a:gd name="connsiteY8" fmla="*/ 789774 h 1827219"/>
                      <a:gd name="connsiteX9" fmla="*/ 0 w 2130202"/>
                      <a:gd name="connsiteY9" fmla="*/ 0 h 1827219"/>
                      <a:gd name="connsiteX0" fmla="*/ 0 w 1900448"/>
                      <a:gd name="connsiteY0" fmla="*/ 0 h 1827219"/>
                      <a:gd name="connsiteX1" fmla="*/ 1900448 w 1900448"/>
                      <a:gd name="connsiteY1" fmla="*/ 697070 h 1827219"/>
                      <a:gd name="connsiteX2" fmla="*/ 1591947 w 1900448"/>
                      <a:gd name="connsiteY2" fmla="*/ 1417307 h 1827219"/>
                      <a:gd name="connsiteX3" fmla="*/ 747346 w 1900448"/>
                      <a:gd name="connsiteY3" fmla="*/ 1827219 h 1827219"/>
                      <a:gd name="connsiteX4" fmla="*/ 0 w 1900448"/>
                      <a:gd name="connsiteY4" fmla="*/ 1609503 h 1827219"/>
                      <a:gd name="connsiteX5" fmla="*/ 264145 w 1900448"/>
                      <a:gd name="connsiteY5" fmla="*/ 789774 h 1827219"/>
                      <a:gd name="connsiteX6" fmla="*/ 0 w 1900448"/>
                      <a:gd name="connsiteY6" fmla="*/ 0 h 182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0448" h="1827219">
                        <a:moveTo>
                          <a:pt x="0" y="0"/>
                        </a:moveTo>
                        <a:cubicBezTo>
                          <a:pt x="721537" y="0"/>
                          <a:pt x="1383611" y="261067"/>
                          <a:pt x="1900448" y="697070"/>
                        </a:cubicBezTo>
                        <a:lnTo>
                          <a:pt x="1591947" y="1417307"/>
                        </a:lnTo>
                        <a:lnTo>
                          <a:pt x="747346" y="1827219"/>
                        </a:lnTo>
                        <a:cubicBezTo>
                          <a:pt x="530554" y="1688578"/>
                          <a:pt x="274282" y="1609503"/>
                          <a:pt x="0" y="1609503"/>
                        </a:cubicBezTo>
                        <a:lnTo>
                          <a:pt x="264145" y="789774"/>
                        </a:lnTo>
                        <a:lnTo>
                          <a:pt x="0" y="0"/>
                        </a:lnTo>
                        <a:close/>
                      </a:path>
                    </a:pathLst>
                  </a:custGeom>
                  <a:solidFill>
                    <a:schemeClr val="bg2">
                      <a:lumMod val="50000"/>
                    </a:schemeClr>
                  </a:solidFill>
                  <a:ln w="508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65" name="Donut 24">
                    <a:extLst>
                      <a:ext uri="{FF2B5EF4-FFF2-40B4-BE49-F238E27FC236}">
                        <a16:creationId xmlns:a16="http://schemas.microsoft.com/office/drawing/2014/main" id="{F525A5D7-8F72-E2B1-1752-6554CC67BD21}"/>
                      </a:ext>
                    </a:extLst>
                  </p:cNvPr>
                  <p:cNvSpPr/>
                  <p:nvPr/>
                </p:nvSpPr>
                <p:spPr>
                  <a:xfrm>
                    <a:off x="4563365" y="569344"/>
                    <a:ext cx="1680063" cy="1587599"/>
                  </a:xfrm>
                  <a:custGeom>
                    <a:avLst/>
                    <a:gdLst/>
                    <a:ahLst/>
                    <a:cxnLst/>
                    <a:rect l="l" t="t" r="r" b="b"/>
                    <a:pathLst>
                      <a:path w="1680063" h="1587599">
                        <a:moveTo>
                          <a:pt x="23469" y="0"/>
                        </a:moveTo>
                        <a:cubicBezTo>
                          <a:pt x="648030" y="25947"/>
                          <a:pt x="1221342" y="255814"/>
                          <a:pt x="1680063" y="628703"/>
                        </a:cubicBezTo>
                        <a:lnTo>
                          <a:pt x="1426718" y="1229154"/>
                        </a:lnTo>
                        <a:lnTo>
                          <a:pt x="662412" y="1587599"/>
                        </a:lnTo>
                        <a:cubicBezTo>
                          <a:pt x="463983" y="1479615"/>
                          <a:pt x="239095" y="1414515"/>
                          <a:pt x="0" y="1404060"/>
                        </a:cubicBezTo>
                        <a:lnTo>
                          <a:pt x="283794" y="677957"/>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grpSp>
          </p:grpSp>
          <p:grpSp>
            <p:nvGrpSpPr>
              <p:cNvPr id="55" name="Group 71">
                <a:extLst>
                  <a:ext uri="{FF2B5EF4-FFF2-40B4-BE49-F238E27FC236}">
                    <a16:creationId xmlns:a16="http://schemas.microsoft.com/office/drawing/2014/main" id="{895C67BF-8001-0D88-25D6-2D223E5A1954}"/>
                  </a:ext>
                </a:extLst>
              </p:cNvPr>
              <p:cNvGrpSpPr/>
              <p:nvPr/>
            </p:nvGrpSpPr>
            <p:grpSpPr>
              <a:xfrm rot="5400000">
                <a:off x="4402923" y="3495402"/>
                <a:ext cx="3083576" cy="3089935"/>
                <a:chOff x="4444203" y="465721"/>
                <a:chExt cx="3083576" cy="3089935"/>
              </a:xfrm>
            </p:grpSpPr>
            <p:grpSp>
              <p:nvGrpSpPr>
                <p:cNvPr id="56" name="Group 72">
                  <a:extLst>
                    <a:ext uri="{FF2B5EF4-FFF2-40B4-BE49-F238E27FC236}">
                      <a16:creationId xmlns:a16="http://schemas.microsoft.com/office/drawing/2014/main" id="{F6F8C09C-309B-95E1-2B18-2147A4F62C22}"/>
                    </a:ext>
                  </a:extLst>
                </p:cNvPr>
                <p:cNvGrpSpPr/>
                <p:nvPr/>
              </p:nvGrpSpPr>
              <p:grpSpPr>
                <a:xfrm>
                  <a:off x="4444203" y="465721"/>
                  <a:ext cx="1900448" cy="1827219"/>
                  <a:chOff x="4444203" y="465721"/>
                  <a:chExt cx="1900448" cy="1827219"/>
                </a:xfrm>
              </p:grpSpPr>
              <p:sp>
                <p:nvSpPr>
                  <p:cNvPr id="60" name="Donut 24">
                    <a:extLst>
                      <a:ext uri="{FF2B5EF4-FFF2-40B4-BE49-F238E27FC236}">
                        <a16:creationId xmlns:a16="http://schemas.microsoft.com/office/drawing/2014/main" id="{CDE97CC3-95F3-B858-D184-B8A265AE109B}"/>
                      </a:ext>
                    </a:extLst>
                  </p:cNvPr>
                  <p:cNvSpPr/>
                  <p:nvPr/>
                </p:nvSpPr>
                <p:spPr>
                  <a:xfrm>
                    <a:off x="4444203" y="465721"/>
                    <a:ext cx="1900448" cy="1827219"/>
                  </a:xfrm>
                  <a:custGeom>
                    <a:avLst/>
                    <a:gdLst>
                      <a:gd name="connsiteX0" fmla="*/ 970678 w 2130202"/>
                      <a:gd name="connsiteY0" fmla="*/ 2000917 h 2043773"/>
                      <a:gd name="connsiteX1" fmla="*/ 1016277 w 2130202"/>
                      <a:gd name="connsiteY1" fmla="*/ 2043773 h 2043773"/>
                      <a:gd name="connsiteX2" fmla="*/ 970678 w 2130202"/>
                      <a:gd name="connsiteY2" fmla="*/ 2000917 h 2043773"/>
                      <a:gd name="connsiteX3" fmla="*/ 2104790 w 2130202"/>
                      <a:gd name="connsiteY3" fmla="*/ 886382 h 2043773"/>
                      <a:gd name="connsiteX4" fmla="*/ 2130202 w 2130202"/>
                      <a:gd name="connsiteY4" fmla="*/ 910265 h 2043773"/>
                      <a:gd name="connsiteX5" fmla="*/ 2060315 w 2130202"/>
                      <a:gd name="connsiteY5" fmla="*/ 981381 h 2043773"/>
                      <a:gd name="connsiteX6" fmla="*/ 2104790 w 2130202"/>
                      <a:gd name="connsiteY6" fmla="*/ 886382 h 2043773"/>
                      <a:gd name="connsiteX7" fmla="*/ 0 w 2130202"/>
                      <a:gd name="connsiteY7" fmla="*/ 0 h 2043773"/>
                      <a:gd name="connsiteX8" fmla="*/ 1900448 w 2130202"/>
                      <a:gd name="connsiteY8" fmla="*/ 697070 h 2043773"/>
                      <a:gd name="connsiteX9" fmla="*/ 1591947 w 2130202"/>
                      <a:gd name="connsiteY9" fmla="*/ 1417307 h 2043773"/>
                      <a:gd name="connsiteX10" fmla="*/ 747346 w 2130202"/>
                      <a:gd name="connsiteY10" fmla="*/ 1827219 h 2043773"/>
                      <a:gd name="connsiteX11" fmla="*/ 0 w 2130202"/>
                      <a:gd name="connsiteY11" fmla="*/ 1609503 h 2043773"/>
                      <a:gd name="connsiteX12" fmla="*/ 264145 w 2130202"/>
                      <a:gd name="connsiteY12" fmla="*/ 789774 h 2043773"/>
                      <a:gd name="connsiteX13" fmla="*/ 0 w 2130202"/>
                      <a:gd name="connsiteY13" fmla="*/ 0 h 2043773"/>
                      <a:gd name="connsiteX0" fmla="*/ 2104790 w 2130202"/>
                      <a:gd name="connsiteY0" fmla="*/ 886382 h 1827219"/>
                      <a:gd name="connsiteX1" fmla="*/ 2130202 w 2130202"/>
                      <a:gd name="connsiteY1" fmla="*/ 910265 h 1827219"/>
                      <a:gd name="connsiteX2" fmla="*/ 2060315 w 2130202"/>
                      <a:gd name="connsiteY2" fmla="*/ 981381 h 1827219"/>
                      <a:gd name="connsiteX3" fmla="*/ 2104790 w 2130202"/>
                      <a:gd name="connsiteY3" fmla="*/ 886382 h 1827219"/>
                      <a:gd name="connsiteX4" fmla="*/ 0 w 2130202"/>
                      <a:gd name="connsiteY4" fmla="*/ 0 h 1827219"/>
                      <a:gd name="connsiteX5" fmla="*/ 1900448 w 2130202"/>
                      <a:gd name="connsiteY5" fmla="*/ 697070 h 1827219"/>
                      <a:gd name="connsiteX6" fmla="*/ 1591947 w 2130202"/>
                      <a:gd name="connsiteY6" fmla="*/ 1417307 h 1827219"/>
                      <a:gd name="connsiteX7" fmla="*/ 747346 w 2130202"/>
                      <a:gd name="connsiteY7" fmla="*/ 1827219 h 1827219"/>
                      <a:gd name="connsiteX8" fmla="*/ 0 w 2130202"/>
                      <a:gd name="connsiteY8" fmla="*/ 1609503 h 1827219"/>
                      <a:gd name="connsiteX9" fmla="*/ 264145 w 2130202"/>
                      <a:gd name="connsiteY9" fmla="*/ 789774 h 1827219"/>
                      <a:gd name="connsiteX10" fmla="*/ 0 w 2130202"/>
                      <a:gd name="connsiteY10" fmla="*/ 0 h 1827219"/>
                      <a:gd name="connsiteX0" fmla="*/ 2104790 w 2130202"/>
                      <a:gd name="connsiteY0" fmla="*/ 886382 h 1827219"/>
                      <a:gd name="connsiteX1" fmla="*/ 2130202 w 2130202"/>
                      <a:gd name="connsiteY1" fmla="*/ 910265 h 1827219"/>
                      <a:gd name="connsiteX2" fmla="*/ 2104790 w 2130202"/>
                      <a:gd name="connsiteY2" fmla="*/ 886382 h 1827219"/>
                      <a:gd name="connsiteX3" fmla="*/ 0 w 2130202"/>
                      <a:gd name="connsiteY3" fmla="*/ 0 h 1827219"/>
                      <a:gd name="connsiteX4" fmla="*/ 1900448 w 2130202"/>
                      <a:gd name="connsiteY4" fmla="*/ 697070 h 1827219"/>
                      <a:gd name="connsiteX5" fmla="*/ 1591947 w 2130202"/>
                      <a:gd name="connsiteY5" fmla="*/ 1417307 h 1827219"/>
                      <a:gd name="connsiteX6" fmla="*/ 747346 w 2130202"/>
                      <a:gd name="connsiteY6" fmla="*/ 1827219 h 1827219"/>
                      <a:gd name="connsiteX7" fmla="*/ 0 w 2130202"/>
                      <a:gd name="connsiteY7" fmla="*/ 1609503 h 1827219"/>
                      <a:gd name="connsiteX8" fmla="*/ 264145 w 2130202"/>
                      <a:gd name="connsiteY8" fmla="*/ 789774 h 1827219"/>
                      <a:gd name="connsiteX9" fmla="*/ 0 w 2130202"/>
                      <a:gd name="connsiteY9" fmla="*/ 0 h 1827219"/>
                      <a:gd name="connsiteX0" fmla="*/ 0 w 1900448"/>
                      <a:gd name="connsiteY0" fmla="*/ 0 h 1827219"/>
                      <a:gd name="connsiteX1" fmla="*/ 1900448 w 1900448"/>
                      <a:gd name="connsiteY1" fmla="*/ 697070 h 1827219"/>
                      <a:gd name="connsiteX2" fmla="*/ 1591947 w 1900448"/>
                      <a:gd name="connsiteY2" fmla="*/ 1417307 h 1827219"/>
                      <a:gd name="connsiteX3" fmla="*/ 747346 w 1900448"/>
                      <a:gd name="connsiteY3" fmla="*/ 1827219 h 1827219"/>
                      <a:gd name="connsiteX4" fmla="*/ 0 w 1900448"/>
                      <a:gd name="connsiteY4" fmla="*/ 1609503 h 1827219"/>
                      <a:gd name="connsiteX5" fmla="*/ 264145 w 1900448"/>
                      <a:gd name="connsiteY5" fmla="*/ 789774 h 1827219"/>
                      <a:gd name="connsiteX6" fmla="*/ 0 w 1900448"/>
                      <a:gd name="connsiteY6" fmla="*/ 0 h 182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0448" h="1827219">
                        <a:moveTo>
                          <a:pt x="0" y="0"/>
                        </a:moveTo>
                        <a:cubicBezTo>
                          <a:pt x="721537" y="0"/>
                          <a:pt x="1383611" y="261067"/>
                          <a:pt x="1900448" y="697070"/>
                        </a:cubicBezTo>
                        <a:lnTo>
                          <a:pt x="1591947" y="1417307"/>
                        </a:lnTo>
                        <a:lnTo>
                          <a:pt x="747346" y="1827219"/>
                        </a:lnTo>
                        <a:cubicBezTo>
                          <a:pt x="530554" y="1688578"/>
                          <a:pt x="274282" y="1609503"/>
                          <a:pt x="0" y="1609503"/>
                        </a:cubicBezTo>
                        <a:lnTo>
                          <a:pt x="264145" y="789774"/>
                        </a:lnTo>
                        <a:lnTo>
                          <a:pt x="0" y="0"/>
                        </a:lnTo>
                        <a:close/>
                      </a:path>
                    </a:pathLst>
                  </a:custGeom>
                  <a:solidFill>
                    <a:schemeClr val="bg2">
                      <a:lumMod val="50000"/>
                    </a:schemeClr>
                  </a:solidFill>
                  <a:ln w="508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61" name="Donut 24">
                    <a:extLst>
                      <a:ext uri="{FF2B5EF4-FFF2-40B4-BE49-F238E27FC236}">
                        <a16:creationId xmlns:a16="http://schemas.microsoft.com/office/drawing/2014/main" id="{2E1C32AF-AAAF-91D7-5C02-FBB2236D0CFC}"/>
                      </a:ext>
                    </a:extLst>
                  </p:cNvPr>
                  <p:cNvSpPr/>
                  <p:nvPr/>
                </p:nvSpPr>
                <p:spPr>
                  <a:xfrm>
                    <a:off x="4557013" y="545707"/>
                    <a:ext cx="1680063" cy="1587599"/>
                  </a:xfrm>
                  <a:custGeom>
                    <a:avLst/>
                    <a:gdLst/>
                    <a:ahLst/>
                    <a:cxnLst/>
                    <a:rect l="l" t="t" r="r" b="b"/>
                    <a:pathLst>
                      <a:path w="1680063" h="1587599">
                        <a:moveTo>
                          <a:pt x="23469" y="0"/>
                        </a:moveTo>
                        <a:cubicBezTo>
                          <a:pt x="648030" y="25947"/>
                          <a:pt x="1221342" y="255814"/>
                          <a:pt x="1680063" y="628703"/>
                        </a:cubicBezTo>
                        <a:lnTo>
                          <a:pt x="1426718" y="1229154"/>
                        </a:lnTo>
                        <a:lnTo>
                          <a:pt x="662412" y="1587599"/>
                        </a:lnTo>
                        <a:cubicBezTo>
                          <a:pt x="463983" y="1479615"/>
                          <a:pt x="239095" y="1414515"/>
                          <a:pt x="0" y="1404060"/>
                        </a:cubicBezTo>
                        <a:lnTo>
                          <a:pt x="283794" y="677957"/>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grpSp>
            <p:grpSp>
              <p:nvGrpSpPr>
                <p:cNvPr id="57" name="Group 73">
                  <a:extLst>
                    <a:ext uri="{FF2B5EF4-FFF2-40B4-BE49-F238E27FC236}">
                      <a16:creationId xmlns:a16="http://schemas.microsoft.com/office/drawing/2014/main" id="{34D415BC-E0A9-030E-1A42-1A162DD36AB6}"/>
                    </a:ext>
                  </a:extLst>
                </p:cNvPr>
                <p:cNvGrpSpPr/>
                <p:nvPr/>
              </p:nvGrpSpPr>
              <p:grpSpPr>
                <a:xfrm rot="2659168">
                  <a:off x="5627331" y="1728437"/>
                  <a:ext cx="1900448" cy="1827219"/>
                  <a:chOff x="4444203" y="465721"/>
                  <a:chExt cx="1900448" cy="1827219"/>
                </a:xfrm>
              </p:grpSpPr>
              <p:sp>
                <p:nvSpPr>
                  <p:cNvPr id="58" name="Donut 24">
                    <a:extLst>
                      <a:ext uri="{FF2B5EF4-FFF2-40B4-BE49-F238E27FC236}">
                        <a16:creationId xmlns:a16="http://schemas.microsoft.com/office/drawing/2014/main" id="{C9F4750C-FFBE-63B2-A6E0-63A904DADAE6}"/>
                      </a:ext>
                    </a:extLst>
                  </p:cNvPr>
                  <p:cNvSpPr/>
                  <p:nvPr/>
                </p:nvSpPr>
                <p:spPr>
                  <a:xfrm>
                    <a:off x="4444203" y="465721"/>
                    <a:ext cx="1900448" cy="1827219"/>
                  </a:xfrm>
                  <a:custGeom>
                    <a:avLst/>
                    <a:gdLst>
                      <a:gd name="connsiteX0" fmla="*/ 970678 w 2130202"/>
                      <a:gd name="connsiteY0" fmla="*/ 2000917 h 2043773"/>
                      <a:gd name="connsiteX1" fmla="*/ 1016277 w 2130202"/>
                      <a:gd name="connsiteY1" fmla="*/ 2043773 h 2043773"/>
                      <a:gd name="connsiteX2" fmla="*/ 970678 w 2130202"/>
                      <a:gd name="connsiteY2" fmla="*/ 2000917 h 2043773"/>
                      <a:gd name="connsiteX3" fmla="*/ 2104790 w 2130202"/>
                      <a:gd name="connsiteY3" fmla="*/ 886382 h 2043773"/>
                      <a:gd name="connsiteX4" fmla="*/ 2130202 w 2130202"/>
                      <a:gd name="connsiteY4" fmla="*/ 910265 h 2043773"/>
                      <a:gd name="connsiteX5" fmla="*/ 2060315 w 2130202"/>
                      <a:gd name="connsiteY5" fmla="*/ 981381 h 2043773"/>
                      <a:gd name="connsiteX6" fmla="*/ 2104790 w 2130202"/>
                      <a:gd name="connsiteY6" fmla="*/ 886382 h 2043773"/>
                      <a:gd name="connsiteX7" fmla="*/ 0 w 2130202"/>
                      <a:gd name="connsiteY7" fmla="*/ 0 h 2043773"/>
                      <a:gd name="connsiteX8" fmla="*/ 1900448 w 2130202"/>
                      <a:gd name="connsiteY8" fmla="*/ 697070 h 2043773"/>
                      <a:gd name="connsiteX9" fmla="*/ 1591947 w 2130202"/>
                      <a:gd name="connsiteY9" fmla="*/ 1417307 h 2043773"/>
                      <a:gd name="connsiteX10" fmla="*/ 747346 w 2130202"/>
                      <a:gd name="connsiteY10" fmla="*/ 1827219 h 2043773"/>
                      <a:gd name="connsiteX11" fmla="*/ 0 w 2130202"/>
                      <a:gd name="connsiteY11" fmla="*/ 1609503 h 2043773"/>
                      <a:gd name="connsiteX12" fmla="*/ 264145 w 2130202"/>
                      <a:gd name="connsiteY12" fmla="*/ 789774 h 2043773"/>
                      <a:gd name="connsiteX13" fmla="*/ 0 w 2130202"/>
                      <a:gd name="connsiteY13" fmla="*/ 0 h 2043773"/>
                      <a:gd name="connsiteX0" fmla="*/ 2104790 w 2130202"/>
                      <a:gd name="connsiteY0" fmla="*/ 886382 h 1827219"/>
                      <a:gd name="connsiteX1" fmla="*/ 2130202 w 2130202"/>
                      <a:gd name="connsiteY1" fmla="*/ 910265 h 1827219"/>
                      <a:gd name="connsiteX2" fmla="*/ 2060315 w 2130202"/>
                      <a:gd name="connsiteY2" fmla="*/ 981381 h 1827219"/>
                      <a:gd name="connsiteX3" fmla="*/ 2104790 w 2130202"/>
                      <a:gd name="connsiteY3" fmla="*/ 886382 h 1827219"/>
                      <a:gd name="connsiteX4" fmla="*/ 0 w 2130202"/>
                      <a:gd name="connsiteY4" fmla="*/ 0 h 1827219"/>
                      <a:gd name="connsiteX5" fmla="*/ 1900448 w 2130202"/>
                      <a:gd name="connsiteY5" fmla="*/ 697070 h 1827219"/>
                      <a:gd name="connsiteX6" fmla="*/ 1591947 w 2130202"/>
                      <a:gd name="connsiteY6" fmla="*/ 1417307 h 1827219"/>
                      <a:gd name="connsiteX7" fmla="*/ 747346 w 2130202"/>
                      <a:gd name="connsiteY7" fmla="*/ 1827219 h 1827219"/>
                      <a:gd name="connsiteX8" fmla="*/ 0 w 2130202"/>
                      <a:gd name="connsiteY8" fmla="*/ 1609503 h 1827219"/>
                      <a:gd name="connsiteX9" fmla="*/ 264145 w 2130202"/>
                      <a:gd name="connsiteY9" fmla="*/ 789774 h 1827219"/>
                      <a:gd name="connsiteX10" fmla="*/ 0 w 2130202"/>
                      <a:gd name="connsiteY10" fmla="*/ 0 h 1827219"/>
                      <a:gd name="connsiteX0" fmla="*/ 2104790 w 2130202"/>
                      <a:gd name="connsiteY0" fmla="*/ 886382 h 1827219"/>
                      <a:gd name="connsiteX1" fmla="*/ 2130202 w 2130202"/>
                      <a:gd name="connsiteY1" fmla="*/ 910265 h 1827219"/>
                      <a:gd name="connsiteX2" fmla="*/ 2104790 w 2130202"/>
                      <a:gd name="connsiteY2" fmla="*/ 886382 h 1827219"/>
                      <a:gd name="connsiteX3" fmla="*/ 0 w 2130202"/>
                      <a:gd name="connsiteY3" fmla="*/ 0 h 1827219"/>
                      <a:gd name="connsiteX4" fmla="*/ 1900448 w 2130202"/>
                      <a:gd name="connsiteY4" fmla="*/ 697070 h 1827219"/>
                      <a:gd name="connsiteX5" fmla="*/ 1591947 w 2130202"/>
                      <a:gd name="connsiteY5" fmla="*/ 1417307 h 1827219"/>
                      <a:gd name="connsiteX6" fmla="*/ 747346 w 2130202"/>
                      <a:gd name="connsiteY6" fmla="*/ 1827219 h 1827219"/>
                      <a:gd name="connsiteX7" fmla="*/ 0 w 2130202"/>
                      <a:gd name="connsiteY7" fmla="*/ 1609503 h 1827219"/>
                      <a:gd name="connsiteX8" fmla="*/ 264145 w 2130202"/>
                      <a:gd name="connsiteY8" fmla="*/ 789774 h 1827219"/>
                      <a:gd name="connsiteX9" fmla="*/ 0 w 2130202"/>
                      <a:gd name="connsiteY9" fmla="*/ 0 h 1827219"/>
                      <a:gd name="connsiteX0" fmla="*/ 0 w 1900448"/>
                      <a:gd name="connsiteY0" fmla="*/ 0 h 1827219"/>
                      <a:gd name="connsiteX1" fmla="*/ 1900448 w 1900448"/>
                      <a:gd name="connsiteY1" fmla="*/ 697070 h 1827219"/>
                      <a:gd name="connsiteX2" fmla="*/ 1591947 w 1900448"/>
                      <a:gd name="connsiteY2" fmla="*/ 1417307 h 1827219"/>
                      <a:gd name="connsiteX3" fmla="*/ 747346 w 1900448"/>
                      <a:gd name="connsiteY3" fmla="*/ 1827219 h 1827219"/>
                      <a:gd name="connsiteX4" fmla="*/ 0 w 1900448"/>
                      <a:gd name="connsiteY4" fmla="*/ 1609503 h 1827219"/>
                      <a:gd name="connsiteX5" fmla="*/ 264145 w 1900448"/>
                      <a:gd name="connsiteY5" fmla="*/ 789774 h 1827219"/>
                      <a:gd name="connsiteX6" fmla="*/ 0 w 1900448"/>
                      <a:gd name="connsiteY6" fmla="*/ 0 h 182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0448" h="1827219">
                        <a:moveTo>
                          <a:pt x="0" y="0"/>
                        </a:moveTo>
                        <a:cubicBezTo>
                          <a:pt x="721537" y="0"/>
                          <a:pt x="1383611" y="261067"/>
                          <a:pt x="1900448" y="697070"/>
                        </a:cubicBezTo>
                        <a:lnTo>
                          <a:pt x="1591947" y="1417307"/>
                        </a:lnTo>
                        <a:lnTo>
                          <a:pt x="747346" y="1827219"/>
                        </a:lnTo>
                        <a:cubicBezTo>
                          <a:pt x="530554" y="1688578"/>
                          <a:pt x="274282" y="1609503"/>
                          <a:pt x="0" y="1609503"/>
                        </a:cubicBezTo>
                        <a:lnTo>
                          <a:pt x="264145" y="789774"/>
                        </a:lnTo>
                        <a:lnTo>
                          <a:pt x="0" y="0"/>
                        </a:lnTo>
                        <a:close/>
                      </a:path>
                    </a:pathLst>
                  </a:custGeom>
                  <a:solidFill>
                    <a:schemeClr val="bg2">
                      <a:lumMod val="50000"/>
                    </a:schemeClr>
                  </a:solidFill>
                  <a:ln w="508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59" name="Donut 24">
                    <a:extLst>
                      <a:ext uri="{FF2B5EF4-FFF2-40B4-BE49-F238E27FC236}">
                        <a16:creationId xmlns:a16="http://schemas.microsoft.com/office/drawing/2014/main" id="{AECDF980-167E-B63E-F23D-457C08FC3EAD}"/>
                      </a:ext>
                    </a:extLst>
                  </p:cNvPr>
                  <p:cNvSpPr/>
                  <p:nvPr/>
                </p:nvSpPr>
                <p:spPr>
                  <a:xfrm>
                    <a:off x="4553059" y="558791"/>
                    <a:ext cx="1680063" cy="1587599"/>
                  </a:xfrm>
                  <a:custGeom>
                    <a:avLst/>
                    <a:gdLst/>
                    <a:ahLst/>
                    <a:cxnLst/>
                    <a:rect l="l" t="t" r="r" b="b"/>
                    <a:pathLst>
                      <a:path w="1680063" h="1587599">
                        <a:moveTo>
                          <a:pt x="23469" y="0"/>
                        </a:moveTo>
                        <a:cubicBezTo>
                          <a:pt x="648030" y="25947"/>
                          <a:pt x="1221342" y="255814"/>
                          <a:pt x="1680063" y="628703"/>
                        </a:cubicBezTo>
                        <a:lnTo>
                          <a:pt x="1426718" y="1229154"/>
                        </a:lnTo>
                        <a:lnTo>
                          <a:pt x="662412" y="1587599"/>
                        </a:lnTo>
                        <a:cubicBezTo>
                          <a:pt x="463983" y="1479615"/>
                          <a:pt x="239095" y="1414515"/>
                          <a:pt x="0" y="1404060"/>
                        </a:cubicBezTo>
                        <a:lnTo>
                          <a:pt x="283794" y="677957"/>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grpSp>
          </p:grpSp>
        </p:grpSp>
        <p:grpSp>
          <p:nvGrpSpPr>
            <p:cNvPr id="22" name="Group 55">
              <a:extLst>
                <a:ext uri="{FF2B5EF4-FFF2-40B4-BE49-F238E27FC236}">
                  <a16:creationId xmlns:a16="http://schemas.microsoft.com/office/drawing/2014/main" id="{47510B24-C963-204D-B922-2FD2A1727F85}"/>
                </a:ext>
              </a:extLst>
            </p:cNvPr>
            <p:cNvGrpSpPr/>
            <p:nvPr/>
          </p:nvGrpSpPr>
          <p:grpSpPr>
            <a:xfrm rot="10800000">
              <a:off x="1389843" y="389521"/>
              <a:ext cx="3128036" cy="6116437"/>
              <a:chOff x="4399743" y="465721"/>
              <a:chExt cx="3128036" cy="6116437"/>
            </a:xfrm>
          </p:grpSpPr>
          <p:grpSp>
            <p:nvGrpSpPr>
              <p:cNvPr id="23" name="Group 56">
                <a:extLst>
                  <a:ext uri="{FF2B5EF4-FFF2-40B4-BE49-F238E27FC236}">
                    <a16:creationId xmlns:a16="http://schemas.microsoft.com/office/drawing/2014/main" id="{6D6B679F-6CAC-3B60-DF18-7A8395AA9446}"/>
                  </a:ext>
                </a:extLst>
              </p:cNvPr>
              <p:cNvGrpSpPr/>
              <p:nvPr/>
            </p:nvGrpSpPr>
            <p:grpSpPr>
              <a:xfrm>
                <a:off x="4444203" y="465721"/>
                <a:ext cx="3083576" cy="3089935"/>
                <a:chOff x="4444203" y="465721"/>
                <a:chExt cx="3083576" cy="3089935"/>
              </a:xfrm>
            </p:grpSpPr>
            <p:grpSp>
              <p:nvGrpSpPr>
                <p:cNvPr id="31" name="Group 64">
                  <a:extLst>
                    <a:ext uri="{FF2B5EF4-FFF2-40B4-BE49-F238E27FC236}">
                      <a16:creationId xmlns:a16="http://schemas.microsoft.com/office/drawing/2014/main" id="{6DB56B6F-89FF-E752-1F89-88C7AED4D175}"/>
                    </a:ext>
                  </a:extLst>
                </p:cNvPr>
                <p:cNvGrpSpPr/>
                <p:nvPr/>
              </p:nvGrpSpPr>
              <p:grpSpPr>
                <a:xfrm>
                  <a:off x="4444203" y="465721"/>
                  <a:ext cx="1900448" cy="1827219"/>
                  <a:chOff x="4444203" y="465721"/>
                  <a:chExt cx="1900448" cy="1827219"/>
                </a:xfrm>
              </p:grpSpPr>
              <p:sp>
                <p:nvSpPr>
                  <p:cNvPr id="52" name="Donut 24">
                    <a:extLst>
                      <a:ext uri="{FF2B5EF4-FFF2-40B4-BE49-F238E27FC236}">
                        <a16:creationId xmlns:a16="http://schemas.microsoft.com/office/drawing/2014/main" id="{0A3A8A97-AE19-7050-49BD-21C793DA39C1}"/>
                      </a:ext>
                    </a:extLst>
                  </p:cNvPr>
                  <p:cNvSpPr/>
                  <p:nvPr/>
                </p:nvSpPr>
                <p:spPr>
                  <a:xfrm>
                    <a:off x="4444203" y="465721"/>
                    <a:ext cx="1900448" cy="1827219"/>
                  </a:xfrm>
                  <a:custGeom>
                    <a:avLst/>
                    <a:gdLst>
                      <a:gd name="connsiteX0" fmla="*/ 970678 w 2130202"/>
                      <a:gd name="connsiteY0" fmla="*/ 2000917 h 2043773"/>
                      <a:gd name="connsiteX1" fmla="*/ 1016277 w 2130202"/>
                      <a:gd name="connsiteY1" fmla="*/ 2043773 h 2043773"/>
                      <a:gd name="connsiteX2" fmla="*/ 970678 w 2130202"/>
                      <a:gd name="connsiteY2" fmla="*/ 2000917 h 2043773"/>
                      <a:gd name="connsiteX3" fmla="*/ 2104790 w 2130202"/>
                      <a:gd name="connsiteY3" fmla="*/ 886382 h 2043773"/>
                      <a:gd name="connsiteX4" fmla="*/ 2130202 w 2130202"/>
                      <a:gd name="connsiteY4" fmla="*/ 910265 h 2043773"/>
                      <a:gd name="connsiteX5" fmla="*/ 2060315 w 2130202"/>
                      <a:gd name="connsiteY5" fmla="*/ 981381 h 2043773"/>
                      <a:gd name="connsiteX6" fmla="*/ 2104790 w 2130202"/>
                      <a:gd name="connsiteY6" fmla="*/ 886382 h 2043773"/>
                      <a:gd name="connsiteX7" fmla="*/ 0 w 2130202"/>
                      <a:gd name="connsiteY7" fmla="*/ 0 h 2043773"/>
                      <a:gd name="connsiteX8" fmla="*/ 1900448 w 2130202"/>
                      <a:gd name="connsiteY8" fmla="*/ 697070 h 2043773"/>
                      <a:gd name="connsiteX9" fmla="*/ 1591947 w 2130202"/>
                      <a:gd name="connsiteY9" fmla="*/ 1417307 h 2043773"/>
                      <a:gd name="connsiteX10" fmla="*/ 747346 w 2130202"/>
                      <a:gd name="connsiteY10" fmla="*/ 1827219 h 2043773"/>
                      <a:gd name="connsiteX11" fmla="*/ 0 w 2130202"/>
                      <a:gd name="connsiteY11" fmla="*/ 1609503 h 2043773"/>
                      <a:gd name="connsiteX12" fmla="*/ 264145 w 2130202"/>
                      <a:gd name="connsiteY12" fmla="*/ 789774 h 2043773"/>
                      <a:gd name="connsiteX13" fmla="*/ 0 w 2130202"/>
                      <a:gd name="connsiteY13" fmla="*/ 0 h 2043773"/>
                      <a:gd name="connsiteX0" fmla="*/ 2104790 w 2130202"/>
                      <a:gd name="connsiteY0" fmla="*/ 886382 h 1827219"/>
                      <a:gd name="connsiteX1" fmla="*/ 2130202 w 2130202"/>
                      <a:gd name="connsiteY1" fmla="*/ 910265 h 1827219"/>
                      <a:gd name="connsiteX2" fmla="*/ 2060315 w 2130202"/>
                      <a:gd name="connsiteY2" fmla="*/ 981381 h 1827219"/>
                      <a:gd name="connsiteX3" fmla="*/ 2104790 w 2130202"/>
                      <a:gd name="connsiteY3" fmla="*/ 886382 h 1827219"/>
                      <a:gd name="connsiteX4" fmla="*/ 0 w 2130202"/>
                      <a:gd name="connsiteY4" fmla="*/ 0 h 1827219"/>
                      <a:gd name="connsiteX5" fmla="*/ 1900448 w 2130202"/>
                      <a:gd name="connsiteY5" fmla="*/ 697070 h 1827219"/>
                      <a:gd name="connsiteX6" fmla="*/ 1591947 w 2130202"/>
                      <a:gd name="connsiteY6" fmla="*/ 1417307 h 1827219"/>
                      <a:gd name="connsiteX7" fmla="*/ 747346 w 2130202"/>
                      <a:gd name="connsiteY7" fmla="*/ 1827219 h 1827219"/>
                      <a:gd name="connsiteX8" fmla="*/ 0 w 2130202"/>
                      <a:gd name="connsiteY8" fmla="*/ 1609503 h 1827219"/>
                      <a:gd name="connsiteX9" fmla="*/ 264145 w 2130202"/>
                      <a:gd name="connsiteY9" fmla="*/ 789774 h 1827219"/>
                      <a:gd name="connsiteX10" fmla="*/ 0 w 2130202"/>
                      <a:gd name="connsiteY10" fmla="*/ 0 h 1827219"/>
                      <a:gd name="connsiteX0" fmla="*/ 2104790 w 2130202"/>
                      <a:gd name="connsiteY0" fmla="*/ 886382 h 1827219"/>
                      <a:gd name="connsiteX1" fmla="*/ 2130202 w 2130202"/>
                      <a:gd name="connsiteY1" fmla="*/ 910265 h 1827219"/>
                      <a:gd name="connsiteX2" fmla="*/ 2104790 w 2130202"/>
                      <a:gd name="connsiteY2" fmla="*/ 886382 h 1827219"/>
                      <a:gd name="connsiteX3" fmla="*/ 0 w 2130202"/>
                      <a:gd name="connsiteY3" fmla="*/ 0 h 1827219"/>
                      <a:gd name="connsiteX4" fmla="*/ 1900448 w 2130202"/>
                      <a:gd name="connsiteY4" fmla="*/ 697070 h 1827219"/>
                      <a:gd name="connsiteX5" fmla="*/ 1591947 w 2130202"/>
                      <a:gd name="connsiteY5" fmla="*/ 1417307 h 1827219"/>
                      <a:gd name="connsiteX6" fmla="*/ 747346 w 2130202"/>
                      <a:gd name="connsiteY6" fmla="*/ 1827219 h 1827219"/>
                      <a:gd name="connsiteX7" fmla="*/ 0 w 2130202"/>
                      <a:gd name="connsiteY7" fmla="*/ 1609503 h 1827219"/>
                      <a:gd name="connsiteX8" fmla="*/ 264145 w 2130202"/>
                      <a:gd name="connsiteY8" fmla="*/ 789774 h 1827219"/>
                      <a:gd name="connsiteX9" fmla="*/ 0 w 2130202"/>
                      <a:gd name="connsiteY9" fmla="*/ 0 h 1827219"/>
                      <a:gd name="connsiteX0" fmla="*/ 0 w 1900448"/>
                      <a:gd name="connsiteY0" fmla="*/ 0 h 1827219"/>
                      <a:gd name="connsiteX1" fmla="*/ 1900448 w 1900448"/>
                      <a:gd name="connsiteY1" fmla="*/ 697070 h 1827219"/>
                      <a:gd name="connsiteX2" fmla="*/ 1591947 w 1900448"/>
                      <a:gd name="connsiteY2" fmla="*/ 1417307 h 1827219"/>
                      <a:gd name="connsiteX3" fmla="*/ 747346 w 1900448"/>
                      <a:gd name="connsiteY3" fmla="*/ 1827219 h 1827219"/>
                      <a:gd name="connsiteX4" fmla="*/ 0 w 1900448"/>
                      <a:gd name="connsiteY4" fmla="*/ 1609503 h 1827219"/>
                      <a:gd name="connsiteX5" fmla="*/ 264145 w 1900448"/>
                      <a:gd name="connsiteY5" fmla="*/ 789774 h 1827219"/>
                      <a:gd name="connsiteX6" fmla="*/ 0 w 1900448"/>
                      <a:gd name="connsiteY6" fmla="*/ 0 h 182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0448" h="1827219">
                        <a:moveTo>
                          <a:pt x="0" y="0"/>
                        </a:moveTo>
                        <a:cubicBezTo>
                          <a:pt x="721537" y="0"/>
                          <a:pt x="1383611" y="261067"/>
                          <a:pt x="1900448" y="697070"/>
                        </a:cubicBezTo>
                        <a:lnTo>
                          <a:pt x="1591947" y="1417307"/>
                        </a:lnTo>
                        <a:lnTo>
                          <a:pt x="747346" y="1827219"/>
                        </a:lnTo>
                        <a:cubicBezTo>
                          <a:pt x="530554" y="1688578"/>
                          <a:pt x="274282" y="1609503"/>
                          <a:pt x="0" y="1609503"/>
                        </a:cubicBezTo>
                        <a:lnTo>
                          <a:pt x="264145" y="789774"/>
                        </a:lnTo>
                        <a:lnTo>
                          <a:pt x="0" y="0"/>
                        </a:lnTo>
                        <a:close/>
                      </a:path>
                    </a:pathLst>
                  </a:custGeom>
                  <a:solidFill>
                    <a:schemeClr val="bg2">
                      <a:lumMod val="50000"/>
                    </a:schemeClr>
                  </a:solidFill>
                  <a:ln w="508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53" name="Donut 24">
                    <a:extLst>
                      <a:ext uri="{FF2B5EF4-FFF2-40B4-BE49-F238E27FC236}">
                        <a16:creationId xmlns:a16="http://schemas.microsoft.com/office/drawing/2014/main" id="{E788BEBE-69E2-D756-C62A-03DFEF8EB32E}"/>
                      </a:ext>
                    </a:extLst>
                  </p:cNvPr>
                  <p:cNvSpPr/>
                  <p:nvPr/>
                </p:nvSpPr>
                <p:spPr>
                  <a:xfrm>
                    <a:off x="4557009" y="560455"/>
                    <a:ext cx="1680063" cy="1587599"/>
                  </a:xfrm>
                  <a:custGeom>
                    <a:avLst/>
                    <a:gdLst/>
                    <a:ahLst/>
                    <a:cxnLst/>
                    <a:rect l="l" t="t" r="r" b="b"/>
                    <a:pathLst>
                      <a:path w="1680063" h="1587599">
                        <a:moveTo>
                          <a:pt x="23469" y="0"/>
                        </a:moveTo>
                        <a:cubicBezTo>
                          <a:pt x="648030" y="25947"/>
                          <a:pt x="1221342" y="255814"/>
                          <a:pt x="1680063" y="628703"/>
                        </a:cubicBezTo>
                        <a:lnTo>
                          <a:pt x="1426718" y="1229154"/>
                        </a:lnTo>
                        <a:lnTo>
                          <a:pt x="662412" y="1587599"/>
                        </a:lnTo>
                        <a:cubicBezTo>
                          <a:pt x="463983" y="1479615"/>
                          <a:pt x="239095" y="1414515"/>
                          <a:pt x="0" y="1404060"/>
                        </a:cubicBezTo>
                        <a:lnTo>
                          <a:pt x="283794" y="677957"/>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grpSp>
            <p:grpSp>
              <p:nvGrpSpPr>
                <p:cNvPr id="48" name="Group 65">
                  <a:extLst>
                    <a:ext uri="{FF2B5EF4-FFF2-40B4-BE49-F238E27FC236}">
                      <a16:creationId xmlns:a16="http://schemas.microsoft.com/office/drawing/2014/main" id="{22DF94BE-5168-2D09-D8DC-305612E74C2B}"/>
                    </a:ext>
                  </a:extLst>
                </p:cNvPr>
                <p:cNvGrpSpPr/>
                <p:nvPr/>
              </p:nvGrpSpPr>
              <p:grpSpPr>
                <a:xfrm rot="2659168">
                  <a:off x="5627331" y="1728437"/>
                  <a:ext cx="1900448" cy="1827219"/>
                  <a:chOff x="4444203" y="465721"/>
                  <a:chExt cx="1900448" cy="1827219"/>
                </a:xfrm>
              </p:grpSpPr>
              <p:sp>
                <p:nvSpPr>
                  <p:cNvPr id="50" name="Donut 24">
                    <a:extLst>
                      <a:ext uri="{FF2B5EF4-FFF2-40B4-BE49-F238E27FC236}">
                        <a16:creationId xmlns:a16="http://schemas.microsoft.com/office/drawing/2014/main" id="{861F4427-B485-DFB9-FCF1-5F63AC0D89D0}"/>
                      </a:ext>
                    </a:extLst>
                  </p:cNvPr>
                  <p:cNvSpPr/>
                  <p:nvPr/>
                </p:nvSpPr>
                <p:spPr>
                  <a:xfrm>
                    <a:off x="4444203" y="465721"/>
                    <a:ext cx="1900448" cy="1827219"/>
                  </a:xfrm>
                  <a:custGeom>
                    <a:avLst/>
                    <a:gdLst>
                      <a:gd name="connsiteX0" fmla="*/ 970678 w 2130202"/>
                      <a:gd name="connsiteY0" fmla="*/ 2000917 h 2043773"/>
                      <a:gd name="connsiteX1" fmla="*/ 1016277 w 2130202"/>
                      <a:gd name="connsiteY1" fmla="*/ 2043773 h 2043773"/>
                      <a:gd name="connsiteX2" fmla="*/ 970678 w 2130202"/>
                      <a:gd name="connsiteY2" fmla="*/ 2000917 h 2043773"/>
                      <a:gd name="connsiteX3" fmla="*/ 2104790 w 2130202"/>
                      <a:gd name="connsiteY3" fmla="*/ 886382 h 2043773"/>
                      <a:gd name="connsiteX4" fmla="*/ 2130202 w 2130202"/>
                      <a:gd name="connsiteY4" fmla="*/ 910265 h 2043773"/>
                      <a:gd name="connsiteX5" fmla="*/ 2060315 w 2130202"/>
                      <a:gd name="connsiteY5" fmla="*/ 981381 h 2043773"/>
                      <a:gd name="connsiteX6" fmla="*/ 2104790 w 2130202"/>
                      <a:gd name="connsiteY6" fmla="*/ 886382 h 2043773"/>
                      <a:gd name="connsiteX7" fmla="*/ 0 w 2130202"/>
                      <a:gd name="connsiteY7" fmla="*/ 0 h 2043773"/>
                      <a:gd name="connsiteX8" fmla="*/ 1900448 w 2130202"/>
                      <a:gd name="connsiteY8" fmla="*/ 697070 h 2043773"/>
                      <a:gd name="connsiteX9" fmla="*/ 1591947 w 2130202"/>
                      <a:gd name="connsiteY9" fmla="*/ 1417307 h 2043773"/>
                      <a:gd name="connsiteX10" fmla="*/ 747346 w 2130202"/>
                      <a:gd name="connsiteY10" fmla="*/ 1827219 h 2043773"/>
                      <a:gd name="connsiteX11" fmla="*/ 0 w 2130202"/>
                      <a:gd name="connsiteY11" fmla="*/ 1609503 h 2043773"/>
                      <a:gd name="connsiteX12" fmla="*/ 264145 w 2130202"/>
                      <a:gd name="connsiteY12" fmla="*/ 789774 h 2043773"/>
                      <a:gd name="connsiteX13" fmla="*/ 0 w 2130202"/>
                      <a:gd name="connsiteY13" fmla="*/ 0 h 2043773"/>
                      <a:gd name="connsiteX0" fmla="*/ 2104790 w 2130202"/>
                      <a:gd name="connsiteY0" fmla="*/ 886382 h 1827219"/>
                      <a:gd name="connsiteX1" fmla="*/ 2130202 w 2130202"/>
                      <a:gd name="connsiteY1" fmla="*/ 910265 h 1827219"/>
                      <a:gd name="connsiteX2" fmla="*/ 2060315 w 2130202"/>
                      <a:gd name="connsiteY2" fmla="*/ 981381 h 1827219"/>
                      <a:gd name="connsiteX3" fmla="*/ 2104790 w 2130202"/>
                      <a:gd name="connsiteY3" fmla="*/ 886382 h 1827219"/>
                      <a:gd name="connsiteX4" fmla="*/ 0 w 2130202"/>
                      <a:gd name="connsiteY4" fmla="*/ 0 h 1827219"/>
                      <a:gd name="connsiteX5" fmla="*/ 1900448 w 2130202"/>
                      <a:gd name="connsiteY5" fmla="*/ 697070 h 1827219"/>
                      <a:gd name="connsiteX6" fmla="*/ 1591947 w 2130202"/>
                      <a:gd name="connsiteY6" fmla="*/ 1417307 h 1827219"/>
                      <a:gd name="connsiteX7" fmla="*/ 747346 w 2130202"/>
                      <a:gd name="connsiteY7" fmla="*/ 1827219 h 1827219"/>
                      <a:gd name="connsiteX8" fmla="*/ 0 w 2130202"/>
                      <a:gd name="connsiteY8" fmla="*/ 1609503 h 1827219"/>
                      <a:gd name="connsiteX9" fmla="*/ 264145 w 2130202"/>
                      <a:gd name="connsiteY9" fmla="*/ 789774 h 1827219"/>
                      <a:gd name="connsiteX10" fmla="*/ 0 w 2130202"/>
                      <a:gd name="connsiteY10" fmla="*/ 0 h 1827219"/>
                      <a:gd name="connsiteX0" fmla="*/ 2104790 w 2130202"/>
                      <a:gd name="connsiteY0" fmla="*/ 886382 h 1827219"/>
                      <a:gd name="connsiteX1" fmla="*/ 2130202 w 2130202"/>
                      <a:gd name="connsiteY1" fmla="*/ 910265 h 1827219"/>
                      <a:gd name="connsiteX2" fmla="*/ 2104790 w 2130202"/>
                      <a:gd name="connsiteY2" fmla="*/ 886382 h 1827219"/>
                      <a:gd name="connsiteX3" fmla="*/ 0 w 2130202"/>
                      <a:gd name="connsiteY3" fmla="*/ 0 h 1827219"/>
                      <a:gd name="connsiteX4" fmla="*/ 1900448 w 2130202"/>
                      <a:gd name="connsiteY4" fmla="*/ 697070 h 1827219"/>
                      <a:gd name="connsiteX5" fmla="*/ 1591947 w 2130202"/>
                      <a:gd name="connsiteY5" fmla="*/ 1417307 h 1827219"/>
                      <a:gd name="connsiteX6" fmla="*/ 747346 w 2130202"/>
                      <a:gd name="connsiteY6" fmla="*/ 1827219 h 1827219"/>
                      <a:gd name="connsiteX7" fmla="*/ 0 w 2130202"/>
                      <a:gd name="connsiteY7" fmla="*/ 1609503 h 1827219"/>
                      <a:gd name="connsiteX8" fmla="*/ 264145 w 2130202"/>
                      <a:gd name="connsiteY8" fmla="*/ 789774 h 1827219"/>
                      <a:gd name="connsiteX9" fmla="*/ 0 w 2130202"/>
                      <a:gd name="connsiteY9" fmla="*/ 0 h 1827219"/>
                      <a:gd name="connsiteX0" fmla="*/ 0 w 1900448"/>
                      <a:gd name="connsiteY0" fmla="*/ 0 h 1827219"/>
                      <a:gd name="connsiteX1" fmla="*/ 1900448 w 1900448"/>
                      <a:gd name="connsiteY1" fmla="*/ 697070 h 1827219"/>
                      <a:gd name="connsiteX2" fmla="*/ 1591947 w 1900448"/>
                      <a:gd name="connsiteY2" fmla="*/ 1417307 h 1827219"/>
                      <a:gd name="connsiteX3" fmla="*/ 747346 w 1900448"/>
                      <a:gd name="connsiteY3" fmla="*/ 1827219 h 1827219"/>
                      <a:gd name="connsiteX4" fmla="*/ 0 w 1900448"/>
                      <a:gd name="connsiteY4" fmla="*/ 1609503 h 1827219"/>
                      <a:gd name="connsiteX5" fmla="*/ 264145 w 1900448"/>
                      <a:gd name="connsiteY5" fmla="*/ 789774 h 1827219"/>
                      <a:gd name="connsiteX6" fmla="*/ 0 w 1900448"/>
                      <a:gd name="connsiteY6" fmla="*/ 0 h 182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0448" h="1827219">
                        <a:moveTo>
                          <a:pt x="0" y="0"/>
                        </a:moveTo>
                        <a:cubicBezTo>
                          <a:pt x="721537" y="0"/>
                          <a:pt x="1383611" y="261067"/>
                          <a:pt x="1900448" y="697070"/>
                        </a:cubicBezTo>
                        <a:lnTo>
                          <a:pt x="1591947" y="1417307"/>
                        </a:lnTo>
                        <a:lnTo>
                          <a:pt x="747346" y="1827219"/>
                        </a:lnTo>
                        <a:cubicBezTo>
                          <a:pt x="530554" y="1688578"/>
                          <a:pt x="274282" y="1609503"/>
                          <a:pt x="0" y="1609503"/>
                        </a:cubicBezTo>
                        <a:lnTo>
                          <a:pt x="264145" y="789774"/>
                        </a:lnTo>
                        <a:lnTo>
                          <a:pt x="0" y="0"/>
                        </a:lnTo>
                        <a:close/>
                      </a:path>
                    </a:pathLst>
                  </a:custGeom>
                  <a:solidFill>
                    <a:schemeClr val="bg2">
                      <a:lumMod val="50000"/>
                    </a:schemeClr>
                  </a:solidFill>
                  <a:ln w="508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51" name="Donut 24">
                    <a:extLst>
                      <a:ext uri="{FF2B5EF4-FFF2-40B4-BE49-F238E27FC236}">
                        <a16:creationId xmlns:a16="http://schemas.microsoft.com/office/drawing/2014/main" id="{A01F9885-B639-130D-7CF0-93AC85172E6C}"/>
                      </a:ext>
                    </a:extLst>
                  </p:cNvPr>
                  <p:cNvSpPr/>
                  <p:nvPr/>
                </p:nvSpPr>
                <p:spPr>
                  <a:xfrm>
                    <a:off x="4563363" y="569344"/>
                    <a:ext cx="1680063" cy="1587599"/>
                  </a:xfrm>
                  <a:custGeom>
                    <a:avLst/>
                    <a:gdLst/>
                    <a:ahLst/>
                    <a:cxnLst/>
                    <a:rect l="l" t="t" r="r" b="b"/>
                    <a:pathLst>
                      <a:path w="1680063" h="1587599">
                        <a:moveTo>
                          <a:pt x="23469" y="0"/>
                        </a:moveTo>
                        <a:cubicBezTo>
                          <a:pt x="648030" y="25947"/>
                          <a:pt x="1221342" y="255814"/>
                          <a:pt x="1680063" y="628703"/>
                        </a:cubicBezTo>
                        <a:lnTo>
                          <a:pt x="1426718" y="1229154"/>
                        </a:lnTo>
                        <a:lnTo>
                          <a:pt x="662412" y="1587599"/>
                        </a:lnTo>
                        <a:cubicBezTo>
                          <a:pt x="463983" y="1479615"/>
                          <a:pt x="239095" y="1414515"/>
                          <a:pt x="0" y="1404060"/>
                        </a:cubicBezTo>
                        <a:lnTo>
                          <a:pt x="283794" y="677957"/>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grpSp>
          </p:grpSp>
          <p:grpSp>
            <p:nvGrpSpPr>
              <p:cNvPr id="24" name="Group 57">
                <a:extLst>
                  <a:ext uri="{FF2B5EF4-FFF2-40B4-BE49-F238E27FC236}">
                    <a16:creationId xmlns:a16="http://schemas.microsoft.com/office/drawing/2014/main" id="{76EA86A2-303D-12E8-B349-16C7942426EB}"/>
                  </a:ext>
                </a:extLst>
              </p:cNvPr>
              <p:cNvGrpSpPr/>
              <p:nvPr/>
            </p:nvGrpSpPr>
            <p:grpSpPr>
              <a:xfrm rot="5400000">
                <a:off x="4402923" y="3495402"/>
                <a:ext cx="3083576" cy="3089935"/>
                <a:chOff x="4444203" y="465721"/>
                <a:chExt cx="3083576" cy="3089935"/>
              </a:xfrm>
            </p:grpSpPr>
            <p:grpSp>
              <p:nvGrpSpPr>
                <p:cNvPr id="25" name="Group 58">
                  <a:extLst>
                    <a:ext uri="{FF2B5EF4-FFF2-40B4-BE49-F238E27FC236}">
                      <a16:creationId xmlns:a16="http://schemas.microsoft.com/office/drawing/2014/main" id="{F6B3A435-C915-1C1F-39F4-E35C431EA39F}"/>
                    </a:ext>
                  </a:extLst>
                </p:cNvPr>
                <p:cNvGrpSpPr/>
                <p:nvPr/>
              </p:nvGrpSpPr>
              <p:grpSpPr>
                <a:xfrm>
                  <a:off x="4444203" y="465721"/>
                  <a:ext cx="1900448" cy="1827219"/>
                  <a:chOff x="4444203" y="465721"/>
                  <a:chExt cx="1900448" cy="1827219"/>
                </a:xfrm>
              </p:grpSpPr>
              <p:sp>
                <p:nvSpPr>
                  <p:cNvPr id="29" name="Donut 24">
                    <a:extLst>
                      <a:ext uri="{FF2B5EF4-FFF2-40B4-BE49-F238E27FC236}">
                        <a16:creationId xmlns:a16="http://schemas.microsoft.com/office/drawing/2014/main" id="{B0B3667E-8414-ADCB-61D4-0DD2959E21A5}"/>
                      </a:ext>
                    </a:extLst>
                  </p:cNvPr>
                  <p:cNvSpPr/>
                  <p:nvPr/>
                </p:nvSpPr>
                <p:spPr>
                  <a:xfrm>
                    <a:off x="4444203" y="465721"/>
                    <a:ext cx="1900448" cy="1827219"/>
                  </a:xfrm>
                  <a:custGeom>
                    <a:avLst/>
                    <a:gdLst>
                      <a:gd name="connsiteX0" fmla="*/ 970678 w 2130202"/>
                      <a:gd name="connsiteY0" fmla="*/ 2000917 h 2043773"/>
                      <a:gd name="connsiteX1" fmla="*/ 1016277 w 2130202"/>
                      <a:gd name="connsiteY1" fmla="*/ 2043773 h 2043773"/>
                      <a:gd name="connsiteX2" fmla="*/ 970678 w 2130202"/>
                      <a:gd name="connsiteY2" fmla="*/ 2000917 h 2043773"/>
                      <a:gd name="connsiteX3" fmla="*/ 2104790 w 2130202"/>
                      <a:gd name="connsiteY3" fmla="*/ 886382 h 2043773"/>
                      <a:gd name="connsiteX4" fmla="*/ 2130202 w 2130202"/>
                      <a:gd name="connsiteY4" fmla="*/ 910265 h 2043773"/>
                      <a:gd name="connsiteX5" fmla="*/ 2060315 w 2130202"/>
                      <a:gd name="connsiteY5" fmla="*/ 981381 h 2043773"/>
                      <a:gd name="connsiteX6" fmla="*/ 2104790 w 2130202"/>
                      <a:gd name="connsiteY6" fmla="*/ 886382 h 2043773"/>
                      <a:gd name="connsiteX7" fmla="*/ 0 w 2130202"/>
                      <a:gd name="connsiteY7" fmla="*/ 0 h 2043773"/>
                      <a:gd name="connsiteX8" fmla="*/ 1900448 w 2130202"/>
                      <a:gd name="connsiteY8" fmla="*/ 697070 h 2043773"/>
                      <a:gd name="connsiteX9" fmla="*/ 1591947 w 2130202"/>
                      <a:gd name="connsiteY9" fmla="*/ 1417307 h 2043773"/>
                      <a:gd name="connsiteX10" fmla="*/ 747346 w 2130202"/>
                      <a:gd name="connsiteY10" fmla="*/ 1827219 h 2043773"/>
                      <a:gd name="connsiteX11" fmla="*/ 0 w 2130202"/>
                      <a:gd name="connsiteY11" fmla="*/ 1609503 h 2043773"/>
                      <a:gd name="connsiteX12" fmla="*/ 264145 w 2130202"/>
                      <a:gd name="connsiteY12" fmla="*/ 789774 h 2043773"/>
                      <a:gd name="connsiteX13" fmla="*/ 0 w 2130202"/>
                      <a:gd name="connsiteY13" fmla="*/ 0 h 2043773"/>
                      <a:gd name="connsiteX0" fmla="*/ 2104790 w 2130202"/>
                      <a:gd name="connsiteY0" fmla="*/ 886382 h 1827219"/>
                      <a:gd name="connsiteX1" fmla="*/ 2130202 w 2130202"/>
                      <a:gd name="connsiteY1" fmla="*/ 910265 h 1827219"/>
                      <a:gd name="connsiteX2" fmla="*/ 2060315 w 2130202"/>
                      <a:gd name="connsiteY2" fmla="*/ 981381 h 1827219"/>
                      <a:gd name="connsiteX3" fmla="*/ 2104790 w 2130202"/>
                      <a:gd name="connsiteY3" fmla="*/ 886382 h 1827219"/>
                      <a:gd name="connsiteX4" fmla="*/ 0 w 2130202"/>
                      <a:gd name="connsiteY4" fmla="*/ 0 h 1827219"/>
                      <a:gd name="connsiteX5" fmla="*/ 1900448 w 2130202"/>
                      <a:gd name="connsiteY5" fmla="*/ 697070 h 1827219"/>
                      <a:gd name="connsiteX6" fmla="*/ 1591947 w 2130202"/>
                      <a:gd name="connsiteY6" fmla="*/ 1417307 h 1827219"/>
                      <a:gd name="connsiteX7" fmla="*/ 747346 w 2130202"/>
                      <a:gd name="connsiteY7" fmla="*/ 1827219 h 1827219"/>
                      <a:gd name="connsiteX8" fmla="*/ 0 w 2130202"/>
                      <a:gd name="connsiteY8" fmla="*/ 1609503 h 1827219"/>
                      <a:gd name="connsiteX9" fmla="*/ 264145 w 2130202"/>
                      <a:gd name="connsiteY9" fmla="*/ 789774 h 1827219"/>
                      <a:gd name="connsiteX10" fmla="*/ 0 w 2130202"/>
                      <a:gd name="connsiteY10" fmla="*/ 0 h 1827219"/>
                      <a:gd name="connsiteX0" fmla="*/ 2104790 w 2130202"/>
                      <a:gd name="connsiteY0" fmla="*/ 886382 h 1827219"/>
                      <a:gd name="connsiteX1" fmla="*/ 2130202 w 2130202"/>
                      <a:gd name="connsiteY1" fmla="*/ 910265 h 1827219"/>
                      <a:gd name="connsiteX2" fmla="*/ 2104790 w 2130202"/>
                      <a:gd name="connsiteY2" fmla="*/ 886382 h 1827219"/>
                      <a:gd name="connsiteX3" fmla="*/ 0 w 2130202"/>
                      <a:gd name="connsiteY3" fmla="*/ 0 h 1827219"/>
                      <a:gd name="connsiteX4" fmla="*/ 1900448 w 2130202"/>
                      <a:gd name="connsiteY4" fmla="*/ 697070 h 1827219"/>
                      <a:gd name="connsiteX5" fmla="*/ 1591947 w 2130202"/>
                      <a:gd name="connsiteY5" fmla="*/ 1417307 h 1827219"/>
                      <a:gd name="connsiteX6" fmla="*/ 747346 w 2130202"/>
                      <a:gd name="connsiteY6" fmla="*/ 1827219 h 1827219"/>
                      <a:gd name="connsiteX7" fmla="*/ 0 w 2130202"/>
                      <a:gd name="connsiteY7" fmla="*/ 1609503 h 1827219"/>
                      <a:gd name="connsiteX8" fmla="*/ 264145 w 2130202"/>
                      <a:gd name="connsiteY8" fmla="*/ 789774 h 1827219"/>
                      <a:gd name="connsiteX9" fmla="*/ 0 w 2130202"/>
                      <a:gd name="connsiteY9" fmla="*/ 0 h 1827219"/>
                      <a:gd name="connsiteX0" fmla="*/ 0 w 1900448"/>
                      <a:gd name="connsiteY0" fmla="*/ 0 h 1827219"/>
                      <a:gd name="connsiteX1" fmla="*/ 1900448 w 1900448"/>
                      <a:gd name="connsiteY1" fmla="*/ 697070 h 1827219"/>
                      <a:gd name="connsiteX2" fmla="*/ 1591947 w 1900448"/>
                      <a:gd name="connsiteY2" fmla="*/ 1417307 h 1827219"/>
                      <a:gd name="connsiteX3" fmla="*/ 747346 w 1900448"/>
                      <a:gd name="connsiteY3" fmla="*/ 1827219 h 1827219"/>
                      <a:gd name="connsiteX4" fmla="*/ 0 w 1900448"/>
                      <a:gd name="connsiteY4" fmla="*/ 1609503 h 1827219"/>
                      <a:gd name="connsiteX5" fmla="*/ 264145 w 1900448"/>
                      <a:gd name="connsiteY5" fmla="*/ 789774 h 1827219"/>
                      <a:gd name="connsiteX6" fmla="*/ 0 w 1900448"/>
                      <a:gd name="connsiteY6" fmla="*/ 0 h 182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0448" h="1827219">
                        <a:moveTo>
                          <a:pt x="0" y="0"/>
                        </a:moveTo>
                        <a:cubicBezTo>
                          <a:pt x="721537" y="0"/>
                          <a:pt x="1383611" y="261067"/>
                          <a:pt x="1900448" y="697070"/>
                        </a:cubicBezTo>
                        <a:lnTo>
                          <a:pt x="1591947" y="1417307"/>
                        </a:lnTo>
                        <a:lnTo>
                          <a:pt x="747346" y="1827219"/>
                        </a:lnTo>
                        <a:cubicBezTo>
                          <a:pt x="530554" y="1688578"/>
                          <a:pt x="274282" y="1609503"/>
                          <a:pt x="0" y="1609503"/>
                        </a:cubicBezTo>
                        <a:lnTo>
                          <a:pt x="264145" y="789774"/>
                        </a:lnTo>
                        <a:lnTo>
                          <a:pt x="0" y="0"/>
                        </a:lnTo>
                        <a:close/>
                      </a:path>
                    </a:pathLst>
                  </a:custGeom>
                  <a:solidFill>
                    <a:schemeClr val="bg2">
                      <a:lumMod val="50000"/>
                    </a:schemeClr>
                  </a:solidFill>
                  <a:ln w="508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30" name="Donut 24">
                    <a:extLst>
                      <a:ext uri="{FF2B5EF4-FFF2-40B4-BE49-F238E27FC236}">
                        <a16:creationId xmlns:a16="http://schemas.microsoft.com/office/drawing/2014/main" id="{7ECF0D62-653D-DD84-50B5-4ACD4A257C71}"/>
                      </a:ext>
                    </a:extLst>
                  </p:cNvPr>
                  <p:cNvSpPr/>
                  <p:nvPr/>
                </p:nvSpPr>
                <p:spPr>
                  <a:xfrm>
                    <a:off x="4542261" y="560457"/>
                    <a:ext cx="1680063" cy="1587599"/>
                  </a:xfrm>
                  <a:custGeom>
                    <a:avLst/>
                    <a:gdLst/>
                    <a:ahLst/>
                    <a:cxnLst/>
                    <a:rect l="l" t="t" r="r" b="b"/>
                    <a:pathLst>
                      <a:path w="1680063" h="1587599">
                        <a:moveTo>
                          <a:pt x="23469" y="0"/>
                        </a:moveTo>
                        <a:cubicBezTo>
                          <a:pt x="648030" y="25947"/>
                          <a:pt x="1221342" y="255814"/>
                          <a:pt x="1680063" y="628703"/>
                        </a:cubicBezTo>
                        <a:lnTo>
                          <a:pt x="1426718" y="1229154"/>
                        </a:lnTo>
                        <a:lnTo>
                          <a:pt x="662412" y="1587599"/>
                        </a:lnTo>
                        <a:cubicBezTo>
                          <a:pt x="463983" y="1479615"/>
                          <a:pt x="239095" y="1414515"/>
                          <a:pt x="0" y="1404060"/>
                        </a:cubicBezTo>
                        <a:lnTo>
                          <a:pt x="283794" y="677957"/>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grpSp>
            <p:grpSp>
              <p:nvGrpSpPr>
                <p:cNvPr id="26" name="Group 59">
                  <a:extLst>
                    <a:ext uri="{FF2B5EF4-FFF2-40B4-BE49-F238E27FC236}">
                      <a16:creationId xmlns:a16="http://schemas.microsoft.com/office/drawing/2014/main" id="{0DE41BF9-A28A-3161-C93F-5E87622F805C}"/>
                    </a:ext>
                  </a:extLst>
                </p:cNvPr>
                <p:cNvGrpSpPr/>
                <p:nvPr/>
              </p:nvGrpSpPr>
              <p:grpSpPr>
                <a:xfrm rot="2659168">
                  <a:off x="5627331" y="1728437"/>
                  <a:ext cx="1900448" cy="1827219"/>
                  <a:chOff x="4444203" y="465721"/>
                  <a:chExt cx="1900448" cy="1827219"/>
                </a:xfrm>
              </p:grpSpPr>
              <p:sp>
                <p:nvSpPr>
                  <p:cNvPr id="27" name="Donut 24">
                    <a:extLst>
                      <a:ext uri="{FF2B5EF4-FFF2-40B4-BE49-F238E27FC236}">
                        <a16:creationId xmlns:a16="http://schemas.microsoft.com/office/drawing/2014/main" id="{8BF17C80-DB67-49AF-1707-30D466E585F5}"/>
                      </a:ext>
                    </a:extLst>
                  </p:cNvPr>
                  <p:cNvSpPr/>
                  <p:nvPr/>
                </p:nvSpPr>
                <p:spPr>
                  <a:xfrm>
                    <a:off x="4444203" y="465721"/>
                    <a:ext cx="1900448" cy="1827219"/>
                  </a:xfrm>
                  <a:custGeom>
                    <a:avLst/>
                    <a:gdLst>
                      <a:gd name="connsiteX0" fmla="*/ 970678 w 2130202"/>
                      <a:gd name="connsiteY0" fmla="*/ 2000917 h 2043773"/>
                      <a:gd name="connsiteX1" fmla="*/ 1016277 w 2130202"/>
                      <a:gd name="connsiteY1" fmla="*/ 2043773 h 2043773"/>
                      <a:gd name="connsiteX2" fmla="*/ 970678 w 2130202"/>
                      <a:gd name="connsiteY2" fmla="*/ 2000917 h 2043773"/>
                      <a:gd name="connsiteX3" fmla="*/ 2104790 w 2130202"/>
                      <a:gd name="connsiteY3" fmla="*/ 886382 h 2043773"/>
                      <a:gd name="connsiteX4" fmla="*/ 2130202 w 2130202"/>
                      <a:gd name="connsiteY4" fmla="*/ 910265 h 2043773"/>
                      <a:gd name="connsiteX5" fmla="*/ 2060315 w 2130202"/>
                      <a:gd name="connsiteY5" fmla="*/ 981381 h 2043773"/>
                      <a:gd name="connsiteX6" fmla="*/ 2104790 w 2130202"/>
                      <a:gd name="connsiteY6" fmla="*/ 886382 h 2043773"/>
                      <a:gd name="connsiteX7" fmla="*/ 0 w 2130202"/>
                      <a:gd name="connsiteY7" fmla="*/ 0 h 2043773"/>
                      <a:gd name="connsiteX8" fmla="*/ 1900448 w 2130202"/>
                      <a:gd name="connsiteY8" fmla="*/ 697070 h 2043773"/>
                      <a:gd name="connsiteX9" fmla="*/ 1591947 w 2130202"/>
                      <a:gd name="connsiteY9" fmla="*/ 1417307 h 2043773"/>
                      <a:gd name="connsiteX10" fmla="*/ 747346 w 2130202"/>
                      <a:gd name="connsiteY10" fmla="*/ 1827219 h 2043773"/>
                      <a:gd name="connsiteX11" fmla="*/ 0 w 2130202"/>
                      <a:gd name="connsiteY11" fmla="*/ 1609503 h 2043773"/>
                      <a:gd name="connsiteX12" fmla="*/ 264145 w 2130202"/>
                      <a:gd name="connsiteY12" fmla="*/ 789774 h 2043773"/>
                      <a:gd name="connsiteX13" fmla="*/ 0 w 2130202"/>
                      <a:gd name="connsiteY13" fmla="*/ 0 h 2043773"/>
                      <a:gd name="connsiteX0" fmla="*/ 2104790 w 2130202"/>
                      <a:gd name="connsiteY0" fmla="*/ 886382 h 1827219"/>
                      <a:gd name="connsiteX1" fmla="*/ 2130202 w 2130202"/>
                      <a:gd name="connsiteY1" fmla="*/ 910265 h 1827219"/>
                      <a:gd name="connsiteX2" fmla="*/ 2060315 w 2130202"/>
                      <a:gd name="connsiteY2" fmla="*/ 981381 h 1827219"/>
                      <a:gd name="connsiteX3" fmla="*/ 2104790 w 2130202"/>
                      <a:gd name="connsiteY3" fmla="*/ 886382 h 1827219"/>
                      <a:gd name="connsiteX4" fmla="*/ 0 w 2130202"/>
                      <a:gd name="connsiteY4" fmla="*/ 0 h 1827219"/>
                      <a:gd name="connsiteX5" fmla="*/ 1900448 w 2130202"/>
                      <a:gd name="connsiteY5" fmla="*/ 697070 h 1827219"/>
                      <a:gd name="connsiteX6" fmla="*/ 1591947 w 2130202"/>
                      <a:gd name="connsiteY6" fmla="*/ 1417307 h 1827219"/>
                      <a:gd name="connsiteX7" fmla="*/ 747346 w 2130202"/>
                      <a:gd name="connsiteY7" fmla="*/ 1827219 h 1827219"/>
                      <a:gd name="connsiteX8" fmla="*/ 0 w 2130202"/>
                      <a:gd name="connsiteY8" fmla="*/ 1609503 h 1827219"/>
                      <a:gd name="connsiteX9" fmla="*/ 264145 w 2130202"/>
                      <a:gd name="connsiteY9" fmla="*/ 789774 h 1827219"/>
                      <a:gd name="connsiteX10" fmla="*/ 0 w 2130202"/>
                      <a:gd name="connsiteY10" fmla="*/ 0 h 1827219"/>
                      <a:gd name="connsiteX0" fmla="*/ 2104790 w 2130202"/>
                      <a:gd name="connsiteY0" fmla="*/ 886382 h 1827219"/>
                      <a:gd name="connsiteX1" fmla="*/ 2130202 w 2130202"/>
                      <a:gd name="connsiteY1" fmla="*/ 910265 h 1827219"/>
                      <a:gd name="connsiteX2" fmla="*/ 2104790 w 2130202"/>
                      <a:gd name="connsiteY2" fmla="*/ 886382 h 1827219"/>
                      <a:gd name="connsiteX3" fmla="*/ 0 w 2130202"/>
                      <a:gd name="connsiteY3" fmla="*/ 0 h 1827219"/>
                      <a:gd name="connsiteX4" fmla="*/ 1900448 w 2130202"/>
                      <a:gd name="connsiteY4" fmla="*/ 697070 h 1827219"/>
                      <a:gd name="connsiteX5" fmla="*/ 1591947 w 2130202"/>
                      <a:gd name="connsiteY5" fmla="*/ 1417307 h 1827219"/>
                      <a:gd name="connsiteX6" fmla="*/ 747346 w 2130202"/>
                      <a:gd name="connsiteY6" fmla="*/ 1827219 h 1827219"/>
                      <a:gd name="connsiteX7" fmla="*/ 0 w 2130202"/>
                      <a:gd name="connsiteY7" fmla="*/ 1609503 h 1827219"/>
                      <a:gd name="connsiteX8" fmla="*/ 264145 w 2130202"/>
                      <a:gd name="connsiteY8" fmla="*/ 789774 h 1827219"/>
                      <a:gd name="connsiteX9" fmla="*/ 0 w 2130202"/>
                      <a:gd name="connsiteY9" fmla="*/ 0 h 1827219"/>
                      <a:gd name="connsiteX0" fmla="*/ 0 w 1900448"/>
                      <a:gd name="connsiteY0" fmla="*/ 0 h 1827219"/>
                      <a:gd name="connsiteX1" fmla="*/ 1900448 w 1900448"/>
                      <a:gd name="connsiteY1" fmla="*/ 697070 h 1827219"/>
                      <a:gd name="connsiteX2" fmla="*/ 1591947 w 1900448"/>
                      <a:gd name="connsiteY2" fmla="*/ 1417307 h 1827219"/>
                      <a:gd name="connsiteX3" fmla="*/ 747346 w 1900448"/>
                      <a:gd name="connsiteY3" fmla="*/ 1827219 h 1827219"/>
                      <a:gd name="connsiteX4" fmla="*/ 0 w 1900448"/>
                      <a:gd name="connsiteY4" fmla="*/ 1609503 h 1827219"/>
                      <a:gd name="connsiteX5" fmla="*/ 264145 w 1900448"/>
                      <a:gd name="connsiteY5" fmla="*/ 789774 h 1827219"/>
                      <a:gd name="connsiteX6" fmla="*/ 0 w 1900448"/>
                      <a:gd name="connsiteY6" fmla="*/ 0 h 182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0448" h="1827219">
                        <a:moveTo>
                          <a:pt x="0" y="0"/>
                        </a:moveTo>
                        <a:cubicBezTo>
                          <a:pt x="721537" y="0"/>
                          <a:pt x="1383611" y="261067"/>
                          <a:pt x="1900448" y="697070"/>
                        </a:cubicBezTo>
                        <a:lnTo>
                          <a:pt x="1591947" y="1417307"/>
                        </a:lnTo>
                        <a:lnTo>
                          <a:pt x="747346" y="1827219"/>
                        </a:lnTo>
                        <a:cubicBezTo>
                          <a:pt x="530554" y="1688578"/>
                          <a:pt x="274282" y="1609503"/>
                          <a:pt x="0" y="1609503"/>
                        </a:cubicBezTo>
                        <a:lnTo>
                          <a:pt x="264145" y="789774"/>
                        </a:lnTo>
                        <a:lnTo>
                          <a:pt x="0" y="0"/>
                        </a:lnTo>
                        <a:close/>
                      </a:path>
                    </a:pathLst>
                  </a:custGeom>
                  <a:solidFill>
                    <a:schemeClr val="bg2">
                      <a:lumMod val="50000"/>
                    </a:schemeClr>
                  </a:solidFill>
                  <a:ln w="508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28" name="Donut 24">
                    <a:extLst>
                      <a:ext uri="{FF2B5EF4-FFF2-40B4-BE49-F238E27FC236}">
                        <a16:creationId xmlns:a16="http://schemas.microsoft.com/office/drawing/2014/main" id="{1FA4CDEA-28D6-938E-7700-D710AE90A0D7}"/>
                      </a:ext>
                    </a:extLst>
                  </p:cNvPr>
                  <p:cNvSpPr/>
                  <p:nvPr/>
                </p:nvSpPr>
                <p:spPr>
                  <a:xfrm>
                    <a:off x="4563364" y="569344"/>
                    <a:ext cx="1680063" cy="1587599"/>
                  </a:xfrm>
                  <a:custGeom>
                    <a:avLst/>
                    <a:gdLst/>
                    <a:ahLst/>
                    <a:cxnLst/>
                    <a:rect l="l" t="t" r="r" b="b"/>
                    <a:pathLst>
                      <a:path w="1680063" h="1587599">
                        <a:moveTo>
                          <a:pt x="23469" y="0"/>
                        </a:moveTo>
                        <a:cubicBezTo>
                          <a:pt x="648030" y="25947"/>
                          <a:pt x="1221342" y="255814"/>
                          <a:pt x="1680063" y="628703"/>
                        </a:cubicBezTo>
                        <a:lnTo>
                          <a:pt x="1426718" y="1229154"/>
                        </a:lnTo>
                        <a:lnTo>
                          <a:pt x="662412" y="1587599"/>
                        </a:lnTo>
                        <a:cubicBezTo>
                          <a:pt x="463983" y="1479615"/>
                          <a:pt x="239095" y="1414515"/>
                          <a:pt x="0" y="1404060"/>
                        </a:cubicBezTo>
                        <a:lnTo>
                          <a:pt x="283794" y="677957"/>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grpSp>
          </p:grpSp>
        </p:grpSp>
      </p:grpSp>
      <p:sp>
        <p:nvSpPr>
          <p:cNvPr id="68" name="Freeform 229">
            <a:extLst>
              <a:ext uri="{FF2B5EF4-FFF2-40B4-BE49-F238E27FC236}">
                <a16:creationId xmlns:a16="http://schemas.microsoft.com/office/drawing/2014/main" id="{677A0E00-99AE-07D2-E692-2448373DA88F}"/>
              </a:ext>
            </a:extLst>
          </p:cNvPr>
          <p:cNvSpPr/>
          <p:nvPr/>
        </p:nvSpPr>
        <p:spPr>
          <a:xfrm rot="18999791">
            <a:off x="5840211" y="2176116"/>
            <a:ext cx="256490" cy="446740"/>
          </a:xfrm>
          <a:custGeom>
            <a:avLst/>
            <a:gdLst>
              <a:gd name="connsiteX0" fmla="*/ 1792357 w 2278359"/>
              <a:gd name="connsiteY0" fmla="*/ 471044 h 3989954"/>
              <a:gd name="connsiteX1" fmla="*/ 434587 w 2278359"/>
              <a:gd name="connsiteY1" fmla="*/ 510467 h 3989954"/>
              <a:gd name="connsiteX2" fmla="*/ 474013 w 2278359"/>
              <a:gd name="connsiteY2" fmla="*/ 1868237 h 3989954"/>
              <a:gd name="connsiteX3" fmla="*/ 1831783 w 2278359"/>
              <a:gd name="connsiteY3" fmla="*/ 1828814 h 3989954"/>
              <a:gd name="connsiteX4" fmla="*/ 1792357 w 2278359"/>
              <a:gd name="connsiteY4" fmla="*/ 471044 h 3989954"/>
              <a:gd name="connsiteX5" fmla="*/ 1885333 w 2278359"/>
              <a:gd name="connsiteY5" fmla="*/ 283261 h 3989954"/>
              <a:gd name="connsiteX6" fmla="*/ 1969376 w 2278359"/>
              <a:gd name="connsiteY6" fmla="*/ 365568 h 3989954"/>
              <a:gd name="connsiteX7" fmla="*/ 1919239 w 2278359"/>
              <a:gd name="connsiteY7" fmla="*/ 2004733 h 3989954"/>
              <a:gd name="connsiteX8" fmla="*/ 1321847 w 2278359"/>
              <a:gd name="connsiteY8" fmla="*/ 2304377 h 3989954"/>
              <a:gd name="connsiteX9" fmla="*/ 1255970 w 2278359"/>
              <a:gd name="connsiteY9" fmla="*/ 2308700 h 3989954"/>
              <a:gd name="connsiteX10" fmla="*/ 1255970 w 2278359"/>
              <a:gd name="connsiteY10" fmla="*/ 2543326 h 3989954"/>
              <a:gd name="connsiteX11" fmla="*/ 1309237 w 2278359"/>
              <a:gd name="connsiteY11" fmla="*/ 2582393 h 3989954"/>
              <a:gd name="connsiteX12" fmla="*/ 1395670 w 2278359"/>
              <a:gd name="connsiteY12" fmla="*/ 2815036 h 3989954"/>
              <a:gd name="connsiteX13" fmla="*/ 1369365 w 2278359"/>
              <a:gd name="connsiteY13" fmla="*/ 3675091 h 3989954"/>
              <a:gd name="connsiteX14" fmla="*/ 1040345 w 2278359"/>
              <a:gd name="connsiteY14" fmla="*/ 3989794 h 3989954"/>
              <a:gd name="connsiteX15" fmla="*/ 1040345 w 2278359"/>
              <a:gd name="connsiteY15" fmla="*/ 3989790 h 3989954"/>
              <a:gd name="connsiteX16" fmla="*/ 731192 w 2278359"/>
              <a:gd name="connsiteY16" fmla="*/ 3654862 h 3989954"/>
              <a:gd name="connsiteX17" fmla="*/ 757502 w 2278359"/>
              <a:gd name="connsiteY17" fmla="*/ 2794811 h 3989954"/>
              <a:gd name="connsiteX18" fmla="*/ 857986 w 2278359"/>
              <a:gd name="connsiteY18" fmla="*/ 2568093 h 3989954"/>
              <a:gd name="connsiteX19" fmla="*/ 934106 w 2278359"/>
              <a:gd name="connsiteY19" fmla="*/ 2519287 h 3989954"/>
              <a:gd name="connsiteX20" fmla="*/ 934106 w 2278359"/>
              <a:gd name="connsiteY20" fmla="*/ 2296711 h 3989954"/>
              <a:gd name="connsiteX21" fmla="*/ 886906 w 2278359"/>
              <a:gd name="connsiteY21" fmla="*/ 2290589 h 3989954"/>
              <a:gd name="connsiteX22" fmla="*/ 308981 w 2278359"/>
              <a:gd name="connsiteY22" fmla="*/ 1953696 h 3989954"/>
              <a:gd name="connsiteX23" fmla="*/ 359117 w 2278359"/>
              <a:gd name="connsiteY23" fmla="*/ 314532 h 3989954"/>
              <a:gd name="connsiteX24" fmla="*/ 1885333 w 2278359"/>
              <a:gd name="connsiteY24" fmla="*/ 283261 h 398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78359" h="3989954">
                <a:moveTo>
                  <a:pt x="1792357" y="471044"/>
                </a:moveTo>
                <a:cubicBezTo>
                  <a:pt x="1406533" y="106992"/>
                  <a:pt x="798638" y="124643"/>
                  <a:pt x="434587" y="510467"/>
                </a:cubicBezTo>
                <a:cubicBezTo>
                  <a:pt x="70537" y="896291"/>
                  <a:pt x="88188" y="1504185"/>
                  <a:pt x="474013" y="1868237"/>
                </a:cubicBezTo>
                <a:cubicBezTo>
                  <a:pt x="859838" y="2232288"/>
                  <a:pt x="1467733" y="2214638"/>
                  <a:pt x="1831783" y="1828814"/>
                </a:cubicBezTo>
                <a:cubicBezTo>
                  <a:pt x="2195834" y="1442990"/>
                  <a:pt x="2178182" y="835095"/>
                  <a:pt x="1792357" y="471044"/>
                </a:cubicBezTo>
                <a:close/>
                <a:moveTo>
                  <a:pt x="1885333" y="283261"/>
                </a:moveTo>
                <a:cubicBezTo>
                  <a:pt x="1914390" y="308960"/>
                  <a:pt x="1942450" y="336397"/>
                  <a:pt x="1969376" y="365568"/>
                </a:cubicBezTo>
                <a:cubicBezTo>
                  <a:pt x="2400194" y="832304"/>
                  <a:pt x="2377747" y="1566184"/>
                  <a:pt x="1919239" y="2004733"/>
                </a:cubicBezTo>
                <a:cubicBezTo>
                  <a:pt x="1747300" y="2169194"/>
                  <a:pt x="1538456" y="2268763"/>
                  <a:pt x="1321847" y="2304377"/>
                </a:cubicBezTo>
                <a:lnTo>
                  <a:pt x="1255970" y="2308700"/>
                </a:lnTo>
                <a:lnTo>
                  <a:pt x="1255970" y="2543326"/>
                </a:lnTo>
                <a:lnTo>
                  <a:pt x="1309237" y="2582393"/>
                </a:lnTo>
                <a:cubicBezTo>
                  <a:pt x="1365185" y="2643003"/>
                  <a:pt x="1398412" y="2725341"/>
                  <a:pt x="1395670" y="2815036"/>
                </a:cubicBezTo>
                <a:lnTo>
                  <a:pt x="1369365" y="3675091"/>
                </a:lnTo>
                <a:cubicBezTo>
                  <a:pt x="1363875" y="3854485"/>
                  <a:pt x="1216570" y="3995377"/>
                  <a:pt x="1040345" y="3989794"/>
                </a:cubicBezTo>
                <a:lnTo>
                  <a:pt x="1040345" y="3989790"/>
                </a:lnTo>
                <a:cubicBezTo>
                  <a:pt x="864115" y="3984202"/>
                  <a:pt x="725707" y="3834251"/>
                  <a:pt x="731192" y="3654862"/>
                </a:cubicBezTo>
                <a:lnTo>
                  <a:pt x="757502" y="2794811"/>
                </a:lnTo>
                <a:cubicBezTo>
                  <a:pt x="760244" y="2705112"/>
                  <a:pt x="798445" y="2625041"/>
                  <a:pt x="857986" y="2568093"/>
                </a:cubicBezTo>
                <a:lnTo>
                  <a:pt x="934106" y="2519287"/>
                </a:lnTo>
                <a:lnTo>
                  <a:pt x="934106" y="2296711"/>
                </a:lnTo>
                <a:lnTo>
                  <a:pt x="886906" y="2290589"/>
                </a:lnTo>
                <a:cubicBezTo>
                  <a:pt x="672890" y="2241330"/>
                  <a:pt x="470536" y="2128727"/>
                  <a:pt x="308981" y="1953696"/>
                </a:cubicBezTo>
                <a:cubicBezTo>
                  <a:pt x="-121834" y="1486961"/>
                  <a:pt x="-99387" y="753081"/>
                  <a:pt x="359117" y="314532"/>
                </a:cubicBezTo>
                <a:cubicBezTo>
                  <a:pt x="788968" y="-96612"/>
                  <a:pt x="1449465" y="-102226"/>
                  <a:pt x="1885333" y="283261"/>
                </a:cubicBezTo>
                <a:close/>
              </a:path>
            </a:pathLst>
          </a:custGeom>
          <a:solidFill>
            <a:schemeClr val="bg1"/>
          </a:solidFill>
          <a:ln w="12700" cap="flat" cmpd="sng" algn="ctr">
            <a:noFill/>
            <a:prstDash val="solid"/>
            <a:miter lim="800000"/>
          </a:ln>
          <a:effectLst/>
        </p:spPr>
        <p:txBody>
          <a:bodyPr wrap="square" rtlCol="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91" b="0" i="0" u="none" strike="noStrike" kern="0" cap="none" spc="0" normalizeH="0" baseline="0" noProof="0">
              <a:ln>
                <a:noFill/>
              </a:ln>
              <a:solidFill>
                <a:srgbClr val="002060"/>
              </a:solidFill>
              <a:effectLst/>
              <a:uLnTx/>
              <a:uFillTx/>
              <a:latin typeface="Calibri" charset="0"/>
              <a:ea typeface="ＭＳ Ｐゴシック" charset="0"/>
            </a:endParaRPr>
          </a:p>
        </p:txBody>
      </p:sp>
      <p:sp>
        <p:nvSpPr>
          <p:cNvPr id="69" name="Freeform 1230">
            <a:extLst>
              <a:ext uri="{FF2B5EF4-FFF2-40B4-BE49-F238E27FC236}">
                <a16:creationId xmlns:a16="http://schemas.microsoft.com/office/drawing/2014/main" id="{22B36177-9F94-FEB6-D5E1-21B09159367B}"/>
              </a:ext>
            </a:extLst>
          </p:cNvPr>
          <p:cNvSpPr/>
          <p:nvPr/>
        </p:nvSpPr>
        <p:spPr>
          <a:xfrm>
            <a:off x="4928738" y="3870956"/>
            <a:ext cx="316682" cy="461265"/>
          </a:xfrm>
          <a:custGeom>
            <a:avLst/>
            <a:gdLst>
              <a:gd name="connsiteX0" fmla="*/ 429428 w 560646"/>
              <a:gd name="connsiteY0" fmla="*/ 703064 h 816614"/>
              <a:gd name="connsiteX1" fmla="*/ 429494 w 560646"/>
              <a:gd name="connsiteY1" fmla="*/ 767268 h 816614"/>
              <a:gd name="connsiteX2" fmla="*/ 353936 w 560646"/>
              <a:gd name="connsiteY2" fmla="*/ 767163 h 816614"/>
              <a:gd name="connsiteX3" fmla="*/ 353936 w 560646"/>
              <a:gd name="connsiteY3" fmla="*/ 777446 h 816614"/>
              <a:gd name="connsiteX4" fmla="*/ 314768 w 560646"/>
              <a:gd name="connsiteY4" fmla="*/ 816614 h 816614"/>
              <a:gd name="connsiteX5" fmla="*/ 252826 w 560646"/>
              <a:gd name="connsiteY5" fmla="*/ 816614 h 816614"/>
              <a:gd name="connsiteX6" fmla="*/ 213658 w 560646"/>
              <a:gd name="connsiteY6" fmla="*/ 777446 h 816614"/>
              <a:gd name="connsiteX7" fmla="*/ 213658 w 560646"/>
              <a:gd name="connsiteY7" fmla="*/ 766967 h 816614"/>
              <a:gd name="connsiteX8" fmla="*/ 139427 w 560646"/>
              <a:gd name="connsiteY8" fmla="*/ 766863 h 816614"/>
              <a:gd name="connsiteX9" fmla="*/ 139070 w 560646"/>
              <a:gd name="connsiteY9" fmla="*/ 743204 h 816614"/>
              <a:gd name="connsiteX10" fmla="*/ 430826 w 560646"/>
              <a:gd name="connsiteY10" fmla="*/ 638515 h 816614"/>
              <a:gd name="connsiteX11" fmla="*/ 430892 w 560646"/>
              <a:gd name="connsiteY11" fmla="*/ 686535 h 816614"/>
              <a:gd name="connsiteX12" fmla="*/ 139071 w 560646"/>
              <a:gd name="connsiteY12" fmla="*/ 719001 h 816614"/>
              <a:gd name="connsiteX13" fmla="*/ 139071 w 560646"/>
              <a:gd name="connsiteY13" fmla="*/ 667944 h 816614"/>
              <a:gd name="connsiteX14" fmla="*/ 314447 w 560646"/>
              <a:gd name="connsiteY14" fmla="*/ 78944 h 816614"/>
              <a:gd name="connsiteX15" fmla="*/ 303179 w 560646"/>
              <a:gd name="connsiteY15" fmla="*/ 105972 h 816614"/>
              <a:gd name="connsiteX16" fmla="*/ 163313 w 560646"/>
              <a:gd name="connsiteY16" fmla="*/ 172157 h 816614"/>
              <a:gd name="connsiteX17" fmla="*/ 103640 w 560646"/>
              <a:gd name="connsiteY17" fmla="*/ 302433 h 816614"/>
              <a:gd name="connsiteX18" fmla="*/ 75512 w 560646"/>
              <a:gd name="connsiteY18" fmla="*/ 303024 h 816614"/>
              <a:gd name="connsiteX19" fmla="*/ 140194 w 560646"/>
              <a:gd name="connsiteY19" fmla="*/ 147456 h 816614"/>
              <a:gd name="connsiteX20" fmla="*/ 314447 w 560646"/>
              <a:gd name="connsiteY20" fmla="*/ 78944 h 816614"/>
              <a:gd name="connsiteX21" fmla="*/ 280323 w 560646"/>
              <a:gd name="connsiteY21" fmla="*/ 42384 h 816614"/>
              <a:gd name="connsiteX22" fmla="*/ 42384 w 560646"/>
              <a:gd name="connsiteY22" fmla="*/ 280322 h 816614"/>
              <a:gd name="connsiteX23" fmla="*/ 166908 w 560646"/>
              <a:gd name="connsiteY23" fmla="*/ 489543 h 816614"/>
              <a:gd name="connsiteX24" fmla="*/ 177566 w 560646"/>
              <a:gd name="connsiteY24" fmla="*/ 494911 h 816614"/>
              <a:gd name="connsiteX25" fmla="*/ 177634 w 560646"/>
              <a:gd name="connsiteY25" fmla="*/ 584720 h 816614"/>
              <a:gd name="connsiteX26" fmla="*/ 382925 w 560646"/>
              <a:gd name="connsiteY26" fmla="*/ 584720 h 816614"/>
              <a:gd name="connsiteX27" fmla="*/ 383081 w 560646"/>
              <a:gd name="connsiteY27" fmla="*/ 494911 h 816614"/>
              <a:gd name="connsiteX28" fmla="*/ 393739 w 560646"/>
              <a:gd name="connsiteY28" fmla="*/ 489543 h 816614"/>
              <a:gd name="connsiteX29" fmla="*/ 518262 w 560646"/>
              <a:gd name="connsiteY29" fmla="*/ 280322 h 816614"/>
              <a:gd name="connsiteX30" fmla="*/ 280323 w 560646"/>
              <a:gd name="connsiteY30" fmla="*/ 42384 h 816614"/>
              <a:gd name="connsiteX31" fmla="*/ 280323 w 560646"/>
              <a:gd name="connsiteY31" fmla="*/ 0 h 816614"/>
              <a:gd name="connsiteX32" fmla="*/ 560646 w 560646"/>
              <a:gd name="connsiteY32" fmla="*/ 280322 h 816614"/>
              <a:gd name="connsiteX33" fmla="*/ 458635 w 560646"/>
              <a:gd name="connsiteY33" fmla="*/ 496633 h 816614"/>
              <a:gd name="connsiteX34" fmla="*/ 430147 w 560646"/>
              <a:gd name="connsiteY34" fmla="*/ 516887 h 816614"/>
              <a:gd name="connsiteX35" fmla="*/ 430433 w 560646"/>
              <a:gd name="connsiteY35" fmla="*/ 621818 h 816614"/>
              <a:gd name="connsiteX36" fmla="*/ 137515 w 560646"/>
              <a:gd name="connsiteY36" fmla="*/ 640883 h 816614"/>
              <a:gd name="connsiteX37" fmla="*/ 137515 w 560646"/>
              <a:gd name="connsiteY37" fmla="*/ 521367 h 816614"/>
              <a:gd name="connsiteX38" fmla="*/ 134966 w 560646"/>
              <a:gd name="connsiteY38" fmla="*/ 520062 h 816614"/>
              <a:gd name="connsiteX39" fmla="*/ 0 w 560646"/>
              <a:gd name="connsiteY39" fmla="*/ 280322 h 816614"/>
              <a:gd name="connsiteX40" fmla="*/ 280323 w 560646"/>
              <a:gd name="connsiteY40" fmla="*/ 0 h 81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60646" h="816614">
                <a:moveTo>
                  <a:pt x="429428" y="703064"/>
                </a:moveTo>
                <a:cubicBezTo>
                  <a:pt x="429428" y="715532"/>
                  <a:pt x="429494" y="754799"/>
                  <a:pt x="429494" y="767268"/>
                </a:cubicBezTo>
                <a:lnTo>
                  <a:pt x="353936" y="767163"/>
                </a:lnTo>
                <a:lnTo>
                  <a:pt x="353936" y="777446"/>
                </a:lnTo>
                <a:cubicBezTo>
                  <a:pt x="353936" y="799078"/>
                  <a:pt x="336401" y="816614"/>
                  <a:pt x="314768" y="816614"/>
                </a:cubicBezTo>
                <a:lnTo>
                  <a:pt x="252826" y="816614"/>
                </a:lnTo>
                <a:cubicBezTo>
                  <a:pt x="231194" y="816614"/>
                  <a:pt x="213658" y="799078"/>
                  <a:pt x="213658" y="777446"/>
                </a:cubicBezTo>
                <a:lnTo>
                  <a:pt x="213658" y="766967"/>
                </a:lnTo>
                <a:lnTo>
                  <a:pt x="139427" y="766863"/>
                </a:lnTo>
                <a:cubicBezTo>
                  <a:pt x="139308" y="758977"/>
                  <a:pt x="139189" y="751090"/>
                  <a:pt x="139070" y="743204"/>
                </a:cubicBezTo>
                <a:close/>
                <a:moveTo>
                  <a:pt x="430826" y="638515"/>
                </a:moveTo>
                <a:cubicBezTo>
                  <a:pt x="430826" y="650983"/>
                  <a:pt x="430892" y="674067"/>
                  <a:pt x="430892" y="686535"/>
                </a:cubicBezTo>
                <a:lnTo>
                  <a:pt x="139071" y="719001"/>
                </a:lnTo>
                <a:lnTo>
                  <a:pt x="139071" y="667944"/>
                </a:lnTo>
                <a:close/>
                <a:moveTo>
                  <a:pt x="314447" y="78944"/>
                </a:moveTo>
                <a:cubicBezTo>
                  <a:pt x="337580" y="84984"/>
                  <a:pt x="321906" y="105539"/>
                  <a:pt x="303179" y="105972"/>
                </a:cubicBezTo>
                <a:cubicBezTo>
                  <a:pt x="259453" y="111873"/>
                  <a:pt x="198310" y="139936"/>
                  <a:pt x="163313" y="172157"/>
                </a:cubicBezTo>
                <a:cubicBezTo>
                  <a:pt x="128315" y="204378"/>
                  <a:pt x="112110" y="256392"/>
                  <a:pt x="103640" y="302433"/>
                </a:cubicBezTo>
                <a:cubicBezTo>
                  <a:pt x="100013" y="321990"/>
                  <a:pt x="76866" y="319702"/>
                  <a:pt x="75512" y="303024"/>
                </a:cubicBezTo>
                <a:cubicBezTo>
                  <a:pt x="74625" y="254490"/>
                  <a:pt x="102479" y="182781"/>
                  <a:pt x="140194" y="147456"/>
                </a:cubicBezTo>
                <a:cubicBezTo>
                  <a:pt x="193973" y="95726"/>
                  <a:pt x="274414" y="73778"/>
                  <a:pt x="314447" y="78944"/>
                </a:cubicBezTo>
                <a:close/>
                <a:moveTo>
                  <a:pt x="280323" y="42384"/>
                </a:moveTo>
                <a:cubicBezTo>
                  <a:pt x="148913" y="42384"/>
                  <a:pt x="42384" y="148913"/>
                  <a:pt x="42384" y="280322"/>
                </a:cubicBezTo>
                <a:cubicBezTo>
                  <a:pt x="42384" y="370667"/>
                  <a:pt x="92736" y="449251"/>
                  <a:pt x="166908" y="489543"/>
                </a:cubicBezTo>
                <a:lnTo>
                  <a:pt x="177566" y="494911"/>
                </a:lnTo>
                <a:cubicBezTo>
                  <a:pt x="177427" y="524847"/>
                  <a:pt x="177773" y="554784"/>
                  <a:pt x="177634" y="584720"/>
                </a:cubicBezTo>
                <a:lnTo>
                  <a:pt x="382925" y="584720"/>
                </a:lnTo>
                <a:cubicBezTo>
                  <a:pt x="382815" y="554784"/>
                  <a:pt x="383191" y="524847"/>
                  <a:pt x="383081" y="494911"/>
                </a:cubicBezTo>
                <a:lnTo>
                  <a:pt x="393739" y="489543"/>
                </a:lnTo>
                <a:cubicBezTo>
                  <a:pt x="467910" y="449251"/>
                  <a:pt x="518262" y="370667"/>
                  <a:pt x="518262" y="280322"/>
                </a:cubicBezTo>
                <a:cubicBezTo>
                  <a:pt x="518262" y="148913"/>
                  <a:pt x="411733" y="42384"/>
                  <a:pt x="280323" y="42384"/>
                </a:cubicBezTo>
                <a:close/>
                <a:moveTo>
                  <a:pt x="280323" y="0"/>
                </a:moveTo>
                <a:cubicBezTo>
                  <a:pt x="435142" y="0"/>
                  <a:pt x="560646" y="125505"/>
                  <a:pt x="560646" y="280322"/>
                </a:cubicBezTo>
                <a:cubicBezTo>
                  <a:pt x="560646" y="367408"/>
                  <a:pt x="520936" y="445218"/>
                  <a:pt x="458635" y="496633"/>
                </a:cubicBezTo>
                <a:lnTo>
                  <a:pt x="430147" y="516887"/>
                </a:lnTo>
                <a:cubicBezTo>
                  <a:pt x="429972" y="550358"/>
                  <a:pt x="430608" y="588348"/>
                  <a:pt x="430433" y="621818"/>
                </a:cubicBezTo>
                <a:lnTo>
                  <a:pt x="137515" y="640883"/>
                </a:lnTo>
                <a:lnTo>
                  <a:pt x="137515" y="521367"/>
                </a:lnTo>
                <a:lnTo>
                  <a:pt x="134966" y="520062"/>
                </a:lnTo>
                <a:cubicBezTo>
                  <a:pt x="54051" y="470897"/>
                  <a:pt x="0" y="381922"/>
                  <a:pt x="0" y="280322"/>
                </a:cubicBezTo>
                <a:cubicBezTo>
                  <a:pt x="0" y="125505"/>
                  <a:pt x="125506" y="0"/>
                  <a:pt x="280323" y="0"/>
                </a:cubicBezTo>
                <a:close/>
              </a:path>
            </a:pathLst>
          </a:custGeom>
          <a:solidFill>
            <a:schemeClr val="bg1"/>
          </a:solidFill>
          <a:ln w="12700" cap="flat" cmpd="sng" algn="ctr">
            <a:noFill/>
            <a:prstDash val="solid"/>
            <a:miter lim="800000"/>
          </a:ln>
          <a:effectLst/>
        </p:spPr>
        <p:txBody>
          <a:bodyPr wrap="square" rtlCol="0" anchor="ctr">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endParaRPr>
          </a:p>
        </p:txBody>
      </p:sp>
      <p:grpSp>
        <p:nvGrpSpPr>
          <p:cNvPr id="70" name="Group 69">
            <a:extLst>
              <a:ext uri="{FF2B5EF4-FFF2-40B4-BE49-F238E27FC236}">
                <a16:creationId xmlns:a16="http://schemas.microsoft.com/office/drawing/2014/main" id="{A14ACD54-1780-125A-9732-8FCB6E3F9019}"/>
              </a:ext>
            </a:extLst>
          </p:cNvPr>
          <p:cNvGrpSpPr/>
          <p:nvPr/>
        </p:nvGrpSpPr>
        <p:grpSpPr>
          <a:xfrm>
            <a:off x="3143962" y="3250938"/>
            <a:ext cx="366843" cy="287464"/>
            <a:chOff x="5355703" y="5434094"/>
            <a:chExt cx="880442" cy="689925"/>
          </a:xfrm>
          <a:solidFill>
            <a:schemeClr val="bg1"/>
          </a:solidFill>
        </p:grpSpPr>
        <p:sp>
          <p:nvSpPr>
            <p:cNvPr id="71" name="Freeform 351">
              <a:extLst>
                <a:ext uri="{FF2B5EF4-FFF2-40B4-BE49-F238E27FC236}">
                  <a16:creationId xmlns:a16="http://schemas.microsoft.com/office/drawing/2014/main" id="{658787A3-7253-9027-C616-741D8286BDAE}"/>
                </a:ext>
              </a:extLst>
            </p:cNvPr>
            <p:cNvSpPr/>
            <p:nvPr/>
          </p:nvSpPr>
          <p:spPr>
            <a:xfrm rot="15232811">
              <a:off x="5599744" y="5663099"/>
              <a:ext cx="531696" cy="128336"/>
            </a:xfrm>
            <a:custGeom>
              <a:avLst/>
              <a:gdLst>
                <a:gd name="connsiteX0" fmla="*/ 107583 w 668513"/>
                <a:gd name="connsiteY0" fmla="*/ 0 h 82369"/>
                <a:gd name="connsiteX1" fmla="*/ 560930 w 668513"/>
                <a:gd name="connsiteY1" fmla="*/ 0 h 82369"/>
                <a:gd name="connsiteX2" fmla="*/ 665935 w 668513"/>
                <a:gd name="connsiteY2" fmla="*/ 69602 h 82369"/>
                <a:gd name="connsiteX3" fmla="*/ 668513 w 668513"/>
                <a:gd name="connsiteY3" fmla="*/ 82369 h 82369"/>
                <a:gd name="connsiteX4" fmla="*/ 0 w 668513"/>
                <a:gd name="connsiteY4" fmla="*/ 82369 h 82369"/>
                <a:gd name="connsiteX5" fmla="*/ 2578 w 668513"/>
                <a:gd name="connsiteY5" fmla="*/ 69602 h 82369"/>
                <a:gd name="connsiteX6" fmla="*/ 107583 w 668513"/>
                <a:gd name="connsiteY6" fmla="*/ 0 h 82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8513" h="82369">
                  <a:moveTo>
                    <a:pt x="107583" y="0"/>
                  </a:moveTo>
                  <a:lnTo>
                    <a:pt x="560930" y="0"/>
                  </a:lnTo>
                  <a:cubicBezTo>
                    <a:pt x="608134" y="0"/>
                    <a:pt x="648635" y="28700"/>
                    <a:pt x="665935" y="69602"/>
                  </a:cubicBezTo>
                  <a:lnTo>
                    <a:pt x="668513" y="82369"/>
                  </a:lnTo>
                  <a:lnTo>
                    <a:pt x="0" y="82369"/>
                  </a:lnTo>
                  <a:lnTo>
                    <a:pt x="2578" y="69602"/>
                  </a:lnTo>
                  <a:cubicBezTo>
                    <a:pt x="19878" y="28700"/>
                    <a:pt x="60379" y="0"/>
                    <a:pt x="10758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91"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2" name="Trapezoid 71">
              <a:extLst>
                <a:ext uri="{FF2B5EF4-FFF2-40B4-BE49-F238E27FC236}">
                  <a16:creationId xmlns:a16="http://schemas.microsoft.com/office/drawing/2014/main" id="{6036E2D9-4EEA-8EEE-65D8-DE7C68989252}"/>
                </a:ext>
              </a:extLst>
            </p:cNvPr>
            <p:cNvSpPr/>
            <p:nvPr/>
          </p:nvSpPr>
          <p:spPr>
            <a:xfrm rot="15240588">
              <a:off x="5463613" y="5545268"/>
              <a:ext cx="473638" cy="467694"/>
            </a:xfrm>
            <a:prstGeom prst="trapezoid">
              <a:avLst>
                <a:gd name="adj" fmla="val 28203"/>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91"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4" name="Rounded Rectangle 353">
              <a:extLst>
                <a:ext uri="{FF2B5EF4-FFF2-40B4-BE49-F238E27FC236}">
                  <a16:creationId xmlns:a16="http://schemas.microsoft.com/office/drawing/2014/main" id="{F4584ACC-B3AD-072B-C515-703DD94E251E}"/>
                </a:ext>
              </a:extLst>
            </p:cNvPr>
            <p:cNvSpPr/>
            <p:nvPr/>
          </p:nvSpPr>
          <p:spPr>
            <a:xfrm rot="21313269">
              <a:off x="5509807" y="5860437"/>
              <a:ext cx="158517" cy="263582"/>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91"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6" name="Freeform 354">
              <a:extLst>
                <a:ext uri="{FF2B5EF4-FFF2-40B4-BE49-F238E27FC236}">
                  <a16:creationId xmlns:a16="http://schemas.microsoft.com/office/drawing/2014/main" id="{26D6C6CF-3356-C61A-BD10-6DA4F6580A16}"/>
                </a:ext>
              </a:extLst>
            </p:cNvPr>
            <p:cNvSpPr/>
            <p:nvPr/>
          </p:nvSpPr>
          <p:spPr>
            <a:xfrm rot="20621845">
              <a:off x="5355703" y="5763880"/>
              <a:ext cx="90391" cy="249056"/>
            </a:xfrm>
            <a:custGeom>
              <a:avLst/>
              <a:gdLst>
                <a:gd name="connsiteX0" fmla="*/ 141208 w 141208"/>
                <a:gd name="connsiteY0" fmla="*/ 0 h 389072"/>
                <a:gd name="connsiteX1" fmla="*/ 141208 w 141208"/>
                <a:gd name="connsiteY1" fmla="*/ 389072 h 389072"/>
                <a:gd name="connsiteX2" fmla="*/ 131282 w 141208"/>
                <a:gd name="connsiteY2" fmla="*/ 387100 h 389072"/>
                <a:gd name="connsiteX3" fmla="*/ 840 w 141208"/>
                <a:gd name="connsiteY3" fmla="*/ 177713 h 389072"/>
                <a:gd name="connsiteX4" fmla="*/ 129867 w 141208"/>
                <a:gd name="connsiteY4" fmla="*/ 2750 h 389072"/>
                <a:gd name="connsiteX5" fmla="*/ 141208 w 141208"/>
                <a:gd name="connsiteY5" fmla="*/ 0 h 3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208" h="389072">
                  <a:moveTo>
                    <a:pt x="141208" y="0"/>
                  </a:moveTo>
                  <a:lnTo>
                    <a:pt x="141208" y="389072"/>
                  </a:lnTo>
                  <a:lnTo>
                    <a:pt x="131282" y="387100"/>
                  </a:lnTo>
                  <a:cubicBezTo>
                    <a:pt x="48683" y="361046"/>
                    <a:pt x="-7621" y="274644"/>
                    <a:pt x="840" y="177713"/>
                  </a:cubicBezTo>
                  <a:cubicBezTo>
                    <a:pt x="8092" y="94630"/>
                    <a:pt x="60865" y="27408"/>
                    <a:pt x="129867" y="2750"/>
                  </a:cubicBezTo>
                  <a:lnTo>
                    <a:pt x="141208" y="0"/>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91"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7" name="Freeform 355">
              <a:extLst>
                <a:ext uri="{FF2B5EF4-FFF2-40B4-BE49-F238E27FC236}">
                  <a16:creationId xmlns:a16="http://schemas.microsoft.com/office/drawing/2014/main" id="{299ADE37-CD9D-F260-BEF2-D7F7F63450CB}"/>
                </a:ext>
              </a:extLst>
            </p:cNvPr>
            <p:cNvSpPr/>
            <p:nvPr/>
          </p:nvSpPr>
          <p:spPr>
            <a:xfrm rot="21398929">
              <a:off x="5898450" y="5434094"/>
              <a:ext cx="337695" cy="567865"/>
            </a:xfrm>
            <a:custGeom>
              <a:avLst/>
              <a:gdLst>
                <a:gd name="connsiteX0" fmla="*/ 84153 w 527543"/>
                <a:gd name="connsiteY0" fmla="*/ 0 h 887111"/>
                <a:gd name="connsiteX1" fmla="*/ 527543 w 527543"/>
                <a:gd name="connsiteY1" fmla="*/ 453659 h 887111"/>
                <a:gd name="connsiteX2" fmla="*/ 256740 w 527543"/>
                <a:gd name="connsiteY2" fmla="*/ 871667 h 887111"/>
                <a:gd name="connsiteX3" fmla="*/ 208115 w 527543"/>
                <a:gd name="connsiteY3" fmla="*/ 887111 h 887111"/>
                <a:gd name="connsiteX4" fmla="*/ 186640 w 527543"/>
                <a:gd name="connsiteY4" fmla="*/ 796468 h 887111"/>
                <a:gd name="connsiteX5" fmla="*/ 220414 w 527543"/>
                <a:gd name="connsiteY5" fmla="*/ 785676 h 887111"/>
                <a:gd name="connsiteX6" fmla="*/ 434217 w 527543"/>
                <a:gd name="connsiteY6" fmla="*/ 453659 h 887111"/>
                <a:gd name="connsiteX7" fmla="*/ 84153 w 527543"/>
                <a:gd name="connsiteY7" fmla="*/ 93325 h 887111"/>
                <a:gd name="connsiteX8" fmla="*/ 21592 w 527543"/>
                <a:gd name="connsiteY8" fmla="*/ 99817 h 887111"/>
                <a:gd name="connsiteX9" fmla="*/ 0 w 527543"/>
                <a:gd name="connsiteY9" fmla="*/ 8679 h 887111"/>
                <a:gd name="connsiteX10" fmla="*/ 84153 w 527543"/>
                <a:gd name="connsiteY10" fmla="*/ 0 h 88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7543" h="887111">
                  <a:moveTo>
                    <a:pt x="84153" y="0"/>
                  </a:moveTo>
                  <a:cubicBezTo>
                    <a:pt x="329030" y="0"/>
                    <a:pt x="527542" y="203110"/>
                    <a:pt x="527543" y="453659"/>
                  </a:cubicBezTo>
                  <a:cubicBezTo>
                    <a:pt x="527542" y="641571"/>
                    <a:pt x="415879" y="802798"/>
                    <a:pt x="256740" y="871667"/>
                  </a:cubicBezTo>
                  <a:lnTo>
                    <a:pt x="208115" y="887111"/>
                  </a:lnTo>
                  <a:lnTo>
                    <a:pt x="186640" y="796468"/>
                  </a:lnTo>
                  <a:lnTo>
                    <a:pt x="220414" y="785676"/>
                  </a:lnTo>
                  <a:cubicBezTo>
                    <a:pt x="346057" y="730974"/>
                    <a:pt x="434217" y="602914"/>
                    <a:pt x="434217" y="453659"/>
                  </a:cubicBezTo>
                  <a:cubicBezTo>
                    <a:pt x="434217" y="254652"/>
                    <a:pt x="277488" y="93325"/>
                    <a:pt x="84153" y="93325"/>
                  </a:cubicBezTo>
                  <a:lnTo>
                    <a:pt x="21592" y="99817"/>
                  </a:lnTo>
                  <a:lnTo>
                    <a:pt x="0" y="8679"/>
                  </a:lnTo>
                  <a:lnTo>
                    <a:pt x="8415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91"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8" name="Freeform 356">
              <a:extLst>
                <a:ext uri="{FF2B5EF4-FFF2-40B4-BE49-F238E27FC236}">
                  <a16:creationId xmlns:a16="http://schemas.microsoft.com/office/drawing/2014/main" id="{90D155B6-E31A-7300-78BA-0B0475AD3451}"/>
                </a:ext>
              </a:extLst>
            </p:cNvPr>
            <p:cNvSpPr/>
            <p:nvPr/>
          </p:nvSpPr>
          <p:spPr>
            <a:xfrm rot="21398929">
              <a:off x="5930693" y="5550530"/>
              <a:ext cx="193220" cy="324916"/>
            </a:xfrm>
            <a:custGeom>
              <a:avLst/>
              <a:gdLst>
                <a:gd name="connsiteX0" fmla="*/ 84153 w 527543"/>
                <a:gd name="connsiteY0" fmla="*/ 0 h 887111"/>
                <a:gd name="connsiteX1" fmla="*/ 527543 w 527543"/>
                <a:gd name="connsiteY1" fmla="*/ 453659 h 887111"/>
                <a:gd name="connsiteX2" fmla="*/ 256740 w 527543"/>
                <a:gd name="connsiteY2" fmla="*/ 871667 h 887111"/>
                <a:gd name="connsiteX3" fmla="*/ 208115 w 527543"/>
                <a:gd name="connsiteY3" fmla="*/ 887111 h 887111"/>
                <a:gd name="connsiteX4" fmla="*/ 186640 w 527543"/>
                <a:gd name="connsiteY4" fmla="*/ 796468 h 887111"/>
                <a:gd name="connsiteX5" fmla="*/ 220414 w 527543"/>
                <a:gd name="connsiteY5" fmla="*/ 785676 h 887111"/>
                <a:gd name="connsiteX6" fmla="*/ 434217 w 527543"/>
                <a:gd name="connsiteY6" fmla="*/ 453659 h 887111"/>
                <a:gd name="connsiteX7" fmla="*/ 84153 w 527543"/>
                <a:gd name="connsiteY7" fmla="*/ 93325 h 887111"/>
                <a:gd name="connsiteX8" fmla="*/ 21592 w 527543"/>
                <a:gd name="connsiteY8" fmla="*/ 99817 h 887111"/>
                <a:gd name="connsiteX9" fmla="*/ 0 w 527543"/>
                <a:gd name="connsiteY9" fmla="*/ 8679 h 887111"/>
                <a:gd name="connsiteX10" fmla="*/ 84153 w 527543"/>
                <a:gd name="connsiteY10" fmla="*/ 0 h 88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7543" h="887111">
                  <a:moveTo>
                    <a:pt x="84153" y="0"/>
                  </a:moveTo>
                  <a:cubicBezTo>
                    <a:pt x="329030" y="0"/>
                    <a:pt x="527542" y="203110"/>
                    <a:pt x="527543" y="453659"/>
                  </a:cubicBezTo>
                  <a:cubicBezTo>
                    <a:pt x="527542" y="641571"/>
                    <a:pt x="415879" y="802798"/>
                    <a:pt x="256740" y="871667"/>
                  </a:cubicBezTo>
                  <a:lnTo>
                    <a:pt x="208115" y="887111"/>
                  </a:lnTo>
                  <a:lnTo>
                    <a:pt x="186640" y="796468"/>
                  </a:lnTo>
                  <a:lnTo>
                    <a:pt x="220414" y="785676"/>
                  </a:lnTo>
                  <a:cubicBezTo>
                    <a:pt x="346057" y="730974"/>
                    <a:pt x="434217" y="602914"/>
                    <a:pt x="434217" y="453659"/>
                  </a:cubicBezTo>
                  <a:cubicBezTo>
                    <a:pt x="434217" y="254652"/>
                    <a:pt x="277488" y="93325"/>
                    <a:pt x="84153" y="93325"/>
                  </a:cubicBezTo>
                  <a:lnTo>
                    <a:pt x="21592" y="99817"/>
                  </a:lnTo>
                  <a:lnTo>
                    <a:pt x="0" y="8679"/>
                  </a:lnTo>
                  <a:lnTo>
                    <a:pt x="8415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91"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9" name="Freeform 357">
              <a:extLst>
                <a:ext uri="{FF2B5EF4-FFF2-40B4-BE49-F238E27FC236}">
                  <a16:creationId xmlns:a16="http://schemas.microsoft.com/office/drawing/2014/main" id="{323B7F6F-ED22-B2AB-F751-73782065827D}"/>
                </a:ext>
              </a:extLst>
            </p:cNvPr>
            <p:cNvSpPr/>
            <p:nvPr/>
          </p:nvSpPr>
          <p:spPr>
            <a:xfrm rot="21398929">
              <a:off x="5958262" y="5658340"/>
              <a:ext cx="77290" cy="129970"/>
            </a:xfrm>
            <a:custGeom>
              <a:avLst/>
              <a:gdLst>
                <a:gd name="connsiteX0" fmla="*/ 84153 w 527543"/>
                <a:gd name="connsiteY0" fmla="*/ 0 h 887111"/>
                <a:gd name="connsiteX1" fmla="*/ 527543 w 527543"/>
                <a:gd name="connsiteY1" fmla="*/ 453659 h 887111"/>
                <a:gd name="connsiteX2" fmla="*/ 256740 w 527543"/>
                <a:gd name="connsiteY2" fmla="*/ 871667 h 887111"/>
                <a:gd name="connsiteX3" fmla="*/ 208115 w 527543"/>
                <a:gd name="connsiteY3" fmla="*/ 887111 h 887111"/>
                <a:gd name="connsiteX4" fmla="*/ 186640 w 527543"/>
                <a:gd name="connsiteY4" fmla="*/ 796468 h 887111"/>
                <a:gd name="connsiteX5" fmla="*/ 220414 w 527543"/>
                <a:gd name="connsiteY5" fmla="*/ 785676 h 887111"/>
                <a:gd name="connsiteX6" fmla="*/ 434217 w 527543"/>
                <a:gd name="connsiteY6" fmla="*/ 453659 h 887111"/>
                <a:gd name="connsiteX7" fmla="*/ 84153 w 527543"/>
                <a:gd name="connsiteY7" fmla="*/ 93325 h 887111"/>
                <a:gd name="connsiteX8" fmla="*/ 21592 w 527543"/>
                <a:gd name="connsiteY8" fmla="*/ 99817 h 887111"/>
                <a:gd name="connsiteX9" fmla="*/ 0 w 527543"/>
                <a:gd name="connsiteY9" fmla="*/ 8679 h 887111"/>
                <a:gd name="connsiteX10" fmla="*/ 84153 w 527543"/>
                <a:gd name="connsiteY10" fmla="*/ 0 h 88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7543" h="887111">
                  <a:moveTo>
                    <a:pt x="84153" y="0"/>
                  </a:moveTo>
                  <a:cubicBezTo>
                    <a:pt x="329030" y="0"/>
                    <a:pt x="527542" y="203110"/>
                    <a:pt x="527543" y="453659"/>
                  </a:cubicBezTo>
                  <a:cubicBezTo>
                    <a:pt x="527542" y="641571"/>
                    <a:pt x="415879" y="802798"/>
                    <a:pt x="256740" y="871667"/>
                  </a:cubicBezTo>
                  <a:lnTo>
                    <a:pt x="208115" y="887111"/>
                  </a:lnTo>
                  <a:lnTo>
                    <a:pt x="186640" y="796468"/>
                  </a:lnTo>
                  <a:lnTo>
                    <a:pt x="220414" y="785676"/>
                  </a:lnTo>
                  <a:cubicBezTo>
                    <a:pt x="346057" y="730974"/>
                    <a:pt x="434217" y="602914"/>
                    <a:pt x="434217" y="453659"/>
                  </a:cubicBezTo>
                  <a:cubicBezTo>
                    <a:pt x="434217" y="254652"/>
                    <a:pt x="277488" y="93325"/>
                    <a:pt x="84153" y="93325"/>
                  </a:cubicBezTo>
                  <a:lnTo>
                    <a:pt x="21592" y="99817"/>
                  </a:lnTo>
                  <a:lnTo>
                    <a:pt x="0" y="8679"/>
                  </a:lnTo>
                  <a:lnTo>
                    <a:pt x="8415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91" b="0" i="0" u="none" strike="noStrike" kern="1200" cap="none" spc="0" normalizeH="0" baseline="0" noProof="0">
                <a:ln>
                  <a:noFill/>
                </a:ln>
                <a:solidFill>
                  <a:srgbClr val="002060"/>
                </a:solidFill>
                <a:effectLst/>
                <a:uLnTx/>
                <a:uFillTx/>
                <a:latin typeface="Arial" panose="020B0604020202020204"/>
                <a:ea typeface="+mn-ea"/>
                <a:cs typeface="+mn-cs"/>
              </a:endParaRPr>
            </a:p>
          </p:txBody>
        </p:sp>
      </p:grpSp>
      <p:sp>
        <p:nvSpPr>
          <p:cNvPr id="80" name="Freeform 108">
            <a:extLst>
              <a:ext uri="{FF2B5EF4-FFF2-40B4-BE49-F238E27FC236}">
                <a16:creationId xmlns:a16="http://schemas.microsoft.com/office/drawing/2014/main" id="{718BF078-ADC1-8B46-D7AE-99EECA28D28A}"/>
              </a:ext>
            </a:extLst>
          </p:cNvPr>
          <p:cNvSpPr>
            <a:spLocks noEditPoints="1"/>
          </p:cNvSpPr>
          <p:nvPr/>
        </p:nvSpPr>
        <p:spPr bwMode="auto">
          <a:xfrm>
            <a:off x="3873045" y="1385178"/>
            <a:ext cx="399731" cy="400447"/>
          </a:xfrm>
          <a:custGeom>
            <a:avLst/>
            <a:gdLst>
              <a:gd name="T0" fmla="*/ 215 w 557"/>
              <a:gd name="T1" fmla="*/ 124 h 558"/>
              <a:gd name="T2" fmla="*/ 144 w 557"/>
              <a:gd name="T3" fmla="*/ 183 h 558"/>
              <a:gd name="T4" fmla="*/ 116 w 557"/>
              <a:gd name="T5" fmla="*/ 273 h 558"/>
              <a:gd name="T6" fmla="*/ 144 w 557"/>
              <a:gd name="T7" fmla="*/ 363 h 558"/>
              <a:gd name="T8" fmla="*/ 215 w 557"/>
              <a:gd name="T9" fmla="*/ 423 h 558"/>
              <a:gd name="T10" fmla="*/ 311 w 557"/>
              <a:gd name="T11" fmla="*/ 432 h 558"/>
              <a:gd name="T12" fmla="*/ 393 w 557"/>
              <a:gd name="T13" fmla="*/ 388 h 558"/>
              <a:gd name="T14" fmla="*/ 438 w 557"/>
              <a:gd name="T15" fmla="*/ 305 h 558"/>
              <a:gd name="T16" fmla="*/ 429 w 557"/>
              <a:gd name="T17" fmla="*/ 210 h 558"/>
              <a:gd name="T18" fmla="*/ 369 w 557"/>
              <a:gd name="T19" fmla="*/ 138 h 558"/>
              <a:gd name="T20" fmla="*/ 279 w 557"/>
              <a:gd name="T21" fmla="*/ 111 h 558"/>
              <a:gd name="T22" fmla="*/ 261 w 557"/>
              <a:gd name="T23" fmla="*/ 6 h 558"/>
              <a:gd name="T24" fmla="*/ 291 w 557"/>
              <a:gd name="T25" fmla="*/ 53 h 558"/>
              <a:gd name="T26" fmla="*/ 309 w 557"/>
              <a:gd name="T27" fmla="*/ 63 h 558"/>
              <a:gd name="T28" fmla="*/ 329 w 557"/>
              <a:gd name="T29" fmla="*/ 55 h 558"/>
              <a:gd name="T30" fmla="*/ 380 w 557"/>
              <a:gd name="T31" fmla="*/ 17 h 558"/>
              <a:gd name="T32" fmla="*/ 454 w 557"/>
              <a:gd name="T33" fmla="*/ 60 h 558"/>
              <a:gd name="T34" fmla="*/ 457 w 557"/>
              <a:gd name="T35" fmla="*/ 86 h 558"/>
              <a:gd name="T36" fmla="*/ 446 w 557"/>
              <a:gd name="T37" fmla="*/ 133 h 558"/>
              <a:gd name="T38" fmla="*/ 461 w 557"/>
              <a:gd name="T39" fmla="*/ 153 h 558"/>
              <a:gd name="T40" fmla="*/ 512 w 557"/>
              <a:gd name="T41" fmla="*/ 159 h 558"/>
              <a:gd name="T42" fmla="*/ 536 w 557"/>
              <a:gd name="T43" fmla="*/ 167 h 558"/>
              <a:gd name="T44" fmla="*/ 557 w 557"/>
              <a:gd name="T45" fmla="*/ 252 h 558"/>
              <a:gd name="T46" fmla="*/ 509 w 557"/>
              <a:gd name="T47" fmla="*/ 287 h 558"/>
              <a:gd name="T48" fmla="*/ 497 w 557"/>
              <a:gd name="T49" fmla="*/ 297 h 558"/>
              <a:gd name="T50" fmla="*/ 501 w 557"/>
              <a:gd name="T51" fmla="*/ 328 h 558"/>
              <a:gd name="T52" fmla="*/ 536 w 557"/>
              <a:gd name="T53" fmla="*/ 369 h 558"/>
              <a:gd name="T54" fmla="*/ 503 w 557"/>
              <a:gd name="T55" fmla="*/ 448 h 558"/>
              <a:gd name="T56" fmla="*/ 480 w 557"/>
              <a:gd name="T57" fmla="*/ 458 h 558"/>
              <a:gd name="T58" fmla="*/ 429 w 557"/>
              <a:gd name="T59" fmla="*/ 447 h 558"/>
              <a:gd name="T60" fmla="*/ 410 w 557"/>
              <a:gd name="T61" fmla="*/ 452 h 558"/>
              <a:gd name="T62" fmla="*/ 400 w 557"/>
              <a:gd name="T63" fmla="*/ 471 h 558"/>
              <a:gd name="T64" fmla="*/ 395 w 557"/>
              <a:gd name="T65" fmla="*/ 529 h 558"/>
              <a:gd name="T66" fmla="*/ 317 w 557"/>
              <a:gd name="T67" fmla="*/ 558 h 558"/>
              <a:gd name="T68" fmla="*/ 288 w 557"/>
              <a:gd name="T69" fmla="*/ 540 h 558"/>
              <a:gd name="T70" fmla="*/ 263 w 557"/>
              <a:gd name="T71" fmla="*/ 501 h 558"/>
              <a:gd name="T72" fmla="*/ 237 w 557"/>
              <a:gd name="T73" fmla="*/ 496 h 558"/>
              <a:gd name="T74" fmla="*/ 198 w 557"/>
              <a:gd name="T75" fmla="*/ 528 h 558"/>
              <a:gd name="T76" fmla="*/ 167 w 557"/>
              <a:gd name="T77" fmla="*/ 536 h 558"/>
              <a:gd name="T78" fmla="*/ 100 w 557"/>
              <a:gd name="T79" fmla="*/ 489 h 558"/>
              <a:gd name="T80" fmla="*/ 109 w 557"/>
              <a:gd name="T81" fmla="*/ 436 h 558"/>
              <a:gd name="T82" fmla="*/ 109 w 557"/>
              <a:gd name="T83" fmla="*/ 420 h 558"/>
              <a:gd name="T84" fmla="*/ 85 w 557"/>
              <a:gd name="T85" fmla="*/ 400 h 558"/>
              <a:gd name="T86" fmla="*/ 35 w 557"/>
              <a:gd name="T87" fmla="*/ 397 h 558"/>
              <a:gd name="T88" fmla="*/ 16 w 557"/>
              <a:gd name="T89" fmla="*/ 382 h 558"/>
              <a:gd name="T90" fmla="*/ 6 w 557"/>
              <a:gd name="T91" fmla="*/ 296 h 558"/>
              <a:gd name="T92" fmla="*/ 52 w 557"/>
              <a:gd name="T93" fmla="*/ 265 h 558"/>
              <a:gd name="T94" fmla="*/ 62 w 557"/>
              <a:gd name="T95" fmla="*/ 248 h 558"/>
              <a:gd name="T96" fmla="*/ 55 w 557"/>
              <a:gd name="T97" fmla="*/ 227 h 558"/>
              <a:gd name="T98" fmla="*/ 17 w 557"/>
              <a:gd name="T99" fmla="*/ 177 h 558"/>
              <a:gd name="T100" fmla="*/ 60 w 557"/>
              <a:gd name="T101" fmla="*/ 102 h 558"/>
              <a:gd name="T102" fmla="*/ 85 w 557"/>
              <a:gd name="T103" fmla="*/ 101 h 558"/>
              <a:gd name="T104" fmla="*/ 132 w 557"/>
              <a:gd name="T105" fmla="*/ 110 h 558"/>
              <a:gd name="T106" fmla="*/ 153 w 557"/>
              <a:gd name="T107" fmla="*/ 95 h 558"/>
              <a:gd name="T108" fmla="*/ 159 w 557"/>
              <a:gd name="T109" fmla="*/ 45 h 558"/>
              <a:gd name="T110" fmla="*/ 167 w 557"/>
              <a:gd name="T111" fmla="*/ 2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7" h="558">
                <a:moveTo>
                  <a:pt x="279" y="111"/>
                </a:moveTo>
                <a:lnTo>
                  <a:pt x="246" y="114"/>
                </a:lnTo>
                <a:lnTo>
                  <a:pt x="215" y="124"/>
                </a:lnTo>
                <a:lnTo>
                  <a:pt x="189" y="138"/>
                </a:lnTo>
                <a:lnTo>
                  <a:pt x="164" y="159"/>
                </a:lnTo>
                <a:lnTo>
                  <a:pt x="144" y="183"/>
                </a:lnTo>
                <a:lnTo>
                  <a:pt x="129" y="210"/>
                </a:lnTo>
                <a:lnTo>
                  <a:pt x="120" y="241"/>
                </a:lnTo>
                <a:lnTo>
                  <a:pt x="116" y="273"/>
                </a:lnTo>
                <a:lnTo>
                  <a:pt x="120" y="305"/>
                </a:lnTo>
                <a:lnTo>
                  <a:pt x="129" y="336"/>
                </a:lnTo>
                <a:lnTo>
                  <a:pt x="144" y="363"/>
                </a:lnTo>
                <a:lnTo>
                  <a:pt x="164" y="388"/>
                </a:lnTo>
                <a:lnTo>
                  <a:pt x="189" y="408"/>
                </a:lnTo>
                <a:lnTo>
                  <a:pt x="215" y="423"/>
                </a:lnTo>
                <a:lnTo>
                  <a:pt x="246" y="432"/>
                </a:lnTo>
                <a:lnTo>
                  <a:pt x="279" y="436"/>
                </a:lnTo>
                <a:lnTo>
                  <a:pt x="311" y="432"/>
                </a:lnTo>
                <a:lnTo>
                  <a:pt x="342" y="423"/>
                </a:lnTo>
                <a:lnTo>
                  <a:pt x="369" y="408"/>
                </a:lnTo>
                <a:lnTo>
                  <a:pt x="393" y="388"/>
                </a:lnTo>
                <a:lnTo>
                  <a:pt x="414" y="363"/>
                </a:lnTo>
                <a:lnTo>
                  <a:pt x="429" y="336"/>
                </a:lnTo>
                <a:lnTo>
                  <a:pt x="438" y="305"/>
                </a:lnTo>
                <a:lnTo>
                  <a:pt x="441" y="273"/>
                </a:lnTo>
                <a:lnTo>
                  <a:pt x="438" y="241"/>
                </a:lnTo>
                <a:lnTo>
                  <a:pt x="429" y="210"/>
                </a:lnTo>
                <a:lnTo>
                  <a:pt x="414" y="183"/>
                </a:lnTo>
                <a:lnTo>
                  <a:pt x="393" y="159"/>
                </a:lnTo>
                <a:lnTo>
                  <a:pt x="369" y="138"/>
                </a:lnTo>
                <a:lnTo>
                  <a:pt x="342" y="124"/>
                </a:lnTo>
                <a:lnTo>
                  <a:pt x="311" y="114"/>
                </a:lnTo>
                <a:lnTo>
                  <a:pt x="279" y="111"/>
                </a:lnTo>
                <a:close/>
                <a:moveTo>
                  <a:pt x="240" y="0"/>
                </a:moveTo>
                <a:lnTo>
                  <a:pt x="251" y="0"/>
                </a:lnTo>
                <a:lnTo>
                  <a:pt x="261" y="6"/>
                </a:lnTo>
                <a:lnTo>
                  <a:pt x="268" y="16"/>
                </a:lnTo>
                <a:lnTo>
                  <a:pt x="287" y="47"/>
                </a:lnTo>
                <a:lnTo>
                  <a:pt x="291" y="53"/>
                </a:lnTo>
                <a:lnTo>
                  <a:pt x="294" y="56"/>
                </a:lnTo>
                <a:lnTo>
                  <a:pt x="298" y="59"/>
                </a:lnTo>
                <a:lnTo>
                  <a:pt x="309" y="63"/>
                </a:lnTo>
                <a:lnTo>
                  <a:pt x="319" y="62"/>
                </a:lnTo>
                <a:lnTo>
                  <a:pt x="329" y="56"/>
                </a:lnTo>
                <a:lnTo>
                  <a:pt x="329" y="55"/>
                </a:lnTo>
                <a:lnTo>
                  <a:pt x="358" y="28"/>
                </a:lnTo>
                <a:lnTo>
                  <a:pt x="369" y="21"/>
                </a:lnTo>
                <a:lnTo>
                  <a:pt x="380" y="17"/>
                </a:lnTo>
                <a:lnTo>
                  <a:pt x="391" y="20"/>
                </a:lnTo>
                <a:lnTo>
                  <a:pt x="449" y="53"/>
                </a:lnTo>
                <a:lnTo>
                  <a:pt x="454" y="60"/>
                </a:lnTo>
                <a:lnTo>
                  <a:pt x="458" y="68"/>
                </a:lnTo>
                <a:lnTo>
                  <a:pt x="458" y="76"/>
                </a:lnTo>
                <a:lnTo>
                  <a:pt x="457" y="86"/>
                </a:lnTo>
                <a:lnTo>
                  <a:pt x="449" y="121"/>
                </a:lnTo>
                <a:lnTo>
                  <a:pt x="446" y="128"/>
                </a:lnTo>
                <a:lnTo>
                  <a:pt x="446" y="133"/>
                </a:lnTo>
                <a:lnTo>
                  <a:pt x="447" y="137"/>
                </a:lnTo>
                <a:lnTo>
                  <a:pt x="453" y="146"/>
                </a:lnTo>
                <a:lnTo>
                  <a:pt x="461" y="153"/>
                </a:lnTo>
                <a:lnTo>
                  <a:pt x="472" y="157"/>
                </a:lnTo>
                <a:lnTo>
                  <a:pt x="472" y="157"/>
                </a:lnTo>
                <a:lnTo>
                  <a:pt x="512" y="159"/>
                </a:lnTo>
                <a:lnTo>
                  <a:pt x="522" y="160"/>
                </a:lnTo>
                <a:lnTo>
                  <a:pt x="530" y="163"/>
                </a:lnTo>
                <a:lnTo>
                  <a:pt x="536" y="167"/>
                </a:lnTo>
                <a:lnTo>
                  <a:pt x="540" y="175"/>
                </a:lnTo>
                <a:lnTo>
                  <a:pt x="557" y="239"/>
                </a:lnTo>
                <a:lnTo>
                  <a:pt x="557" y="252"/>
                </a:lnTo>
                <a:lnTo>
                  <a:pt x="550" y="261"/>
                </a:lnTo>
                <a:lnTo>
                  <a:pt x="540" y="268"/>
                </a:lnTo>
                <a:lnTo>
                  <a:pt x="509" y="287"/>
                </a:lnTo>
                <a:lnTo>
                  <a:pt x="504" y="291"/>
                </a:lnTo>
                <a:lnTo>
                  <a:pt x="500" y="295"/>
                </a:lnTo>
                <a:lnTo>
                  <a:pt x="497" y="297"/>
                </a:lnTo>
                <a:lnTo>
                  <a:pt x="495" y="308"/>
                </a:lnTo>
                <a:lnTo>
                  <a:pt x="496" y="319"/>
                </a:lnTo>
                <a:lnTo>
                  <a:pt x="501" y="328"/>
                </a:lnTo>
                <a:lnTo>
                  <a:pt x="501" y="328"/>
                </a:lnTo>
                <a:lnTo>
                  <a:pt x="528" y="358"/>
                </a:lnTo>
                <a:lnTo>
                  <a:pt x="536" y="369"/>
                </a:lnTo>
                <a:lnTo>
                  <a:pt x="539" y="380"/>
                </a:lnTo>
                <a:lnTo>
                  <a:pt x="536" y="390"/>
                </a:lnTo>
                <a:lnTo>
                  <a:pt x="503" y="448"/>
                </a:lnTo>
                <a:lnTo>
                  <a:pt x="497" y="455"/>
                </a:lnTo>
                <a:lnTo>
                  <a:pt x="489" y="458"/>
                </a:lnTo>
                <a:lnTo>
                  <a:pt x="480" y="458"/>
                </a:lnTo>
                <a:lnTo>
                  <a:pt x="472" y="456"/>
                </a:lnTo>
                <a:lnTo>
                  <a:pt x="435" y="448"/>
                </a:lnTo>
                <a:lnTo>
                  <a:pt x="429" y="447"/>
                </a:lnTo>
                <a:lnTo>
                  <a:pt x="424" y="447"/>
                </a:lnTo>
                <a:lnTo>
                  <a:pt x="420" y="447"/>
                </a:lnTo>
                <a:lnTo>
                  <a:pt x="410" y="452"/>
                </a:lnTo>
                <a:lnTo>
                  <a:pt x="403" y="460"/>
                </a:lnTo>
                <a:lnTo>
                  <a:pt x="400" y="471"/>
                </a:lnTo>
                <a:lnTo>
                  <a:pt x="400" y="471"/>
                </a:lnTo>
                <a:lnTo>
                  <a:pt x="399" y="512"/>
                </a:lnTo>
                <a:lnTo>
                  <a:pt x="398" y="521"/>
                </a:lnTo>
                <a:lnTo>
                  <a:pt x="395" y="529"/>
                </a:lnTo>
                <a:lnTo>
                  <a:pt x="389" y="536"/>
                </a:lnTo>
                <a:lnTo>
                  <a:pt x="381" y="540"/>
                </a:lnTo>
                <a:lnTo>
                  <a:pt x="317" y="558"/>
                </a:lnTo>
                <a:lnTo>
                  <a:pt x="306" y="556"/>
                </a:lnTo>
                <a:lnTo>
                  <a:pt x="296" y="551"/>
                </a:lnTo>
                <a:lnTo>
                  <a:pt x="288" y="540"/>
                </a:lnTo>
                <a:lnTo>
                  <a:pt x="269" y="510"/>
                </a:lnTo>
                <a:lnTo>
                  <a:pt x="265" y="504"/>
                </a:lnTo>
                <a:lnTo>
                  <a:pt x="263" y="501"/>
                </a:lnTo>
                <a:lnTo>
                  <a:pt x="259" y="498"/>
                </a:lnTo>
                <a:lnTo>
                  <a:pt x="248" y="494"/>
                </a:lnTo>
                <a:lnTo>
                  <a:pt x="237" y="496"/>
                </a:lnTo>
                <a:lnTo>
                  <a:pt x="228" y="501"/>
                </a:lnTo>
                <a:lnTo>
                  <a:pt x="228" y="501"/>
                </a:lnTo>
                <a:lnTo>
                  <a:pt x="198" y="528"/>
                </a:lnTo>
                <a:lnTo>
                  <a:pt x="187" y="536"/>
                </a:lnTo>
                <a:lnTo>
                  <a:pt x="178" y="539"/>
                </a:lnTo>
                <a:lnTo>
                  <a:pt x="167" y="536"/>
                </a:lnTo>
                <a:lnTo>
                  <a:pt x="109" y="502"/>
                </a:lnTo>
                <a:lnTo>
                  <a:pt x="102" y="497"/>
                </a:lnTo>
                <a:lnTo>
                  <a:pt x="100" y="489"/>
                </a:lnTo>
                <a:lnTo>
                  <a:pt x="98" y="479"/>
                </a:lnTo>
                <a:lnTo>
                  <a:pt x="101" y="471"/>
                </a:lnTo>
                <a:lnTo>
                  <a:pt x="109" y="436"/>
                </a:lnTo>
                <a:lnTo>
                  <a:pt x="110" y="428"/>
                </a:lnTo>
                <a:lnTo>
                  <a:pt x="110" y="424"/>
                </a:lnTo>
                <a:lnTo>
                  <a:pt x="109" y="420"/>
                </a:lnTo>
                <a:lnTo>
                  <a:pt x="104" y="409"/>
                </a:lnTo>
                <a:lnTo>
                  <a:pt x="95" y="403"/>
                </a:lnTo>
                <a:lnTo>
                  <a:pt x="85" y="400"/>
                </a:lnTo>
                <a:lnTo>
                  <a:pt x="85" y="400"/>
                </a:lnTo>
                <a:lnTo>
                  <a:pt x="44" y="398"/>
                </a:lnTo>
                <a:lnTo>
                  <a:pt x="35" y="397"/>
                </a:lnTo>
                <a:lnTo>
                  <a:pt x="27" y="394"/>
                </a:lnTo>
                <a:lnTo>
                  <a:pt x="20" y="389"/>
                </a:lnTo>
                <a:lnTo>
                  <a:pt x="16" y="382"/>
                </a:lnTo>
                <a:lnTo>
                  <a:pt x="0" y="318"/>
                </a:lnTo>
                <a:lnTo>
                  <a:pt x="0" y="305"/>
                </a:lnTo>
                <a:lnTo>
                  <a:pt x="6" y="296"/>
                </a:lnTo>
                <a:lnTo>
                  <a:pt x="16" y="289"/>
                </a:lnTo>
                <a:lnTo>
                  <a:pt x="47" y="269"/>
                </a:lnTo>
                <a:lnTo>
                  <a:pt x="52" y="265"/>
                </a:lnTo>
                <a:lnTo>
                  <a:pt x="56" y="262"/>
                </a:lnTo>
                <a:lnTo>
                  <a:pt x="59" y="258"/>
                </a:lnTo>
                <a:lnTo>
                  <a:pt x="62" y="248"/>
                </a:lnTo>
                <a:lnTo>
                  <a:pt x="60" y="237"/>
                </a:lnTo>
                <a:lnTo>
                  <a:pt x="55" y="227"/>
                </a:lnTo>
                <a:lnTo>
                  <a:pt x="55" y="227"/>
                </a:lnTo>
                <a:lnTo>
                  <a:pt x="28" y="198"/>
                </a:lnTo>
                <a:lnTo>
                  <a:pt x="21" y="188"/>
                </a:lnTo>
                <a:lnTo>
                  <a:pt x="17" y="177"/>
                </a:lnTo>
                <a:lnTo>
                  <a:pt x="20" y="167"/>
                </a:lnTo>
                <a:lnTo>
                  <a:pt x="54" y="109"/>
                </a:lnTo>
                <a:lnTo>
                  <a:pt x="60" y="102"/>
                </a:lnTo>
                <a:lnTo>
                  <a:pt x="67" y="99"/>
                </a:lnTo>
                <a:lnTo>
                  <a:pt x="77" y="99"/>
                </a:lnTo>
                <a:lnTo>
                  <a:pt x="85" y="101"/>
                </a:lnTo>
                <a:lnTo>
                  <a:pt x="121" y="109"/>
                </a:lnTo>
                <a:lnTo>
                  <a:pt x="128" y="110"/>
                </a:lnTo>
                <a:lnTo>
                  <a:pt x="132" y="110"/>
                </a:lnTo>
                <a:lnTo>
                  <a:pt x="137" y="109"/>
                </a:lnTo>
                <a:lnTo>
                  <a:pt x="147" y="105"/>
                </a:lnTo>
                <a:lnTo>
                  <a:pt x="153" y="95"/>
                </a:lnTo>
                <a:lnTo>
                  <a:pt x="156" y="86"/>
                </a:lnTo>
                <a:lnTo>
                  <a:pt x="156" y="84"/>
                </a:lnTo>
                <a:lnTo>
                  <a:pt x="159" y="45"/>
                </a:lnTo>
                <a:lnTo>
                  <a:pt x="159" y="35"/>
                </a:lnTo>
                <a:lnTo>
                  <a:pt x="162" y="26"/>
                </a:lnTo>
                <a:lnTo>
                  <a:pt x="167" y="21"/>
                </a:lnTo>
                <a:lnTo>
                  <a:pt x="175" y="17"/>
                </a:lnTo>
                <a:lnTo>
                  <a:pt x="240"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endParaRPr>
          </a:p>
        </p:txBody>
      </p:sp>
      <p:pic>
        <p:nvPicPr>
          <p:cNvPr id="81" name="Graphic 80" descr="Workflow with solid fill">
            <a:extLst>
              <a:ext uri="{FF2B5EF4-FFF2-40B4-BE49-F238E27FC236}">
                <a16:creationId xmlns:a16="http://schemas.microsoft.com/office/drawing/2014/main" id="{81703ACE-DB88-F2BF-1C12-EB6147847E3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51705" y="3886167"/>
            <a:ext cx="461265" cy="461265"/>
          </a:xfrm>
          <a:prstGeom prst="rect">
            <a:avLst/>
          </a:prstGeom>
        </p:spPr>
      </p:pic>
      <p:sp>
        <p:nvSpPr>
          <p:cNvPr id="82" name="TextBox 81">
            <a:extLst>
              <a:ext uri="{FF2B5EF4-FFF2-40B4-BE49-F238E27FC236}">
                <a16:creationId xmlns:a16="http://schemas.microsoft.com/office/drawing/2014/main" id="{EAAF8F65-9742-4752-2C82-900587E3068F}"/>
              </a:ext>
            </a:extLst>
          </p:cNvPr>
          <p:cNvSpPr txBox="1"/>
          <p:nvPr/>
        </p:nvSpPr>
        <p:spPr>
          <a:xfrm>
            <a:off x="4887911" y="1254247"/>
            <a:ext cx="437940" cy="636456"/>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3536" b="1" i="0" u="none" strike="noStrike" kern="1200" cap="none" spc="0" normalizeH="0" baseline="0" noProof="0">
                <a:ln>
                  <a:noFill/>
                </a:ln>
                <a:solidFill>
                  <a:srgbClr val="FFFFFF"/>
                </a:solidFill>
                <a:effectLst/>
                <a:uLnTx/>
                <a:uFillTx/>
                <a:latin typeface="Century Gothic" panose="020B0502020202020204" pitchFamily="34" charset="0"/>
                <a:ea typeface="ＭＳ Ｐゴシック" charset="0"/>
              </a:rPr>
              <a:t>?</a:t>
            </a:r>
          </a:p>
        </p:txBody>
      </p:sp>
      <p:sp>
        <p:nvSpPr>
          <p:cNvPr id="83" name="Freeform 1236">
            <a:extLst>
              <a:ext uri="{FF2B5EF4-FFF2-40B4-BE49-F238E27FC236}">
                <a16:creationId xmlns:a16="http://schemas.microsoft.com/office/drawing/2014/main" id="{B2BA8B82-41C9-5B8C-0AC4-1D1E9335C1AF}"/>
              </a:ext>
            </a:extLst>
          </p:cNvPr>
          <p:cNvSpPr/>
          <p:nvPr/>
        </p:nvSpPr>
        <p:spPr>
          <a:xfrm>
            <a:off x="5677368" y="3243050"/>
            <a:ext cx="414729" cy="414729"/>
          </a:xfrm>
          <a:custGeom>
            <a:avLst/>
            <a:gdLst>
              <a:gd name="connsiteX0" fmla="*/ 1030221 w 2060444"/>
              <a:gd name="connsiteY0" fmla="*/ 177464 h 2060444"/>
              <a:gd name="connsiteX1" fmla="*/ 177464 w 2060444"/>
              <a:gd name="connsiteY1" fmla="*/ 1030221 h 2060444"/>
              <a:gd name="connsiteX2" fmla="*/ 1030221 w 2060444"/>
              <a:gd name="connsiteY2" fmla="*/ 1882978 h 2060444"/>
              <a:gd name="connsiteX3" fmla="*/ 1882978 w 2060444"/>
              <a:gd name="connsiteY3" fmla="*/ 1030221 h 2060444"/>
              <a:gd name="connsiteX4" fmla="*/ 1030221 w 2060444"/>
              <a:gd name="connsiteY4" fmla="*/ 177464 h 2060444"/>
              <a:gd name="connsiteX5" fmla="*/ 1030222 w 2060444"/>
              <a:gd name="connsiteY5" fmla="*/ 0 h 2060444"/>
              <a:gd name="connsiteX6" fmla="*/ 2060444 w 2060444"/>
              <a:gd name="connsiteY6" fmla="*/ 1030222 h 2060444"/>
              <a:gd name="connsiteX7" fmla="*/ 1030222 w 2060444"/>
              <a:gd name="connsiteY7" fmla="*/ 2060444 h 2060444"/>
              <a:gd name="connsiteX8" fmla="*/ 0 w 2060444"/>
              <a:gd name="connsiteY8" fmla="*/ 1030222 h 2060444"/>
              <a:gd name="connsiteX9" fmla="*/ 1030222 w 2060444"/>
              <a:gd name="connsiteY9" fmla="*/ 0 h 206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60444" h="2060444">
                <a:moveTo>
                  <a:pt x="1030221" y="177464"/>
                </a:moveTo>
                <a:cubicBezTo>
                  <a:pt x="559256" y="177464"/>
                  <a:pt x="177464" y="559256"/>
                  <a:pt x="177464" y="1030221"/>
                </a:cubicBezTo>
                <a:cubicBezTo>
                  <a:pt x="177464" y="1501186"/>
                  <a:pt x="559256" y="1882978"/>
                  <a:pt x="1030221" y="1882978"/>
                </a:cubicBezTo>
                <a:cubicBezTo>
                  <a:pt x="1501186" y="1882978"/>
                  <a:pt x="1882978" y="1501186"/>
                  <a:pt x="1882978" y="1030221"/>
                </a:cubicBezTo>
                <a:cubicBezTo>
                  <a:pt x="1882978" y="559256"/>
                  <a:pt x="1501186" y="177464"/>
                  <a:pt x="1030221" y="177464"/>
                </a:cubicBezTo>
                <a:close/>
                <a:moveTo>
                  <a:pt x="1030222" y="0"/>
                </a:moveTo>
                <a:cubicBezTo>
                  <a:pt x="1599198" y="0"/>
                  <a:pt x="2060444" y="461246"/>
                  <a:pt x="2060444" y="1030222"/>
                </a:cubicBezTo>
                <a:cubicBezTo>
                  <a:pt x="2060444" y="1599198"/>
                  <a:pt x="1599198" y="2060444"/>
                  <a:pt x="1030222" y="2060444"/>
                </a:cubicBezTo>
                <a:cubicBezTo>
                  <a:pt x="461246" y="2060444"/>
                  <a:pt x="0" y="1599198"/>
                  <a:pt x="0" y="1030222"/>
                </a:cubicBezTo>
                <a:cubicBezTo>
                  <a:pt x="0" y="461246"/>
                  <a:pt x="461246" y="0"/>
                  <a:pt x="103022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84" name="Freeform 1237">
            <a:extLst>
              <a:ext uri="{FF2B5EF4-FFF2-40B4-BE49-F238E27FC236}">
                <a16:creationId xmlns:a16="http://schemas.microsoft.com/office/drawing/2014/main" id="{F02979EC-55A1-6358-57E4-6CA76C738B9F}"/>
              </a:ext>
            </a:extLst>
          </p:cNvPr>
          <p:cNvSpPr/>
          <p:nvPr/>
        </p:nvSpPr>
        <p:spPr>
          <a:xfrm>
            <a:off x="5758646" y="3324328"/>
            <a:ext cx="252172" cy="252172"/>
          </a:xfrm>
          <a:custGeom>
            <a:avLst/>
            <a:gdLst>
              <a:gd name="connsiteX0" fmla="*/ 626416 w 1252834"/>
              <a:gd name="connsiteY0" fmla="*/ 161662 h 1252834"/>
              <a:gd name="connsiteX1" fmla="*/ 161662 w 1252834"/>
              <a:gd name="connsiteY1" fmla="*/ 626416 h 1252834"/>
              <a:gd name="connsiteX2" fmla="*/ 626416 w 1252834"/>
              <a:gd name="connsiteY2" fmla="*/ 1091170 h 1252834"/>
              <a:gd name="connsiteX3" fmla="*/ 1091170 w 1252834"/>
              <a:gd name="connsiteY3" fmla="*/ 626416 h 1252834"/>
              <a:gd name="connsiteX4" fmla="*/ 626416 w 1252834"/>
              <a:gd name="connsiteY4" fmla="*/ 161662 h 1252834"/>
              <a:gd name="connsiteX5" fmla="*/ 626417 w 1252834"/>
              <a:gd name="connsiteY5" fmla="*/ 0 h 1252834"/>
              <a:gd name="connsiteX6" fmla="*/ 1252834 w 1252834"/>
              <a:gd name="connsiteY6" fmla="*/ 626417 h 1252834"/>
              <a:gd name="connsiteX7" fmla="*/ 626417 w 1252834"/>
              <a:gd name="connsiteY7" fmla="*/ 1252834 h 1252834"/>
              <a:gd name="connsiteX8" fmla="*/ 0 w 1252834"/>
              <a:gd name="connsiteY8" fmla="*/ 626417 h 1252834"/>
              <a:gd name="connsiteX9" fmla="*/ 626417 w 1252834"/>
              <a:gd name="connsiteY9" fmla="*/ 0 h 1252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2834" h="1252834">
                <a:moveTo>
                  <a:pt x="626416" y="161662"/>
                </a:moveTo>
                <a:cubicBezTo>
                  <a:pt x="369739" y="161662"/>
                  <a:pt x="161662" y="369739"/>
                  <a:pt x="161662" y="626416"/>
                </a:cubicBezTo>
                <a:cubicBezTo>
                  <a:pt x="161662" y="883093"/>
                  <a:pt x="369739" y="1091170"/>
                  <a:pt x="626416" y="1091170"/>
                </a:cubicBezTo>
                <a:cubicBezTo>
                  <a:pt x="883093" y="1091170"/>
                  <a:pt x="1091170" y="883093"/>
                  <a:pt x="1091170" y="626416"/>
                </a:cubicBezTo>
                <a:cubicBezTo>
                  <a:pt x="1091170" y="369739"/>
                  <a:pt x="883093" y="161662"/>
                  <a:pt x="626416" y="161662"/>
                </a:cubicBezTo>
                <a:close/>
                <a:moveTo>
                  <a:pt x="626417" y="0"/>
                </a:moveTo>
                <a:cubicBezTo>
                  <a:pt x="972378" y="0"/>
                  <a:pt x="1252834" y="280456"/>
                  <a:pt x="1252834" y="626417"/>
                </a:cubicBezTo>
                <a:cubicBezTo>
                  <a:pt x="1252834" y="972378"/>
                  <a:pt x="972378" y="1252834"/>
                  <a:pt x="626417" y="1252834"/>
                </a:cubicBezTo>
                <a:cubicBezTo>
                  <a:pt x="280456" y="1252834"/>
                  <a:pt x="0" y="972378"/>
                  <a:pt x="0" y="626417"/>
                </a:cubicBezTo>
                <a:cubicBezTo>
                  <a:pt x="0" y="280456"/>
                  <a:pt x="280456" y="0"/>
                  <a:pt x="626417"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85" name="Oval 84">
            <a:extLst>
              <a:ext uri="{FF2B5EF4-FFF2-40B4-BE49-F238E27FC236}">
                <a16:creationId xmlns:a16="http://schemas.microsoft.com/office/drawing/2014/main" id="{B58F7611-014E-6600-F9F9-9FE6943E12B7}"/>
              </a:ext>
            </a:extLst>
          </p:cNvPr>
          <p:cNvSpPr/>
          <p:nvPr/>
        </p:nvSpPr>
        <p:spPr>
          <a:xfrm>
            <a:off x="5834754" y="3400436"/>
            <a:ext cx="99957" cy="9995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grpSp>
        <p:nvGrpSpPr>
          <p:cNvPr id="86" name="Group 58">
            <a:extLst>
              <a:ext uri="{FF2B5EF4-FFF2-40B4-BE49-F238E27FC236}">
                <a16:creationId xmlns:a16="http://schemas.microsoft.com/office/drawing/2014/main" id="{1E05C676-6BCF-B3F8-2A77-06711DEA5C04}"/>
              </a:ext>
            </a:extLst>
          </p:cNvPr>
          <p:cNvGrpSpPr/>
          <p:nvPr/>
        </p:nvGrpSpPr>
        <p:grpSpPr>
          <a:xfrm>
            <a:off x="5531654" y="787855"/>
            <a:ext cx="1671576" cy="411537"/>
            <a:chOff x="7115940" y="3442583"/>
            <a:chExt cx="2228768" cy="548714"/>
          </a:xfrm>
        </p:grpSpPr>
        <p:sp>
          <p:nvSpPr>
            <p:cNvPr id="87" name="TextBox 86">
              <a:extLst>
                <a:ext uri="{FF2B5EF4-FFF2-40B4-BE49-F238E27FC236}">
                  <a16:creationId xmlns:a16="http://schemas.microsoft.com/office/drawing/2014/main" id="{9EAE095F-F24F-5DEE-6284-CEF0D97A92C6}"/>
                </a:ext>
              </a:extLst>
            </p:cNvPr>
            <p:cNvSpPr txBox="1"/>
            <p:nvPr/>
          </p:nvSpPr>
          <p:spPr>
            <a:xfrm>
              <a:off x="7115940" y="3729687"/>
              <a:ext cx="2228768" cy="261610"/>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675" b="0"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Identify decisions to be made</a:t>
              </a:r>
            </a:p>
          </p:txBody>
        </p:sp>
        <p:sp>
          <p:nvSpPr>
            <p:cNvPr id="88" name="Rectangle 87">
              <a:extLst>
                <a:ext uri="{FF2B5EF4-FFF2-40B4-BE49-F238E27FC236}">
                  <a16:creationId xmlns:a16="http://schemas.microsoft.com/office/drawing/2014/main" id="{26AA4D41-4CCD-B57C-D29A-3F2F49A1B515}"/>
                </a:ext>
              </a:extLst>
            </p:cNvPr>
            <p:cNvSpPr/>
            <p:nvPr/>
          </p:nvSpPr>
          <p:spPr>
            <a:xfrm>
              <a:off x="7115940" y="3442583"/>
              <a:ext cx="1888751" cy="410368"/>
            </a:xfrm>
            <a:prstGeom prst="rect">
              <a:avLst/>
            </a:prstGeom>
          </p:spPr>
          <p:txBody>
            <a:bodyPr wrap="square">
              <a:spAutoFit/>
            </a:bodyPr>
            <a:lstStyle/>
            <a:p>
              <a:pPr marL="0" marR="0" lvl="0" indent="0" algn="l" defTabSz="457200" rtl="0" eaLnBrk="1" fontAlgn="b"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Ask &amp; Define</a:t>
              </a:r>
              <a:endParaRPr kumimoji="0" lang="en-US" sz="12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89" name="Group 58">
            <a:extLst>
              <a:ext uri="{FF2B5EF4-FFF2-40B4-BE49-F238E27FC236}">
                <a16:creationId xmlns:a16="http://schemas.microsoft.com/office/drawing/2014/main" id="{CF3A1A91-91B0-DC19-C886-290E0571E021}"/>
              </a:ext>
            </a:extLst>
          </p:cNvPr>
          <p:cNvGrpSpPr/>
          <p:nvPr/>
        </p:nvGrpSpPr>
        <p:grpSpPr>
          <a:xfrm>
            <a:off x="6355546" y="1868568"/>
            <a:ext cx="2105062" cy="430787"/>
            <a:chOff x="7228367" y="3416917"/>
            <a:chExt cx="2806749" cy="574380"/>
          </a:xfrm>
        </p:grpSpPr>
        <p:sp>
          <p:nvSpPr>
            <p:cNvPr id="90" name="TextBox 89">
              <a:extLst>
                <a:ext uri="{FF2B5EF4-FFF2-40B4-BE49-F238E27FC236}">
                  <a16:creationId xmlns:a16="http://schemas.microsoft.com/office/drawing/2014/main" id="{D0939EB3-41CF-B4F0-40BF-290A40ADD87D}"/>
                </a:ext>
              </a:extLst>
            </p:cNvPr>
            <p:cNvSpPr txBox="1"/>
            <p:nvPr/>
          </p:nvSpPr>
          <p:spPr>
            <a:xfrm>
              <a:off x="7241200" y="3729687"/>
              <a:ext cx="2228768" cy="261610"/>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675" b="0"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Understand and acquire relevant data</a:t>
              </a:r>
            </a:p>
          </p:txBody>
        </p:sp>
        <p:sp>
          <p:nvSpPr>
            <p:cNvPr id="91" name="Rectangle 90">
              <a:extLst>
                <a:ext uri="{FF2B5EF4-FFF2-40B4-BE49-F238E27FC236}">
                  <a16:creationId xmlns:a16="http://schemas.microsoft.com/office/drawing/2014/main" id="{DD8AD1DA-679C-53B3-CDCA-6D5AAC0E567A}"/>
                </a:ext>
              </a:extLst>
            </p:cNvPr>
            <p:cNvSpPr/>
            <p:nvPr/>
          </p:nvSpPr>
          <p:spPr>
            <a:xfrm>
              <a:off x="7228367" y="3416917"/>
              <a:ext cx="2806749" cy="410367"/>
            </a:xfrm>
            <a:prstGeom prst="rect">
              <a:avLst/>
            </a:prstGeom>
          </p:spPr>
          <p:txBody>
            <a:bodyPr wrap="square">
              <a:spAutoFit/>
            </a:bodyPr>
            <a:lstStyle/>
            <a:p>
              <a:pPr marL="0" marR="0" lvl="0" indent="0" algn="l" defTabSz="457200" rtl="0" eaLnBrk="1" fontAlgn="b"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Capture &amp; Acquire</a:t>
              </a:r>
              <a:endParaRPr kumimoji="0" lang="en-US" sz="12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2" name="Group 58">
            <a:extLst>
              <a:ext uri="{FF2B5EF4-FFF2-40B4-BE49-F238E27FC236}">
                <a16:creationId xmlns:a16="http://schemas.microsoft.com/office/drawing/2014/main" id="{D8826E82-3EBC-3BF4-D986-7B1CBDED1BE9}"/>
              </a:ext>
            </a:extLst>
          </p:cNvPr>
          <p:cNvGrpSpPr/>
          <p:nvPr/>
        </p:nvGrpSpPr>
        <p:grpSpPr>
          <a:xfrm>
            <a:off x="6458396" y="3246243"/>
            <a:ext cx="2152202" cy="411536"/>
            <a:chOff x="7153518" y="3442583"/>
            <a:chExt cx="2869603" cy="548715"/>
          </a:xfrm>
        </p:grpSpPr>
        <p:sp>
          <p:nvSpPr>
            <p:cNvPr id="93" name="TextBox 92">
              <a:extLst>
                <a:ext uri="{FF2B5EF4-FFF2-40B4-BE49-F238E27FC236}">
                  <a16:creationId xmlns:a16="http://schemas.microsoft.com/office/drawing/2014/main" id="{14011837-A760-E4F6-DD5C-168F4991ED3C}"/>
                </a:ext>
              </a:extLst>
            </p:cNvPr>
            <p:cNvSpPr txBox="1"/>
            <p:nvPr/>
          </p:nvSpPr>
          <p:spPr>
            <a:xfrm>
              <a:off x="7153518" y="3729687"/>
              <a:ext cx="2228769" cy="261611"/>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675" b="0"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Transform data into insights</a:t>
              </a:r>
            </a:p>
          </p:txBody>
        </p:sp>
        <p:sp>
          <p:nvSpPr>
            <p:cNvPr id="94" name="Rectangle 93">
              <a:extLst>
                <a:ext uri="{FF2B5EF4-FFF2-40B4-BE49-F238E27FC236}">
                  <a16:creationId xmlns:a16="http://schemas.microsoft.com/office/drawing/2014/main" id="{0E3E0D99-025E-AD82-4872-AA2897F5A99B}"/>
                </a:ext>
              </a:extLst>
            </p:cNvPr>
            <p:cNvSpPr/>
            <p:nvPr/>
          </p:nvSpPr>
          <p:spPr>
            <a:xfrm>
              <a:off x="7153518" y="3442583"/>
              <a:ext cx="2869603" cy="410370"/>
            </a:xfrm>
            <a:prstGeom prst="rect">
              <a:avLst/>
            </a:prstGeom>
          </p:spPr>
          <p:txBody>
            <a:bodyPr wrap="square">
              <a:spAutoFit/>
            </a:bodyPr>
            <a:lstStyle/>
            <a:p>
              <a:pPr marL="0" marR="0" lvl="0" indent="0" algn="l" defTabSz="457200" rtl="0" eaLnBrk="1" fontAlgn="b"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Analyze &amp; Transform</a:t>
              </a:r>
              <a:endParaRPr kumimoji="0" lang="en-US" sz="12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5" name="Group 94">
            <a:extLst>
              <a:ext uri="{FF2B5EF4-FFF2-40B4-BE49-F238E27FC236}">
                <a16:creationId xmlns:a16="http://schemas.microsoft.com/office/drawing/2014/main" id="{1CAC754E-B169-65F1-9019-399CF4A2691D}"/>
              </a:ext>
            </a:extLst>
          </p:cNvPr>
          <p:cNvGrpSpPr/>
          <p:nvPr/>
        </p:nvGrpSpPr>
        <p:grpSpPr>
          <a:xfrm>
            <a:off x="5240527" y="4439525"/>
            <a:ext cx="2062237" cy="411535"/>
            <a:chOff x="1456505" y="5329455"/>
            <a:chExt cx="2749650" cy="548712"/>
          </a:xfrm>
        </p:grpSpPr>
        <p:sp>
          <p:nvSpPr>
            <p:cNvPr id="96" name="TextBox 95">
              <a:extLst>
                <a:ext uri="{FF2B5EF4-FFF2-40B4-BE49-F238E27FC236}">
                  <a16:creationId xmlns:a16="http://schemas.microsoft.com/office/drawing/2014/main" id="{E89F051F-674B-777D-3D18-4E54B2953D64}"/>
                </a:ext>
              </a:extLst>
            </p:cNvPr>
            <p:cNvSpPr txBox="1"/>
            <p:nvPr/>
          </p:nvSpPr>
          <p:spPr>
            <a:xfrm>
              <a:off x="1456505" y="5616557"/>
              <a:ext cx="2202319" cy="261610"/>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675" b="0"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Validate the insights</a:t>
              </a:r>
            </a:p>
          </p:txBody>
        </p:sp>
        <p:sp>
          <p:nvSpPr>
            <p:cNvPr id="97" name="Rectangle 96">
              <a:extLst>
                <a:ext uri="{FF2B5EF4-FFF2-40B4-BE49-F238E27FC236}">
                  <a16:creationId xmlns:a16="http://schemas.microsoft.com/office/drawing/2014/main" id="{B9A82A5D-D7E5-87AA-3978-69051ECBF828}"/>
                </a:ext>
              </a:extLst>
            </p:cNvPr>
            <p:cNvSpPr/>
            <p:nvPr/>
          </p:nvSpPr>
          <p:spPr>
            <a:xfrm>
              <a:off x="1699188" y="5329455"/>
              <a:ext cx="2506967" cy="410368"/>
            </a:xfrm>
            <a:prstGeom prst="rect">
              <a:avLst/>
            </a:prstGeom>
          </p:spPr>
          <p:txBody>
            <a:bodyPr wrap="square">
              <a:spAutoFit/>
            </a:bodyPr>
            <a:lstStyle/>
            <a:p>
              <a:pPr marL="0" marR="0" lvl="0" indent="0" algn="ctr" defTabSz="457200" rtl="0" eaLnBrk="1" fontAlgn="b"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Validate &amp; Verify</a:t>
              </a:r>
              <a:endParaRPr kumimoji="0" lang="en-US" sz="12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98" name="Group 97">
            <a:extLst>
              <a:ext uri="{FF2B5EF4-FFF2-40B4-BE49-F238E27FC236}">
                <a16:creationId xmlns:a16="http://schemas.microsoft.com/office/drawing/2014/main" id="{207A6A67-57BF-4B83-CF2A-BD0874D94C37}"/>
              </a:ext>
            </a:extLst>
          </p:cNvPr>
          <p:cNvGrpSpPr/>
          <p:nvPr/>
        </p:nvGrpSpPr>
        <p:grpSpPr>
          <a:xfrm>
            <a:off x="702644" y="3473999"/>
            <a:ext cx="2165215" cy="515410"/>
            <a:chOff x="538455" y="5329455"/>
            <a:chExt cx="2886954" cy="687213"/>
          </a:xfrm>
        </p:grpSpPr>
        <p:sp>
          <p:nvSpPr>
            <p:cNvPr id="99" name="TextBox 98">
              <a:extLst>
                <a:ext uri="{FF2B5EF4-FFF2-40B4-BE49-F238E27FC236}">
                  <a16:creationId xmlns:a16="http://schemas.microsoft.com/office/drawing/2014/main" id="{D2E59D29-A877-E874-B702-F5FE606E9A74}"/>
                </a:ext>
              </a:extLst>
            </p:cNvPr>
            <p:cNvSpPr txBox="1"/>
            <p:nvPr/>
          </p:nvSpPr>
          <p:spPr>
            <a:xfrm>
              <a:off x="1183807" y="5616559"/>
              <a:ext cx="2228768" cy="400109"/>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675" b="0"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Communicate decisions and start change management efforts</a:t>
              </a:r>
            </a:p>
          </p:txBody>
        </p:sp>
        <p:sp>
          <p:nvSpPr>
            <p:cNvPr id="100" name="Rectangle 99">
              <a:extLst>
                <a:ext uri="{FF2B5EF4-FFF2-40B4-BE49-F238E27FC236}">
                  <a16:creationId xmlns:a16="http://schemas.microsoft.com/office/drawing/2014/main" id="{70E9B637-A051-A7E6-99BF-32C18A7B7A14}"/>
                </a:ext>
              </a:extLst>
            </p:cNvPr>
            <p:cNvSpPr/>
            <p:nvPr/>
          </p:nvSpPr>
          <p:spPr>
            <a:xfrm>
              <a:off x="538455" y="5329455"/>
              <a:ext cx="2886954" cy="410369"/>
            </a:xfrm>
            <a:prstGeom prst="rect">
              <a:avLst/>
            </a:prstGeom>
          </p:spPr>
          <p:txBody>
            <a:bodyPr wrap="square">
              <a:spAutoFit/>
            </a:bodyPr>
            <a:lstStyle/>
            <a:p>
              <a:pPr marL="0" marR="0" lvl="0" indent="0" algn="r" defTabSz="457200" rtl="0" eaLnBrk="1" fontAlgn="b"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Announce &amp; Market</a:t>
              </a:r>
              <a:endParaRPr kumimoji="0" lang="en-US" sz="12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01" name="Group 100">
            <a:extLst>
              <a:ext uri="{FF2B5EF4-FFF2-40B4-BE49-F238E27FC236}">
                <a16:creationId xmlns:a16="http://schemas.microsoft.com/office/drawing/2014/main" id="{62A4B053-6472-2BFD-296E-FC52AAF57C19}"/>
              </a:ext>
            </a:extLst>
          </p:cNvPr>
          <p:cNvGrpSpPr/>
          <p:nvPr/>
        </p:nvGrpSpPr>
        <p:grpSpPr>
          <a:xfrm>
            <a:off x="1717033" y="792125"/>
            <a:ext cx="1966647" cy="515410"/>
            <a:chOff x="978576" y="5329455"/>
            <a:chExt cx="2622196" cy="687213"/>
          </a:xfrm>
        </p:grpSpPr>
        <p:sp>
          <p:nvSpPr>
            <p:cNvPr id="102" name="TextBox 101">
              <a:extLst>
                <a:ext uri="{FF2B5EF4-FFF2-40B4-BE49-F238E27FC236}">
                  <a16:creationId xmlns:a16="http://schemas.microsoft.com/office/drawing/2014/main" id="{C8A8C22A-ED43-C526-66B7-41FD41A35212}"/>
                </a:ext>
              </a:extLst>
            </p:cNvPr>
            <p:cNvSpPr txBox="1"/>
            <p:nvPr/>
          </p:nvSpPr>
          <p:spPr>
            <a:xfrm>
              <a:off x="1359171" y="5616559"/>
              <a:ext cx="2228768" cy="400109"/>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675" b="0"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Evaluating decisions made. Monitor and adjust as needed. </a:t>
              </a:r>
            </a:p>
          </p:txBody>
        </p:sp>
        <p:sp>
          <p:nvSpPr>
            <p:cNvPr id="103" name="Rectangle 102">
              <a:extLst>
                <a:ext uri="{FF2B5EF4-FFF2-40B4-BE49-F238E27FC236}">
                  <a16:creationId xmlns:a16="http://schemas.microsoft.com/office/drawing/2014/main" id="{FD6B49ED-2DDC-E24A-75A9-6AACB3033FE0}"/>
                </a:ext>
              </a:extLst>
            </p:cNvPr>
            <p:cNvSpPr/>
            <p:nvPr/>
          </p:nvSpPr>
          <p:spPr>
            <a:xfrm>
              <a:off x="978576" y="5329455"/>
              <a:ext cx="2622196" cy="410369"/>
            </a:xfrm>
            <a:prstGeom prst="rect">
              <a:avLst/>
            </a:prstGeom>
          </p:spPr>
          <p:txBody>
            <a:bodyPr wrap="square">
              <a:spAutoFit/>
            </a:bodyPr>
            <a:lstStyle/>
            <a:p>
              <a:pPr marL="0" marR="0" lvl="0" indent="0" algn="r" defTabSz="457200" rtl="0" eaLnBrk="1" fontAlgn="b"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Monitor &amp; Evaluate</a:t>
              </a:r>
              <a:endParaRPr kumimoji="0" lang="en-US" sz="12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04" name="Group 58">
            <a:extLst>
              <a:ext uri="{FF2B5EF4-FFF2-40B4-BE49-F238E27FC236}">
                <a16:creationId xmlns:a16="http://schemas.microsoft.com/office/drawing/2014/main" id="{6E9C9B7F-15FE-DF3B-A655-642F6EC4CE65}"/>
              </a:ext>
            </a:extLst>
          </p:cNvPr>
          <p:cNvGrpSpPr/>
          <p:nvPr/>
        </p:nvGrpSpPr>
        <p:grpSpPr>
          <a:xfrm>
            <a:off x="1841236" y="4459097"/>
            <a:ext cx="1890822" cy="413107"/>
            <a:chOff x="7153518" y="3442583"/>
            <a:chExt cx="2521096" cy="550810"/>
          </a:xfrm>
        </p:grpSpPr>
        <p:sp>
          <p:nvSpPr>
            <p:cNvPr id="105" name="TextBox 104">
              <a:extLst>
                <a:ext uri="{FF2B5EF4-FFF2-40B4-BE49-F238E27FC236}">
                  <a16:creationId xmlns:a16="http://schemas.microsoft.com/office/drawing/2014/main" id="{5D8CB582-99CD-2555-4C41-C71D32B2F999}"/>
                </a:ext>
              </a:extLst>
            </p:cNvPr>
            <p:cNvSpPr txBox="1"/>
            <p:nvPr/>
          </p:nvSpPr>
          <p:spPr>
            <a:xfrm>
              <a:off x="7436826" y="3731782"/>
              <a:ext cx="2228769" cy="261611"/>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675" b="0"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Transform insights into decisions</a:t>
              </a:r>
            </a:p>
          </p:txBody>
        </p:sp>
        <p:sp>
          <p:nvSpPr>
            <p:cNvPr id="106" name="Rectangle 105">
              <a:extLst>
                <a:ext uri="{FF2B5EF4-FFF2-40B4-BE49-F238E27FC236}">
                  <a16:creationId xmlns:a16="http://schemas.microsoft.com/office/drawing/2014/main" id="{A23A65A8-BFF5-A393-6828-2F1C0D342CDE}"/>
                </a:ext>
              </a:extLst>
            </p:cNvPr>
            <p:cNvSpPr/>
            <p:nvPr/>
          </p:nvSpPr>
          <p:spPr>
            <a:xfrm>
              <a:off x="7153518" y="3442583"/>
              <a:ext cx="2521096" cy="410370"/>
            </a:xfrm>
            <a:prstGeom prst="rect">
              <a:avLst/>
            </a:prstGeom>
          </p:spPr>
          <p:txBody>
            <a:bodyPr wrap="square">
              <a:spAutoFit/>
            </a:bodyPr>
            <a:lstStyle/>
            <a:p>
              <a:pPr marL="0" marR="0" lvl="0" indent="0" algn="r" defTabSz="457200" rtl="0" eaLnBrk="1" fontAlgn="b"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Resolve &amp; Decide</a:t>
              </a:r>
              <a:endParaRPr kumimoji="0" lang="en-US" sz="12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endParaRPr>
            </a:p>
          </p:txBody>
        </p:sp>
      </p:grpSp>
      <p:grpSp>
        <p:nvGrpSpPr>
          <p:cNvPr id="107" name="Group 106">
            <a:extLst>
              <a:ext uri="{FF2B5EF4-FFF2-40B4-BE49-F238E27FC236}">
                <a16:creationId xmlns:a16="http://schemas.microsoft.com/office/drawing/2014/main" id="{40937663-FABF-4D4B-13F0-270DAC9B755A}"/>
              </a:ext>
            </a:extLst>
          </p:cNvPr>
          <p:cNvGrpSpPr/>
          <p:nvPr/>
        </p:nvGrpSpPr>
        <p:grpSpPr>
          <a:xfrm>
            <a:off x="856649" y="2075990"/>
            <a:ext cx="1837526" cy="411536"/>
            <a:chOff x="962542" y="5329455"/>
            <a:chExt cx="2450035" cy="548715"/>
          </a:xfrm>
        </p:grpSpPr>
        <p:sp>
          <p:nvSpPr>
            <p:cNvPr id="108" name="TextBox 107">
              <a:extLst>
                <a:ext uri="{FF2B5EF4-FFF2-40B4-BE49-F238E27FC236}">
                  <a16:creationId xmlns:a16="http://schemas.microsoft.com/office/drawing/2014/main" id="{9E6B3646-F220-F0AA-37A0-AACCABFF8872}"/>
                </a:ext>
              </a:extLst>
            </p:cNvPr>
            <p:cNvSpPr txBox="1"/>
            <p:nvPr/>
          </p:nvSpPr>
          <p:spPr>
            <a:xfrm>
              <a:off x="1183807" y="5616559"/>
              <a:ext cx="2228768" cy="261611"/>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675" b="0"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Start change management efforts</a:t>
              </a:r>
            </a:p>
          </p:txBody>
        </p:sp>
        <p:sp>
          <p:nvSpPr>
            <p:cNvPr id="109" name="Rectangle 108">
              <a:extLst>
                <a:ext uri="{FF2B5EF4-FFF2-40B4-BE49-F238E27FC236}">
                  <a16:creationId xmlns:a16="http://schemas.microsoft.com/office/drawing/2014/main" id="{3E4C076C-253B-4AA2-AE23-C1A7DAD1A2F7}"/>
                </a:ext>
              </a:extLst>
            </p:cNvPr>
            <p:cNvSpPr/>
            <p:nvPr/>
          </p:nvSpPr>
          <p:spPr>
            <a:xfrm>
              <a:off x="962542" y="5329455"/>
              <a:ext cx="2450035" cy="410370"/>
            </a:xfrm>
            <a:prstGeom prst="rect">
              <a:avLst/>
            </a:prstGeom>
          </p:spPr>
          <p:txBody>
            <a:bodyPr wrap="square">
              <a:spAutoFit/>
            </a:bodyPr>
            <a:lstStyle/>
            <a:p>
              <a:pPr marL="0" marR="0" lvl="0" indent="0" algn="r" defTabSz="457200" rtl="0" eaLnBrk="1" fontAlgn="b"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Implement &amp; Act</a:t>
              </a:r>
              <a:endParaRPr kumimoji="0" lang="en-US" sz="12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endParaRPr>
            </a:p>
          </p:txBody>
        </p:sp>
      </p:grpSp>
      <p:pic>
        <p:nvPicPr>
          <p:cNvPr id="111" name="Graphic 110" descr="Clapper board with solid fill">
            <a:extLst>
              <a:ext uri="{FF2B5EF4-FFF2-40B4-BE49-F238E27FC236}">
                <a16:creationId xmlns:a16="http://schemas.microsoft.com/office/drawing/2014/main" id="{DFCF23FE-AEA7-7289-D863-88B0488D0F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62159" y="2056733"/>
            <a:ext cx="419713" cy="419713"/>
          </a:xfrm>
          <a:prstGeom prst="rect">
            <a:avLst/>
          </a:prstGeom>
        </p:spPr>
      </p:pic>
      <p:sp>
        <p:nvSpPr>
          <p:cNvPr id="112" name="Rectangle 111">
            <a:extLst>
              <a:ext uri="{FF2B5EF4-FFF2-40B4-BE49-F238E27FC236}">
                <a16:creationId xmlns:a16="http://schemas.microsoft.com/office/drawing/2014/main" id="{86C372FB-040A-EE92-C937-DDFFF85F5D56}"/>
              </a:ext>
            </a:extLst>
          </p:cNvPr>
          <p:cNvSpPr/>
          <p:nvPr/>
        </p:nvSpPr>
        <p:spPr>
          <a:xfrm>
            <a:off x="3862632" y="2235620"/>
            <a:ext cx="1537468" cy="1200329"/>
          </a:xfrm>
          <a:prstGeom prst="rect">
            <a:avLst/>
          </a:prstGeom>
        </p:spPr>
        <p:txBody>
          <a:bodyPr wrap="square" anchor="ctr">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Data-informed</a:t>
            </a:r>
          </a:p>
          <a:p>
            <a:pPr marL="0" marR="0" lvl="0" indent="0" algn="ctr" defTabSz="457200" rtl="0" eaLnBrk="1" fontAlgn="base" latinLnBrk="0" hangingPunct="1">
              <a:lnSpc>
                <a:spcPct val="100000"/>
              </a:lnSpc>
              <a:spcBef>
                <a:spcPct val="0"/>
              </a:spcBef>
              <a:spcAft>
                <a:spcPct val="0"/>
              </a:spcAft>
              <a:buClrTx/>
              <a:buSzTx/>
              <a:buFontTx/>
              <a:buNone/>
              <a:tabLst/>
              <a:defRPr/>
            </a:pPr>
            <a:r>
              <a:rPr lang="en-US" b="1">
                <a:solidFill>
                  <a:srgbClr val="002060"/>
                </a:solidFill>
                <a:latin typeface="Arial" panose="020B0604020202020204" pitchFamily="34" charset="0"/>
                <a:cs typeface="Arial" panose="020B0604020202020204" pitchFamily="34" charset="0"/>
              </a:rPr>
              <a:t>Decision-making</a:t>
            </a:r>
            <a:endParaRPr kumimoji="0" lang="en-US" sz="12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endParaRPr>
          </a:p>
        </p:txBody>
      </p:sp>
    </p:spTree>
    <p:extLst>
      <p:ext uri="{BB962C8B-B14F-4D97-AF65-F5344CB8AC3E}">
        <p14:creationId xmlns:p14="http://schemas.microsoft.com/office/powerpoint/2010/main" val="1860878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143444"/>
            <a:ext cx="8106305" cy="513211"/>
          </a:xfrm>
        </p:spPr>
        <p:txBody>
          <a:bodyPr/>
          <a:lstStyle/>
          <a:p>
            <a:r>
              <a:rPr lang="en-US" sz="2100">
                <a:solidFill>
                  <a:srgbClr val="54565A"/>
                </a:solidFill>
              </a:rPr>
              <a:t>Data-Informed Decision-Making Process</a:t>
            </a:r>
            <a:endParaRPr lang="en-IN" sz="2100"/>
          </a:p>
        </p:txBody>
      </p:sp>
      <p:sp>
        <p:nvSpPr>
          <p:cNvPr id="66" name="Donut 24">
            <a:extLst>
              <a:ext uri="{FF2B5EF4-FFF2-40B4-BE49-F238E27FC236}">
                <a16:creationId xmlns:a16="http://schemas.microsoft.com/office/drawing/2014/main" id="{5ECF8042-07D3-601B-180B-7090DF06CFB4}"/>
              </a:ext>
            </a:extLst>
          </p:cNvPr>
          <p:cNvSpPr/>
          <p:nvPr/>
        </p:nvSpPr>
        <p:spPr>
          <a:xfrm>
            <a:off x="4594125" y="1026141"/>
            <a:ext cx="1163350" cy="1118523"/>
          </a:xfrm>
          <a:custGeom>
            <a:avLst/>
            <a:gdLst>
              <a:gd name="connsiteX0" fmla="*/ 970678 w 2130202"/>
              <a:gd name="connsiteY0" fmla="*/ 2000917 h 2043773"/>
              <a:gd name="connsiteX1" fmla="*/ 1016277 w 2130202"/>
              <a:gd name="connsiteY1" fmla="*/ 2043773 h 2043773"/>
              <a:gd name="connsiteX2" fmla="*/ 970678 w 2130202"/>
              <a:gd name="connsiteY2" fmla="*/ 2000917 h 2043773"/>
              <a:gd name="connsiteX3" fmla="*/ 2104790 w 2130202"/>
              <a:gd name="connsiteY3" fmla="*/ 886382 h 2043773"/>
              <a:gd name="connsiteX4" fmla="*/ 2130202 w 2130202"/>
              <a:gd name="connsiteY4" fmla="*/ 910265 h 2043773"/>
              <a:gd name="connsiteX5" fmla="*/ 2060315 w 2130202"/>
              <a:gd name="connsiteY5" fmla="*/ 981381 h 2043773"/>
              <a:gd name="connsiteX6" fmla="*/ 2104790 w 2130202"/>
              <a:gd name="connsiteY6" fmla="*/ 886382 h 2043773"/>
              <a:gd name="connsiteX7" fmla="*/ 0 w 2130202"/>
              <a:gd name="connsiteY7" fmla="*/ 0 h 2043773"/>
              <a:gd name="connsiteX8" fmla="*/ 1900448 w 2130202"/>
              <a:gd name="connsiteY8" fmla="*/ 697070 h 2043773"/>
              <a:gd name="connsiteX9" fmla="*/ 1591947 w 2130202"/>
              <a:gd name="connsiteY9" fmla="*/ 1417307 h 2043773"/>
              <a:gd name="connsiteX10" fmla="*/ 747346 w 2130202"/>
              <a:gd name="connsiteY10" fmla="*/ 1827219 h 2043773"/>
              <a:gd name="connsiteX11" fmla="*/ 0 w 2130202"/>
              <a:gd name="connsiteY11" fmla="*/ 1609503 h 2043773"/>
              <a:gd name="connsiteX12" fmla="*/ 264145 w 2130202"/>
              <a:gd name="connsiteY12" fmla="*/ 789774 h 2043773"/>
              <a:gd name="connsiteX13" fmla="*/ 0 w 2130202"/>
              <a:gd name="connsiteY13" fmla="*/ 0 h 2043773"/>
              <a:gd name="connsiteX0" fmla="*/ 2104790 w 2130202"/>
              <a:gd name="connsiteY0" fmla="*/ 886382 h 1827219"/>
              <a:gd name="connsiteX1" fmla="*/ 2130202 w 2130202"/>
              <a:gd name="connsiteY1" fmla="*/ 910265 h 1827219"/>
              <a:gd name="connsiteX2" fmla="*/ 2060315 w 2130202"/>
              <a:gd name="connsiteY2" fmla="*/ 981381 h 1827219"/>
              <a:gd name="connsiteX3" fmla="*/ 2104790 w 2130202"/>
              <a:gd name="connsiteY3" fmla="*/ 886382 h 1827219"/>
              <a:gd name="connsiteX4" fmla="*/ 0 w 2130202"/>
              <a:gd name="connsiteY4" fmla="*/ 0 h 1827219"/>
              <a:gd name="connsiteX5" fmla="*/ 1900448 w 2130202"/>
              <a:gd name="connsiteY5" fmla="*/ 697070 h 1827219"/>
              <a:gd name="connsiteX6" fmla="*/ 1591947 w 2130202"/>
              <a:gd name="connsiteY6" fmla="*/ 1417307 h 1827219"/>
              <a:gd name="connsiteX7" fmla="*/ 747346 w 2130202"/>
              <a:gd name="connsiteY7" fmla="*/ 1827219 h 1827219"/>
              <a:gd name="connsiteX8" fmla="*/ 0 w 2130202"/>
              <a:gd name="connsiteY8" fmla="*/ 1609503 h 1827219"/>
              <a:gd name="connsiteX9" fmla="*/ 264145 w 2130202"/>
              <a:gd name="connsiteY9" fmla="*/ 789774 h 1827219"/>
              <a:gd name="connsiteX10" fmla="*/ 0 w 2130202"/>
              <a:gd name="connsiteY10" fmla="*/ 0 h 1827219"/>
              <a:gd name="connsiteX0" fmla="*/ 2104790 w 2130202"/>
              <a:gd name="connsiteY0" fmla="*/ 886382 h 1827219"/>
              <a:gd name="connsiteX1" fmla="*/ 2130202 w 2130202"/>
              <a:gd name="connsiteY1" fmla="*/ 910265 h 1827219"/>
              <a:gd name="connsiteX2" fmla="*/ 2104790 w 2130202"/>
              <a:gd name="connsiteY2" fmla="*/ 886382 h 1827219"/>
              <a:gd name="connsiteX3" fmla="*/ 0 w 2130202"/>
              <a:gd name="connsiteY3" fmla="*/ 0 h 1827219"/>
              <a:gd name="connsiteX4" fmla="*/ 1900448 w 2130202"/>
              <a:gd name="connsiteY4" fmla="*/ 697070 h 1827219"/>
              <a:gd name="connsiteX5" fmla="*/ 1591947 w 2130202"/>
              <a:gd name="connsiteY5" fmla="*/ 1417307 h 1827219"/>
              <a:gd name="connsiteX6" fmla="*/ 747346 w 2130202"/>
              <a:gd name="connsiteY6" fmla="*/ 1827219 h 1827219"/>
              <a:gd name="connsiteX7" fmla="*/ 0 w 2130202"/>
              <a:gd name="connsiteY7" fmla="*/ 1609503 h 1827219"/>
              <a:gd name="connsiteX8" fmla="*/ 264145 w 2130202"/>
              <a:gd name="connsiteY8" fmla="*/ 789774 h 1827219"/>
              <a:gd name="connsiteX9" fmla="*/ 0 w 2130202"/>
              <a:gd name="connsiteY9" fmla="*/ 0 h 1827219"/>
              <a:gd name="connsiteX0" fmla="*/ 0 w 1900448"/>
              <a:gd name="connsiteY0" fmla="*/ 0 h 1827219"/>
              <a:gd name="connsiteX1" fmla="*/ 1900448 w 1900448"/>
              <a:gd name="connsiteY1" fmla="*/ 697070 h 1827219"/>
              <a:gd name="connsiteX2" fmla="*/ 1591947 w 1900448"/>
              <a:gd name="connsiteY2" fmla="*/ 1417307 h 1827219"/>
              <a:gd name="connsiteX3" fmla="*/ 747346 w 1900448"/>
              <a:gd name="connsiteY3" fmla="*/ 1827219 h 1827219"/>
              <a:gd name="connsiteX4" fmla="*/ 0 w 1900448"/>
              <a:gd name="connsiteY4" fmla="*/ 1609503 h 1827219"/>
              <a:gd name="connsiteX5" fmla="*/ 264145 w 1900448"/>
              <a:gd name="connsiteY5" fmla="*/ 789774 h 1827219"/>
              <a:gd name="connsiteX6" fmla="*/ 0 w 1900448"/>
              <a:gd name="connsiteY6" fmla="*/ 0 h 182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0448" h="1827219">
                <a:moveTo>
                  <a:pt x="0" y="0"/>
                </a:moveTo>
                <a:cubicBezTo>
                  <a:pt x="721537" y="0"/>
                  <a:pt x="1383611" y="261067"/>
                  <a:pt x="1900448" y="697070"/>
                </a:cubicBezTo>
                <a:lnTo>
                  <a:pt x="1591947" y="1417307"/>
                </a:lnTo>
                <a:lnTo>
                  <a:pt x="747346" y="1827219"/>
                </a:lnTo>
                <a:cubicBezTo>
                  <a:pt x="530554" y="1688578"/>
                  <a:pt x="274282" y="1609503"/>
                  <a:pt x="0" y="1609503"/>
                </a:cubicBezTo>
                <a:lnTo>
                  <a:pt x="264145" y="789774"/>
                </a:lnTo>
                <a:lnTo>
                  <a:pt x="0" y="0"/>
                </a:lnTo>
                <a:close/>
              </a:path>
            </a:pathLst>
          </a:custGeom>
          <a:solidFill>
            <a:schemeClr val="bg2">
              <a:lumMod val="50000"/>
            </a:schemeClr>
          </a:solidFill>
          <a:ln w="508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67" name="Donut 24">
            <a:extLst>
              <a:ext uri="{FF2B5EF4-FFF2-40B4-BE49-F238E27FC236}">
                <a16:creationId xmlns:a16="http://schemas.microsoft.com/office/drawing/2014/main" id="{A9916B93-5077-CCAE-848F-2BBD1640EDAC}"/>
              </a:ext>
            </a:extLst>
          </p:cNvPr>
          <p:cNvSpPr/>
          <p:nvPr/>
        </p:nvSpPr>
        <p:spPr>
          <a:xfrm>
            <a:off x="4663179" y="1084132"/>
            <a:ext cx="1028442" cy="971841"/>
          </a:xfrm>
          <a:custGeom>
            <a:avLst/>
            <a:gdLst/>
            <a:ahLst/>
            <a:cxnLst/>
            <a:rect l="l" t="t" r="r" b="b"/>
            <a:pathLst>
              <a:path w="1680063" h="1587599">
                <a:moveTo>
                  <a:pt x="23469" y="0"/>
                </a:moveTo>
                <a:cubicBezTo>
                  <a:pt x="648030" y="25947"/>
                  <a:pt x="1221342" y="255814"/>
                  <a:pt x="1680063" y="628703"/>
                </a:cubicBezTo>
                <a:lnTo>
                  <a:pt x="1426718" y="1229154"/>
                </a:lnTo>
                <a:lnTo>
                  <a:pt x="662412" y="1587599"/>
                </a:lnTo>
                <a:cubicBezTo>
                  <a:pt x="463983" y="1479615"/>
                  <a:pt x="239095" y="1414515"/>
                  <a:pt x="0" y="1404060"/>
                </a:cubicBezTo>
                <a:lnTo>
                  <a:pt x="283794" y="677957"/>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64" name="Donut 24">
            <a:extLst>
              <a:ext uri="{FF2B5EF4-FFF2-40B4-BE49-F238E27FC236}">
                <a16:creationId xmlns:a16="http://schemas.microsoft.com/office/drawing/2014/main" id="{6492FA31-2B62-A53F-C151-14725ED3934B}"/>
              </a:ext>
            </a:extLst>
          </p:cNvPr>
          <p:cNvSpPr/>
          <p:nvPr/>
        </p:nvSpPr>
        <p:spPr>
          <a:xfrm rot="2659168">
            <a:off x="5318371" y="1799106"/>
            <a:ext cx="1163350" cy="1118523"/>
          </a:xfrm>
          <a:custGeom>
            <a:avLst/>
            <a:gdLst>
              <a:gd name="connsiteX0" fmla="*/ 970678 w 2130202"/>
              <a:gd name="connsiteY0" fmla="*/ 2000917 h 2043773"/>
              <a:gd name="connsiteX1" fmla="*/ 1016277 w 2130202"/>
              <a:gd name="connsiteY1" fmla="*/ 2043773 h 2043773"/>
              <a:gd name="connsiteX2" fmla="*/ 970678 w 2130202"/>
              <a:gd name="connsiteY2" fmla="*/ 2000917 h 2043773"/>
              <a:gd name="connsiteX3" fmla="*/ 2104790 w 2130202"/>
              <a:gd name="connsiteY3" fmla="*/ 886382 h 2043773"/>
              <a:gd name="connsiteX4" fmla="*/ 2130202 w 2130202"/>
              <a:gd name="connsiteY4" fmla="*/ 910265 h 2043773"/>
              <a:gd name="connsiteX5" fmla="*/ 2060315 w 2130202"/>
              <a:gd name="connsiteY5" fmla="*/ 981381 h 2043773"/>
              <a:gd name="connsiteX6" fmla="*/ 2104790 w 2130202"/>
              <a:gd name="connsiteY6" fmla="*/ 886382 h 2043773"/>
              <a:gd name="connsiteX7" fmla="*/ 0 w 2130202"/>
              <a:gd name="connsiteY7" fmla="*/ 0 h 2043773"/>
              <a:gd name="connsiteX8" fmla="*/ 1900448 w 2130202"/>
              <a:gd name="connsiteY8" fmla="*/ 697070 h 2043773"/>
              <a:gd name="connsiteX9" fmla="*/ 1591947 w 2130202"/>
              <a:gd name="connsiteY9" fmla="*/ 1417307 h 2043773"/>
              <a:gd name="connsiteX10" fmla="*/ 747346 w 2130202"/>
              <a:gd name="connsiteY10" fmla="*/ 1827219 h 2043773"/>
              <a:gd name="connsiteX11" fmla="*/ 0 w 2130202"/>
              <a:gd name="connsiteY11" fmla="*/ 1609503 h 2043773"/>
              <a:gd name="connsiteX12" fmla="*/ 264145 w 2130202"/>
              <a:gd name="connsiteY12" fmla="*/ 789774 h 2043773"/>
              <a:gd name="connsiteX13" fmla="*/ 0 w 2130202"/>
              <a:gd name="connsiteY13" fmla="*/ 0 h 2043773"/>
              <a:gd name="connsiteX0" fmla="*/ 2104790 w 2130202"/>
              <a:gd name="connsiteY0" fmla="*/ 886382 h 1827219"/>
              <a:gd name="connsiteX1" fmla="*/ 2130202 w 2130202"/>
              <a:gd name="connsiteY1" fmla="*/ 910265 h 1827219"/>
              <a:gd name="connsiteX2" fmla="*/ 2060315 w 2130202"/>
              <a:gd name="connsiteY2" fmla="*/ 981381 h 1827219"/>
              <a:gd name="connsiteX3" fmla="*/ 2104790 w 2130202"/>
              <a:gd name="connsiteY3" fmla="*/ 886382 h 1827219"/>
              <a:gd name="connsiteX4" fmla="*/ 0 w 2130202"/>
              <a:gd name="connsiteY4" fmla="*/ 0 h 1827219"/>
              <a:gd name="connsiteX5" fmla="*/ 1900448 w 2130202"/>
              <a:gd name="connsiteY5" fmla="*/ 697070 h 1827219"/>
              <a:gd name="connsiteX6" fmla="*/ 1591947 w 2130202"/>
              <a:gd name="connsiteY6" fmla="*/ 1417307 h 1827219"/>
              <a:gd name="connsiteX7" fmla="*/ 747346 w 2130202"/>
              <a:gd name="connsiteY7" fmla="*/ 1827219 h 1827219"/>
              <a:gd name="connsiteX8" fmla="*/ 0 w 2130202"/>
              <a:gd name="connsiteY8" fmla="*/ 1609503 h 1827219"/>
              <a:gd name="connsiteX9" fmla="*/ 264145 w 2130202"/>
              <a:gd name="connsiteY9" fmla="*/ 789774 h 1827219"/>
              <a:gd name="connsiteX10" fmla="*/ 0 w 2130202"/>
              <a:gd name="connsiteY10" fmla="*/ 0 h 1827219"/>
              <a:gd name="connsiteX0" fmla="*/ 2104790 w 2130202"/>
              <a:gd name="connsiteY0" fmla="*/ 886382 h 1827219"/>
              <a:gd name="connsiteX1" fmla="*/ 2130202 w 2130202"/>
              <a:gd name="connsiteY1" fmla="*/ 910265 h 1827219"/>
              <a:gd name="connsiteX2" fmla="*/ 2104790 w 2130202"/>
              <a:gd name="connsiteY2" fmla="*/ 886382 h 1827219"/>
              <a:gd name="connsiteX3" fmla="*/ 0 w 2130202"/>
              <a:gd name="connsiteY3" fmla="*/ 0 h 1827219"/>
              <a:gd name="connsiteX4" fmla="*/ 1900448 w 2130202"/>
              <a:gd name="connsiteY4" fmla="*/ 697070 h 1827219"/>
              <a:gd name="connsiteX5" fmla="*/ 1591947 w 2130202"/>
              <a:gd name="connsiteY5" fmla="*/ 1417307 h 1827219"/>
              <a:gd name="connsiteX6" fmla="*/ 747346 w 2130202"/>
              <a:gd name="connsiteY6" fmla="*/ 1827219 h 1827219"/>
              <a:gd name="connsiteX7" fmla="*/ 0 w 2130202"/>
              <a:gd name="connsiteY7" fmla="*/ 1609503 h 1827219"/>
              <a:gd name="connsiteX8" fmla="*/ 264145 w 2130202"/>
              <a:gd name="connsiteY8" fmla="*/ 789774 h 1827219"/>
              <a:gd name="connsiteX9" fmla="*/ 0 w 2130202"/>
              <a:gd name="connsiteY9" fmla="*/ 0 h 1827219"/>
              <a:gd name="connsiteX0" fmla="*/ 0 w 1900448"/>
              <a:gd name="connsiteY0" fmla="*/ 0 h 1827219"/>
              <a:gd name="connsiteX1" fmla="*/ 1900448 w 1900448"/>
              <a:gd name="connsiteY1" fmla="*/ 697070 h 1827219"/>
              <a:gd name="connsiteX2" fmla="*/ 1591947 w 1900448"/>
              <a:gd name="connsiteY2" fmla="*/ 1417307 h 1827219"/>
              <a:gd name="connsiteX3" fmla="*/ 747346 w 1900448"/>
              <a:gd name="connsiteY3" fmla="*/ 1827219 h 1827219"/>
              <a:gd name="connsiteX4" fmla="*/ 0 w 1900448"/>
              <a:gd name="connsiteY4" fmla="*/ 1609503 h 1827219"/>
              <a:gd name="connsiteX5" fmla="*/ 264145 w 1900448"/>
              <a:gd name="connsiteY5" fmla="*/ 789774 h 1827219"/>
              <a:gd name="connsiteX6" fmla="*/ 0 w 1900448"/>
              <a:gd name="connsiteY6" fmla="*/ 0 h 182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0448" h="1827219">
                <a:moveTo>
                  <a:pt x="0" y="0"/>
                </a:moveTo>
                <a:cubicBezTo>
                  <a:pt x="721537" y="0"/>
                  <a:pt x="1383611" y="261067"/>
                  <a:pt x="1900448" y="697070"/>
                </a:cubicBezTo>
                <a:lnTo>
                  <a:pt x="1591947" y="1417307"/>
                </a:lnTo>
                <a:lnTo>
                  <a:pt x="747346" y="1827219"/>
                </a:lnTo>
                <a:cubicBezTo>
                  <a:pt x="530554" y="1688578"/>
                  <a:pt x="274282" y="1609503"/>
                  <a:pt x="0" y="1609503"/>
                </a:cubicBezTo>
                <a:lnTo>
                  <a:pt x="264145" y="789774"/>
                </a:lnTo>
                <a:lnTo>
                  <a:pt x="0" y="0"/>
                </a:lnTo>
                <a:close/>
              </a:path>
            </a:pathLst>
          </a:custGeom>
          <a:solidFill>
            <a:schemeClr val="bg2">
              <a:lumMod val="50000"/>
            </a:schemeClr>
          </a:solidFill>
          <a:ln w="508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65" name="Donut 24">
            <a:extLst>
              <a:ext uri="{FF2B5EF4-FFF2-40B4-BE49-F238E27FC236}">
                <a16:creationId xmlns:a16="http://schemas.microsoft.com/office/drawing/2014/main" id="{F525A5D7-8F72-E2B1-1752-6554CC67BD21}"/>
              </a:ext>
            </a:extLst>
          </p:cNvPr>
          <p:cNvSpPr/>
          <p:nvPr/>
        </p:nvSpPr>
        <p:spPr>
          <a:xfrm rot="2659168">
            <a:off x="5396676" y="1869194"/>
            <a:ext cx="1028442" cy="971841"/>
          </a:xfrm>
          <a:custGeom>
            <a:avLst/>
            <a:gdLst/>
            <a:ahLst/>
            <a:cxnLst/>
            <a:rect l="l" t="t" r="r" b="b"/>
            <a:pathLst>
              <a:path w="1680063" h="1587599">
                <a:moveTo>
                  <a:pt x="23469" y="0"/>
                </a:moveTo>
                <a:cubicBezTo>
                  <a:pt x="648030" y="25947"/>
                  <a:pt x="1221342" y="255814"/>
                  <a:pt x="1680063" y="628703"/>
                </a:cubicBezTo>
                <a:lnTo>
                  <a:pt x="1426718" y="1229154"/>
                </a:lnTo>
                <a:lnTo>
                  <a:pt x="662412" y="1587599"/>
                </a:lnTo>
                <a:cubicBezTo>
                  <a:pt x="463983" y="1479615"/>
                  <a:pt x="239095" y="1414515"/>
                  <a:pt x="0" y="1404060"/>
                </a:cubicBezTo>
                <a:lnTo>
                  <a:pt x="283794" y="677957"/>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60" name="Donut 24">
            <a:extLst>
              <a:ext uri="{FF2B5EF4-FFF2-40B4-BE49-F238E27FC236}">
                <a16:creationId xmlns:a16="http://schemas.microsoft.com/office/drawing/2014/main" id="{CDE97CC3-95F3-B858-D184-B8A265AE109B}"/>
              </a:ext>
            </a:extLst>
          </p:cNvPr>
          <p:cNvSpPr/>
          <p:nvPr/>
        </p:nvSpPr>
        <p:spPr>
          <a:xfrm rot="5400000">
            <a:off x="5317462" y="2905105"/>
            <a:ext cx="1163349" cy="1118523"/>
          </a:xfrm>
          <a:custGeom>
            <a:avLst/>
            <a:gdLst>
              <a:gd name="connsiteX0" fmla="*/ 970678 w 2130202"/>
              <a:gd name="connsiteY0" fmla="*/ 2000917 h 2043773"/>
              <a:gd name="connsiteX1" fmla="*/ 1016277 w 2130202"/>
              <a:gd name="connsiteY1" fmla="*/ 2043773 h 2043773"/>
              <a:gd name="connsiteX2" fmla="*/ 970678 w 2130202"/>
              <a:gd name="connsiteY2" fmla="*/ 2000917 h 2043773"/>
              <a:gd name="connsiteX3" fmla="*/ 2104790 w 2130202"/>
              <a:gd name="connsiteY3" fmla="*/ 886382 h 2043773"/>
              <a:gd name="connsiteX4" fmla="*/ 2130202 w 2130202"/>
              <a:gd name="connsiteY4" fmla="*/ 910265 h 2043773"/>
              <a:gd name="connsiteX5" fmla="*/ 2060315 w 2130202"/>
              <a:gd name="connsiteY5" fmla="*/ 981381 h 2043773"/>
              <a:gd name="connsiteX6" fmla="*/ 2104790 w 2130202"/>
              <a:gd name="connsiteY6" fmla="*/ 886382 h 2043773"/>
              <a:gd name="connsiteX7" fmla="*/ 0 w 2130202"/>
              <a:gd name="connsiteY7" fmla="*/ 0 h 2043773"/>
              <a:gd name="connsiteX8" fmla="*/ 1900448 w 2130202"/>
              <a:gd name="connsiteY8" fmla="*/ 697070 h 2043773"/>
              <a:gd name="connsiteX9" fmla="*/ 1591947 w 2130202"/>
              <a:gd name="connsiteY9" fmla="*/ 1417307 h 2043773"/>
              <a:gd name="connsiteX10" fmla="*/ 747346 w 2130202"/>
              <a:gd name="connsiteY10" fmla="*/ 1827219 h 2043773"/>
              <a:gd name="connsiteX11" fmla="*/ 0 w 2130202"/>
              <a:gd name="connsiteY11" fmla="*/ 1609503 h 2043773"/>
              <a:gd name="connsiteX12" fmla="*/ 264145 w 2130202"/>
              <a:gd name="connsiteY12" fmla="*/ 789774 h 2043773"/>
              <a:gd name="connsiteX13" fmla="*/ 0 w 2130202"/>
              <a:gd name="connsiteY13" fmla="*/ 0 h 2043773"/>
              <a:gd name="connsiteX0" fmla="*/ 2104790 w 2130202"/>
              <a:gd name="connsiteY0" fmla="*/ 886382 h 1827219"/>
              <a:gd name="connsiteX1" fmla="*/ 2130202 w 2130202"/>
              <a:gd name="connsiteY1" fmla="*/ 910265 h 1827219"/>
              <a:gd name="connsiteX2" fmla="*/ 2060315 w 2130202"/>
              <a:gd name="connsiteY2" fmla="*/ 981381 h 1827219"/>
              <a:gd name="connsiteX3" fmla="*/ 2104790 w 2130202"/>
              <a:gd name="connsiteY3" fmla="*/ 886382 h 1827219"/>
              <a:gd name="connsiteX4" fmla="*/ 0 w 2130202"/>
              <a:gd name="connsiteY4" fmla="*/ 0 h 1827219"/>
              <a:gd name="connsiteX5" fmla="*/ 1900448 w 2130202"/>
              <a:gd name="connsiteY5" fmla="*/ 697070 h 1827219"/>
              <a:gd name="connsiteX6" fmla="*/ 1591947 w 2130202"/>
              <a:gd name="connsiteY6" fmla="*/ 1417307 h 1827219"/>
              <a:gd name="connsiteX7" fmla="*/ 747346 w 2130202"/>
              <a:gd name="connsiteY7" fmla="*/ 1827219 h 1827219"/>
              <a:gd name="connsiteX8" fmla="*/ 0 w 2130202"/>
              <a:gd name="connsiteY8" fmla="*/ 1609503 h 1827219"/>
              <a:gd name="connsiteX9" fmla="*/ 264145 w 2130202"/>
              <a:gd name="connsiteY9" fmla="*/ 789774 h 1827219"/>
              <a:gd name="connsiteX10" fmla="*/ 0 w 2130202"/>
              <a:gd name="connsiteY10" fmla="*/ 0 h 1827219"/>
              <a:gd name="connsiteX0" fmla="*/ 2104790 w 2130202"/>
              <a:gd name="connsiteY0" fmla="*/ 886382 h 1827219"/>
              <a:gd name="connsiteX1" fmla="*/ 2130202 w 2130202"/>
              <a:gd name="connsiteY1" fmla="*/ 910265 h 1827219"/>
              <a:gd name="connsiteX2" fmla="*/ 2104790 w 2130202"/>
              <a:gd name="connsiteY2" fmla="*/ 886382 h 1827219"/>
              <a:gd name="connsiteX3" fmla="*/ 0 w 2130202"/>
              <a:gd name="connsiteY3" fmla="*/ 0 h 1827219"/>
              <a:gd name="connsiteX4" fmla="*/ 1900448 w 2130202"/>
              <a:gd name="connsiteY4" fmla="*/ 697070 h 1827219"/>
              <a:gd name="connsiteX5" fmla="*/ 1591947 w 2130202"/>
              <a:gd name="connsiteY5" fmla="*/ 1417307 h 1827219"/>
              <a:gd name="connsiteX6" fmla="*/ 747346 w 2130202"/>
              <a:gd name="connsiteY6" fmla="*/ 1827219 h 1827219"/>
              <a:gd name="connsiteX7" fmla="*/ 0 w 2130202"/>
              <a:gd name="connsiteY7" fmla="*/ 1609503 h 1827219"/>
              <a:gd name="connsiteX8" fmla="*/ 264145 w 2130202"/>
              <a:gd name="connsiteY8" fmla="*/ 789774 h 1827219"/>
              <a:gd name="connsiteX9" fmla="*/ 0 w 2130202"/>
              <a:gd name="connsiteY9" fmla="*/ 0 h 1827219"/>
              <a:gd name="connsiteX0" fmla="*/ 0 w 1900448"/>
              <a:gd name="connsiteY0" fmla="*/ 0 h 1827219"/>
              <a:gd name="connsiteX1" fmla="*/ 1900448 w 1900448"/>
              <a:gd name="connsiteY1" fmla="*/ 697070 h 1827219"/>
              <a:gd name="connsiteX2" fmla="*/ 1591947 w 1900448"/>
              <a:gd name="connsiteY2" fmla="*/ 1417307 h 1827219"/>
              <a:gd name="connsiteX3" fmla="*/ 747346 w 1900448"/>
              <a:gd name="connsiteY3" fmla="*/ 1827219 h 1827219"/>
              <a:gd name="connsiteX4" fmla="*/ 0 w 1900448"/>
              <a:gd name="connsiteY4" fmla="*/ 1609503 h 1827219"/>
              <a:gd name="connsiteX5" fmla="*/ 264145 w 1900448"/>
              <a:gd name="connsiteY5" fmla="*/ 789774 h 1827219"/>
              <a:gd name="connsiteX6" fmla="*/ 0 w 1900448"/>
              <a:gd name="connsiteY6" fmla="*/ 0 h 182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0448" h="1827219">
                <a:moveTo>
                  <a:pt x="0" y="0"/>
                </a:moveTo>
                <a:cubicBezTo>
                  <a:pt x="721537" y="0"/>
                  <a:pt x="1383611" y="261067"/>
                  <a:pt x="1900448" y="697070"/>
                </a:cubicBezTo>
                <a:lnTo>
                  <a:pt x="1591947" y="1417307"/>
                </a:lnTo>
                <a:lnTo>
                  <a:pt x="747346" y="1827219"/>
                </a:lnTo>
                <a:cubicBezTo>
                  <a:pt x="530554" y="1688578"/>
                  <a:pt x="274282" y="1609503"/>
                  <a:pt x="0" y="1609503"/>
                </a:cubicBezTo>
                <a:lnTo>
                  <a:pt x="264145" y="789774"/>
                </a:lnTo>
                <a:lnTo>
                  <a:pt x="0" y="0"/>
                </a:lnTo>
                <a:close/>
              </a:path>
            </a:pathLst>
          </a:custGeom>
          <a:solidFill>
            <a:schemeClr val="bg2">
              <a:lumMod val="50000"/>
            </a:schemeClr>
          </a:solidFill>
          <a:ln w="508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61" name="Donut 24">
            <a:extLst>
              <a:ext uri="{FF2B5EF4-FFF2-40B4-BE49-F238E27FC236}">
                <a16:creationId xmlns:a16="http://schemas.microsoft.com/office/drawing/2014/main" id="{2E1C32AF-AAAF-91D7-5C02-FBB2236D0CFC}"/>
              </a:ext>
            </a:extLst>
          </p:cNvPr>
          <p:cNvSpPr/>
          <p:nvPr/>
        </p:nvSpPr>
        <p:spPr>
          <a:xfrm rot="5400000">
            <a:off x="5409294" y="2980048"/>
            <a:ext cx="1028442" cy="971841"/>
          </a:xfrm>
          <a:custGeom>
            <a:avLst/>
            <a:gdLst/>
            <a:ahLst/>
            <a:cxnLst/>
            <a:rect l="l" t="t" r="r" b="b"/>
            <a:pathLst>
              <a:path w="1680063" h="1587599">
                <a:moveTo>
                  <a:pt x="23469" y="0"/>
                </a:moveTo>
                <a:cubicBezTo>
                  <a:pt x="648030" y="25947"/>
                  <a:pt x="1221342" y="255814"/>
                  <a:pt x="1680063" y="628703"/>
                </a:cubicBezTo>
                <a:lnTo>
                  <a:pt x="1426718" y="1229154"/>
                </a:lnTo>
                <a:lnTo>
                  <a:pt x="662412" y="1587599"/>
                </a:lnTo>
                <a:cubicBezTo>
                  <a:pt x="463983" y="1479615"/>
                  <a:pt x="239095" y="1414515"/>
                  <a:pt x="0" y="1404060"/>
                </a:cubicBezTo>
                <a:lnTo>
                  <a:pt x="283794" y="677957"/>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58" name="Donut 24">
            <a:extLst>
              <a:ext uri="{FF2B5EF4-FFF2-40B4-BE49-F238E27FC236}">
                <a16:creationId xmlns:a16="http://schemas.microsoft.com/office/drawing/2014/main" id="{C9F4750C-FFBE-63B2-A6E0-63A904DADAE6}"/>
              </a:ext>
            </a:extLst>
          </p:cNvPr>
          <p:cNvSpPr/>
          <p:nvPr/>
        </p:nvSpPr>
        <p:spPr>
          <a:xfrm rot="8059168">
            <a:off x="4544496" y="3629351"/>
            <a:ext cx="1163349" cy="1118523"/>
          </a:xfrm>
          <a:custGeom>
            <a:avLst/>
            <a:gdLst>
              <a:gd name="connsiteX0" fmla="*/ 970678 w 2130202"/>
              <a:gd name="connsiteY0" fmla="*/ 2000917 h 2043773"/>
              <a:gd name="connsiteX1" fmla="*/ 1016277 w 2130202"/>
              <a:gd name="connsiteY1" fmla="*/ 2043773 h 2043773"/>
              <a:gd name="connsiteX2" fmla="*/ 970678 w 2130202"/>
              <a:gd name="connsiteY2" fmla="*/ 2000917 h 2043773"/>
              <a:gd name="connsiteX3" fmla="*/ 2104790 w 2130202"/>
              <a:gd name="connsiteY3" fmla="*/ 886382 h 2043773"/>
              <a:gd name="connsiteX4" fmla="*/ 2130202 w 2130202"/>
              <a:gd name="connsiteY4" fmla="*/ 910265 h 2043773"/>
              <a:gd name="connsiteX5" fmla="*/ 2060315 w 2130202"/>
              <a:gd name="connsiteY5" fmla="*/ 981381 h 2043773"/>
              <a:gd name="connsiteX6" fmla="*/ 2104790 w 2130202"/>
              <a:gd name="connsiteY6" fmla="*/ 886382 h 2043773"/>
              <a:gd name="connsiteX7" fmla="*/ 0 w 2130202"/>
              <a:gd name="connsiteY7" fmla="*/ 0 h 2043773"/>
              <a:gd name="connsiteX8" fmla="*/ 1900448 w 2130202"/>
              <a:gd name="connsiteY8" fmla="*/ 697070 h 2043773"/>
              <a:gd name="connsiteX9" fmla="*/ 1591947 w 2130202"/>
              <a:gd name="connsiteY9" fmla="*/ 1417307 h 2043773"/>
              <a:gd name="connsiteX10" fmla="*/ 747346 w 2130202"/>
              <a:gd name="connsiteY10" fmla="*/ 1827219 h 2043773"/>
              <a:gd name="connsiteX11" fmla="*/ 0 w 2130202"/>
              <a:gd name="connsiteY11" fmla="*/ 1609503 h 2043773"/>
              <a:gd name="connsiteX12" fmla="*/ 264145 w 2130202"/>
              <a:gd name="connsiteY12" fmla="*/ 789774 h 2043773"/>
              <a:gd name="connsiteX13" fmla="*/ 0 w 2130202"/>
              <a:gd name="connsiteY13" fmla="*/ 0 h 2043773"/>
              <a:gd name="connsiteX0" fmla="*/ 2104790 w 2130202"/>
              <a:gd name="connsiteY0" fmla="*/ 886382 h 1827219"/>
              <a:gd name="connsiteX1" fmla="*/ 2130202 w 2130202"/>
              <a:gd name="connsiteY1" fmla="*/ 910265 h 1827219"/>
              <a:gd name="connsiteX2" fmla="*/ 2060315 w 2130202"/>
              <a:gd name="connsiteY2" fmla="*/ 981381 h 1827219"/>
              <a:gd name="connsiteX3" fmla="*/ 2104790 w 2130202"/>
              <a:gd name="connsiteY3" fmla="*/ 886382 h 1827219"/>
              <a:gd name="connsiteX4" fmla="*/ 0 w 2130202"/>
              <a:gd name="connsiteY4" fmla="*/ 0 h 1827219"/>
              <a:gd name="connsiteX5" fmla="*/ 1900448 w 2130202"/>
              <a:gd name="connsiteY5" fmla="*/ 697070 h 1827219"/>
              <a:gd name="connsiteX6" fmla="*/ 1591947 w 2130202"/>
              <a:gd name="connsiteY6" fmla="*/ 1417307 h 1827219"/>
              <a:gd name="connsiteX7" fmla="*/ 747346 w 2130202"/>
              <a:gd name="connsiteY7" fmla="*/ 1827219 h 1827219"/>
              <a:gd name="connsiteX8" fmla="*/ 0 w 2130202"/>
              <a:gd name="connsiteY8" fmla="*/ 1609503 h 1827219"/>
              <a:gd name="connsiteX9" fmla="*/ 264145 w 2130202"/>
              <a:gd name="connsiteY9" fmla="*/ 789774 h 1827219"/>
              <a:gd name="connsiteX10" fmla="*/ 0 w 2130202"/>
              <a:gd name="connsiteY10" fmla="*/ 0 h 1827219"/>
              <a:gd name="connsiteX0" fmla="*/ 2104790 w 2130202"/>
              <a:gd name="connsiteY0" fmla="*/ 886382 h 1827219"/>
              <a:gd name="connsiteX1" fmla="*/ 2130202 w 2130202"/>
              <a:gd name="connsiteY1" fmla="*/ 910265 h 1827219"/>
              <a:gd name="connsiteX2" fmla="*/ 2104790 w 2130202"/>
              <a:gd name="connsiteY2" fmla="*/ 886382 h 1827219"/>
              <a:gd name="connsiteX3" fmla="*/ 0 w 2130202"/>
              <a:gd name="connsiteY3" fmla="*/ 0 h 1827219"/>
              <a:gd name="connsiteX4" fmla="*/ 1900448 w 2130202"/>
              <a:gd name="connsiteY4" fmla="*/ 697070 h 1827219"/>
              <a:gd name="connsiteX5" fmla="*/ 1591947 w 2130202"/>
              <a:gd name="connsiteY5" fmla="*/ 1417307 h 1827219"/>
              <a:gd name="connsiteX6" fmla="*/ 747346 w 2130202"/>
              <a:gd name="connsiteY6" fmla="*/ 1827219 h 1827219"/>
              <a:gd name="connsiteX7" fmla="*/ 0 w 2130202"/>
              <a:gd name="connsiteY7" fmla="*/ 1609503 h 1827219"/>
              <a:gd name="connsiteX8" fmla="*/ 264145 w 2130202"/>
              <a:gd name="connsiteY8" fmla="*/ 789774 h 1827219"/>
              <a:gd name="connsiteX9" fmla="*/ 0 w 2130202"/>
              <a:gd name="connsiteY9" fmla="*/ 0 h 1827219"/>
              <a:gd name="connsiteX0" fmla="*/ 0 w 1900448"/>
              <a:gd name="connsiteY0" fmla="*/ 0 h 1827219"/>
              <a:gd name="connsiteX1" fmla="*/ 1900448 w 1900448"/>
              <a:gd name="connsiteY1" fmla="*/ 697070 h 1827219"/>
              <a:gd name="connsiteX2" fmla="*/ 1591947 w 1900448"/>
              <a:gd name="connsiteY2" fmla="*/ 1417307 h 1827219"/>
              <a:gd name="connsiteX3" fmla="*/ 747346 w 1900448"/>
              <a:gd name="connsiteY3" fmla="*/ 1827219 h 1827219"/>
              <a:gd name="connsiteX4" fmla="*/ 0 w 1900448"/>
              <a:gd name="connsiteY4" fmla="*/ 1609503 h 1827219"/>
              <a:gd name="connsiteX5" fmla="*/ 264145 w 1900448"/>
              <a:gd name="connsiteY5" fmla="*/ 789774 h 1827219"/>
              <a:gd name="connsiteX6" fmla="*/ 0 w 1900448"/>
              <a:gd name="connsiteY6" fmla="*/ 0 h 182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0448" h="1827219">
                <a:moveTo>
                  <a:pt x="0" y="0"/>
                </a:moveTo>
                <a:cubicBezTo>
                  <a:pt x="721537" y="0"/>
                  <a:pt x="1383611" y="261067"/>
                  <a:pt x="1900448" y="697070"/>
                </a:cubicBezTo>
                <a:lnTo>
                  <a:pt x="1591947" y="1417307"/>
                </a:lnTo>
                <a:lnTo>
                  <a:pt x="747346" y="1827219"/>
                </a:lnTo>
                <a:cubicBezTo>
                  <a:pt x="530554" y="1688578"/>
                  <a:pt x="274282" y="1609503"/>
                  <a:pt x="0" y="1609503"/>
                </a:cubicBezTo>
                <a:lnTo>
                  <a:pt x="264145" y="789774"/>
                </a:lnTo>
                <a:lnTo>
                  <a:pt x="0" y="0"/>
                </a:lnTo>
                <a:close/>
              </a:path>
            </a:pathLst>
          </a:custGeom>
          <a:solidFill>
            <a:schemeClr val="bg2">
              <a:lumMod val="50000"/>
            </a:schemeClr>
          </a:solidFill>
          <a:ln w="508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59" name="Donut 24">
            <a:extLst>
              <a:ext uri="{FF2B5EF4-FFF2-40B4-BE49-F238E27FC236}">
                <a16:creationId xmlns:a16="http://schemas.microsoft.com/office/drawing/2014/main" id="{AECDF980-167E-B63E-F23D-457C08FC3EAD}"/>
              </a:ext>
            </a:extLst>
          </p:cNvPr>
          <p:cNvSpPr/>
          <p:nvPr/>
        </p:nvSpPr>
        <p:spPr>
          <a:xfrm rot="8059168">
            <a:off x="4624232" y="3713543"/>
            <a:ext cx="1028442" cy="971841"/>
          </a:xfrm>
          <a:custGeom>
            <a:avLst/>
            <a:gdLst/>
            <a:ahLst/>
            <a:cxnLst/>
            <a:rect l="l" t="t" r="r" b="b"/>
            <a:pathLst>
              <a:path w="1680063" h="1587599">
                <a:moveTo>
                  <a:pt x="23469" y="0"/>
                </a:moveTo>
                <a:cubicBezTo>
                  <a:pt x="648030" y="25947"/>
                  <a:pt x="1221342" y="255814"/>
                  <a:pt x="1680063" y="628703"/>
                </a:cubicBezTo>
                <a:lnTo>
                  <a:pt x="1426718" y="1229154"/>
                </a:lnTo>
                <a:lnTo>
                  <a:pt x="662412" y="1587599"/>
                </a:lnTo>
                <a:cubicBezTo>
                  <a:pt x="463983" y="1479615"/>
                  <a:pt x="239095" y="1414515"/>
                  <a:pt x="0" y="1404060"/>
                </a:cubicBezTo>
                <a:lnTo>
                  <a:pt x="283794" y="677957"/>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52" name="Donut 24">
            <a:extLst>
              <a:ext uri="{FF2B5EF4-FFF2-40B4-BE49-F238E27FC236}">
                <a16:creationId xmlns:a16="http://schemas.microsoft.com/office/drawing/2014/main" id="{0A3A8A97-AE19-7050-49BD-21C793DA39C1}"/>
              </a:ext>
            </a:extLst>
          </p:cNvPr>
          <p:cNvSpPr/>
          <p:nvPr/>
        </p:nvSpPr>
        <p:spPr>
          <a:xfrm rot="10800000">
            <a:off x="3448659" y="3605119"/>
            <a:ext cx="1163350" cy="1118523"/>
          </a:xfrm>
          <a:custGeom>
            <a:avLst/>
            <a:gdLst>
              <a:gd name="connsiteX0" fmla="*/ 970678 w 2130202"/>
              <a:gd name="connsiteY0" fmla="*/ 2000917 h 2043773"/>
              <a:gd name="connsiteX1" fmla="*/ 1016277 w 2130202"/>
              <a:gd name="connsiteY1" fmla="*/ 2043773 h 2043773"/>
              <a:gd name="connsiteX2" fmla="*/ 970678 w 2130202"/>
              <a:gd name="connsiteY2" fmla="*/ 2000917 h 2043773"/>
              <a:gd name="connsiteX3" fmla="*/ 2104790 w 2130202"/>
              <a:gd name="connsiteY3" fmla="*/ 886382 h 2043773"/>
              <a:gd name="connsiteX4" fmla="*/ 2130202 w 2130202"/>
              <a:gd name="connsiteY4" fmla="*/ 910265 h 2043773"/>
              <a:gd name="connsiteX5" fmla="*/ 2060315 w 2130202"/>
              <a:gd name="connsiteY5" fmla="*/ 981381 h 2043773"/>
              <a:gd name="connsiteX6" fmla="*/ 2104790 w 2130202"/>
              <a:gd name="connsiteY6" fmla="*/ 886382 h 2043773"/>
              <a:gd name="connsiteX7" fmla="*/ 0 w 2130202"/>
              <a:gd name="connsiteY7" fmla="*/ 0 h 2043773"/>
              <a:gd name="connsiteX8" fmla="*/ 1900448 w 2130202"/>
              <a:gd name="connsiteY8" fmla="*/ 697070 h 2043773"/>
              <a:gd name="connsiteX9" fmla="*/ 1591947 w 2130202"/>
              <a:gd name="connsiteY9" fmla="*/ 1417307 h 2043773"/>
              <a:gd name="connsiteX10" fmla="*/ 747346 w 2130202"/>
              <a:gd name="connsiteY10" fmla="*/ 1827219 h 2043773"/>
              <a:gd name="connsiteX11" fmla="*/ 0 w 2130202"/>
              <a:gd name="connsiteY11" fmla="*/ 1609503 h 2043773"/>
              <a:gd name="connsiteX12" fmla="*/ 264145 w 2130202"/>
              <a:gd name="connsiteY12" fmla="*/ 789774 h 2043773"/>
              <a:gd name="connsiteX13" fmla="*/ 0 w 2130202"/>
              <a:gd name="connsiteY13" fmla="*/ 0 h 2043773"/>
              <a:gd name="connsiteX0" fmla="*/ 2104790 w 2130202"/>
              <a:gd name="connsiteY0" fmla="*/ 886382 h 1827219"/>
              <a:gd name="connsiteX1" fmla="*/ 2130202 w 2130202"/>
              <a:gd name="connsiteY1" fmla="*/ 910265 h 1827219"/>
              <a:gd name="connsiteX2" fmla="*/ 2060315 w 2130202"/>
              <a:gd name="connsiteY2" fmla="*/ 981381 h 1827219"/>
              <a:gd name="connsiteX3" fmla="*/ 2104790 w 2130202"/>
              <a:gd name="connsiteY3" fmla="*/ 886382 h 1827219"/>
              <a:gd name="connsiteX4" fmla="*/ 0 w 2130202"/>
              <a:gd name="connsiteY4" fmla="*/ 0 h 1827219"/>
              <a:gd name="connsiteX5" fmla="*/ 1900448 w 2130202"/>
              <a:gd name="connsiteY5" fmla="*/ 697070 h 1827219"/>
              <a:gd name="connsiteX6" fmla="*/ 1591947 w 2130202"/>
              <a:gd name="connsiteY6" fmla="*/ 1417307 h 1827219"/>
              <a:gd name="connsiteX7" fmla="*/ 747346 w 2130202"/>
              <a:gd name="connsiteY7" fmla="*/ 1827219 h 1827219"/>
              <a:gd name="connsiteX8" fmla="*/ 0 w 2130202"/>
              <a:gd name="connsiteY8" fmla="*/ 1609503 h 1827219"/>
              <a:gd name="connsiteX9" fmla="*/ 264145 w 2130202"/>
              <a:gd name="connsiteY9" fmla="*/ 789774 h 1827219"/>
              <a:gd name="connsiteX10" fmla="*/ 0 w 2130202"/>
              <a:gd name="connsiteY10" fmla="*/ 0 h 1827219"/>
              <a:gd name="connsiteX0" fmla="*/ 2104790 w 2130202"/>
              <a:gd name="connsiteY0" fmla="*/ 886382 h 1827219"/>
              <a:gd name="connsiteX1" fmla="*/ 2130202 w 2130202"/>
              <a:gd name="connsiteY1" fmla="*/ 910265 h 1827219"/>
              <a:gd name="connsiteX2" fmla="*/ 2104790 w 2130202"/>
              <a:gd name="connsiteY2" fmla="*/ 886382 h 1827219"/>
              <a:gd name="connsiteX3" fmla="*/ 0 w 2130202"/>
              <a:gd name="connsiteY3" fmla="*/ 0 h 1827219"/>
              <a:gd name="connsiteX4" fmla="*/ 1900448 w 2130202"/>
              <a:gd name="connsiteY4" fmla="*/ 697070 h 1827219"/>
              <a:gd name="connsiteX5" fmla="*/ 1591947 w 2130202"/>
              <a:gd name="connsiteY5" fmla="*/ 1417307 h 1827219"/>
              <a:gd name="connsiteX6" fmla="*/ 747346 w 2130202"/>
              <a:gd name="connsiteY6" fmla="*/ 1827219 h 1827219"/>
              <a:gd name="connsiteX7" fmla="*/ 0 w 2130202"/>
              <a:gd name="connsiteY7" fmla="*/ 1609503 h 1827219"/>
              <a:gd name="connsiteX8" fmla="*/ 264145 w 2130202"/>
              <a:gd name="connsiteY8" fmla="*/ 789774 h 1827219"/>
              <a:gd name="connsiteX9" fmla="*/ 0 w 2130202"/>
              <a:gd name="connsiteY9" fmla="*/ 0 h 1827219"/>
              <a:gd name="connsiteX0" fmla="*/ 0 w 1900448"/>
              <a:gd name="connsiteY0" fmla="*/ 0 h 1827219"/>
              <a:gd name="connsiteX1" fmla="*/ 1900448 w 1900448"/>
              <a:gd name="connsiteY1" fmla="*/ 697070 h 1827219"/>
              <a:gd name="connsiteX2" fmla="*/ 1591947 w 1900448"/>
              <a:gd name="connsiteY2" fmla="*/ 1417307 h 1827219"/>
              <a:gd name="connsiteX3" fmla="*/ 747346 w 1900448"/>
              <a:gd name="connsiteY3" fmla="*/ 1827219 h 1827219"/>
              <a:gd name="connsiteX4" fmla="*/ 0 w 1900448"/>
              <a:gd name="connsiteY4" fmla="*/ 1609503 h 1827219"/>
              <a:gd name="connsiteX5" fmla="*/ 264145 w 1900448"/>
              <a:gd name="connsiteY5" fmla="*/ 789774 h 1827219"/>
              <a:gd name="connsiteX6" fmla="*/ 0 w 1900448"/>
              <a:gd name="connsiteY6" fmla="*/ 0 h 182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0448" h="1827219">
                <a:moveTo>
                  <a:pt x="0" y="0"/>
                </a:moveTo>
                <a:cubicBezTo>
                  <a:pt x="721537" y="0"/>
                  <a:pt x="1383611" y="261067"/>
                  <a:pt x="1900448" y="697070"/>
                </a:cubicBezTo>
                <a:lnTo>
                  <a:pt x="1591947" y="1417307"/>
                </a:lnTo>
                <a:lnTo>
                  <a:pt x="747346" y="1827219"/>
                </a:lnTo>
                <a:cubicBezTo>
                  <a:pt x="530554" y="1688578"/>
                  <a:pt x="274282" y="1609503"/>
                  <a:pt x="0" y="1609503"/>
                </a:cubicBezTo>
                <a:lnTo>
                  <a:pt x="264145" y="789774"/>
                </a:lnTo>
                <a:lnTo>
                  <a:pt x="0" y="0"/>
                </a:lnTo>
                <a:close/>
              </a:path>
            </a:pathLst>
          </a:custGeom>
          <a:solidFill>
            <a:schemeClr val="bg2">
              <a:lumMod val="50000"/>
            </a:schemeClr>
          </a:solidFill>
          <a:ln w="508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53" name="Donut 24">
            <a:extLst>
              <a:ext uri="{FF2B5EF4-FFF2-40B4-BE49-F238E27FC236}">
                <a16:creationId xmlns:a16="http://schemas.microsoft.com/office/drawing/2014/main" id="{E788BEBE-69E2-D756-C62A-03DFEF8EB32E}"/>
              </a:ext>
            </a:extLst>
          </p:cNvPr>
          <p:cNvSpPr/>
          <p:nvPr/>
        </p:nvSpPr>
        <p:spPr>
          <a:xfrm rot="10800000">
            <a:off x="3514513" y="3693810"/>
            <a:ext cx="1028442" cy="971841"/>
          </a:xfrm>
          <a:custGeom>
            <a:avLst/>
            <a:gdLst/>
            <a:ahLst/>
            <a:cxnLst/>
            <a:rect l="l" t="t" r="r" b="b"/>
            <a:pathLst>
              <a:path w="1680063" h="1587599">
                <a:moveTo>
                  <a:pt x="23469" y="0"/>
                </a:moveTo>
                <a:cubicBezTo>
                  <a:pt x="648030" y="25947"/>
                  <a:pt x="1221342" y="255814"/>
                  <a:pt x="1680063" y="628703"/>
                </a:cubicBezTo>
                <a:lnTo>
                  <a:pt x="1426718" y="1229154"/>
                </a:lnTo>
                <a:lnTo>
                  <a:pt x="662412" y="1587599"/>
                </a:lnTo>
                <a:cubicBezTo>
                  <a:pt x="463983" y="1479615"/>
                  <a:pt x="239095" y="1414515"/>
                  <a:pt x="0" y="1404060"/>
                </a:cubicBezTo>
                <a:lnTo>
                  <a:pt x="283794" y="677957"/>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50" name="Donut 24">
            <a:extLst>
              <a:ext uri="{FF2B5EF4-FFF2-40B4-BE49-F238E27FC236}">
                <a16:creationId xmlns:a16="http://schemas.microsoft.com/office/drawing/2014/main" id="{861F4427-B485-DFB9-FCF1-5F63AC0D89D0}"/>
              </a:ext>
            </a:extLst>
          </p:cNvPr>
          <p:cNvSpPr/>
          <p:nvPr/>
        </p:nvSpPr>
        <p:spPr>
          <a:xfrm rot="13459168">
            <a:off x="2724413" y="2832154"/>
            <a:ext cx="1163350" cy="1118523"/>
          </a:xfrm>
          <a:custGeom>
            <a:avLst/>
            <a:gdLst>
              <a:gd name="connsiteX0" fmla="*/ 970678 w 2130202"/>
              <a:gd name="connsiteY0" fmla="*/ 2000917 h 2043773"/>
              <a:gd name="connsiteX1" fmla="*/ 1016277 w 2130202"/>
              <a:gd name="connsiteY1" fmla="*/ 2043773 h 2043773"/>
              <a:gd name="connsiteX2" fmla="*/ 970678 w 2130202"/>
              <a:gd name="connsiteY2" fmla="*/ 2000917 h 2043773"/>
              <a:gd name="connsiteX3" fmla="*/ 2104790 w 2130202"/>
              <a:gd name="connsiteY3" fmla="*/ 886382 h 2043773"/>
              <a:gd name="connsiteX4" fmla="*/ 2130202 w 2130202"/>
              <a:gd name="connsiteY4" fmla="*/ 910265 h 2043773"/>
              <a:gd name="connsiteX5" fmla="*/ 2060315 w 2130202"/>
              <a:gd name="connsiteY5" fmla="*/ 981381 h 2043773"/>
              <a:gd name="connsiteX6" fmla="*/ 2104790 w 2130202"/>
              <a:gd name="connsiteY6" fmla="*/ 886382 h 2043773"/>
              <a:gd name="connsiteX7" fmla="*/ 0 w 2130202"/>
              <a:gd name="connsiteY7" fmla="*/ 0 h 2043773"/>
              <a:gd name="connsiteX8" fmla="*/ 1900448 w 2130202"/>
              <a:gd name="connsiteY8" fmla="*/ 697070 h 2043773"/>
              <a:gd name="connsiteX9" fmla="*/ 1591947 w 2130202"/>
              <a:gd name="connsiteY9" fmla="*/ 1417307 h 2043773"/>
              <a:gd name="connsiteX10" fmla="*/ 747346 w 2130202"/>
              <a:gd name="connsiteY10" fmla="*/ 1827219 h 2043773"/>
              <a:gd name="connsiteX11" fmla="*/ 0 w 2130202"/>
              <a:gd name="connsiteY11" fmla="*/ 1609503 h 2043773"/>
              <a:gd name="connsiteX12" fmla="*/ 264145 w 2130202"/>
              <a:gd name="connsiteY12" fmla="*/ 789774 h 2043773"/>
              <a:gd name="connsiteX13" fmla="*/ 0 w 2130202"/>
              <a:gd name="connsiteY13" fmla="*/ 0 h 2043773"/>
              <a:gd name="connsiteX0" fmla="*/ 2104790 w 2130202"/>
              <a:gd name="connsiteY0" fmla="*/ 886382 h 1827219"/>
              <a:gd name="connsiteX1" fmla="*/ 2130202 w 2130202"/>
              <a:gd name="connsiteY1" fmla="*/ 910265 h 1827219"/>
              <a:gd name="connsiteX2" fmla="*/ 2060315 w 2130202"/>
              <a:gd name="connsiteY2" fmla="*/ 981381 h 1827219"/>
              <a:gd name="connsiteX3" fmla="*/ 2104790 w 2130202"/>
              <a:gd name="connsiteY3" fmla="*/ 886382 h 1827219"/>
              <a:gd name="connsiteX4" fmla="*/ 0 w 2130202"/>
              <a:gd name="connsiteY4" fmla="*/ 0 h 1827219"/>
              <a:gd name="connsiteX5" fmla="*/ 1900448 w 2130202"/>
              <a:gd name="connsiteY5" fmla="*/ 697070 h 1827219"/>
              <a:gd name="connsiteX6" fmla="*/ 1591947 w 2130202"/>
              <a:gd name="connsiteY6" fmla="*/ 1417307 h 1827219"/>
              <a:gd name="connsiteX7" fmla="*/ 747346 w 2130202"/>
              <a:gd name="connsiteY7" fmla="*/ 1827219 h 1827219"/>
              <a:gd name="connsiteX8" fmla="*/ 0 w 2130202"/>
              <a:gd name="connsiteY8" fmla="*/ 1609503 h 1827219"/>
              <a:gd name="connsiteX9" fmla="*/ 264145 w 2130202"/>
              <a:gd name="connsiteY9" fmla="*/ 789774 h 1827219"/>
              <a:gd name="connsiteX10" fmla="*/ 0 w 2130202"/>
              <a:gd name="connsiteY10" fmla="*/ 0 h 1827219"/>
              <a:gd name="connsiteX0" fmla="*/ 2104790 w 2130202"/>
              <a:gd name="connsiteY0" fmla="*/ 886382 h 1827219"/>
              <a:gd name="connsiteX1" fmla="*/ 2130202 w 2130202"/>
              <a:gd name="connsiteY1" fmla="*/ 910265 h 1827219"/>
              <a:gd name="connsiteX2" fmla="*/ 2104790 w 2130202"/>
              <a:gd name="connsiteY2" fmla="*/ 886382 h 1827219"/>
              <a:gd name="connsiteX3" fmla="*/ 0 w 2130202"/>
              <a:gd name="connsiteY3" fmla="*/ 0 h 1827219"/>
              <a:gd name="connsiteX4" fmla="*/ 1900448 w 2130202"/>
              <a:gd name="connsiteY4" fmla="*/ 697070 h 1827219"/>
              <a:gd name="connsiteX5" fmla="*/ 1591947 w 2130202"/>
              <a:gd name="connsiteY5" fmla="*/ 1417307 h 1827219"/>
              <a:gd name="connsiteX6" fmla="*/ 747346 w 2130202"/>
              <a:gd name="connsiteY6" fmla="*/ 1827219 h 1827219"/>
              <a:gd name="connsiteX7" fmla="*/ 0 w 2130202"/>
              <a:gd name="connsiteY7" fmla="*/ 1609503 h 1827219"/>
              <a:gd name="connsiteX8" fmla="*/ 264145 w 2130202"/>
              <a:gd name="connsiteY8" fmla="*/ 789774 h 1827219"/>
              <a:gd name="connsiteX9" fmla="*/ 0 w 2130202"/>
              <a:gd name="connsiteY9" fmla="*/ 0 h 1827219"/>
              <a:gd name="connsiteX0" fmla="*/ 0 w 1900448"/>
              <a:gd name="connsiteY0" fmla="*/ 0 h 1827219"/>
              <a:gd name="connsiteX1" fmla="*/ 1900448 w 1900448"/>
              <a:gd name="connsiteY1" fmla="*/ 697070 h 1827219"/>
              <a:gd name="connsiteX2" fmla="*/ 1591947 w 1900448"/>
              <a:gd name="connsiteY2" fmla="*/ 1417307 h 1827219"/>
              <a:gd name="connsiteX3" fmla="*/ 747346 w 1900448"/>
              <a:gd name="connsiteY3" fmla="*/ 1827219 h 1827219"/>
              <a:gd name="connsiteX4" fmla="*/ 0 w 1900448"/>
              <a:gd name="connsiteY4" fmla="*/ 1609503 h 1827219"/>
              <a:gd name="connsiteX5" fmla="*/ 264145 w 1900448"/>
              <a:gd name="connsiteY5" fmla="*/ 789774 h 1827219"/>
              <a:gd name="connsiteX6" fmla="*/ 0 w 1900448"/>
              <a:gd name="connsiteY6" fmla="*/ 0 h 182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0448" h="1827219">
                <a:moveTo>
                  <a:pt x="0" y="0"/>
                </a:moveTo>
                <a:cubicBezTo>
                  <a:pt x="721537" y="0"/>
                  <a:pt x="1383611" y="261067"/>
                  <a:pt x="1900448" y="697070"/>
                </a:cubicBezTo>
                <a:lnTo>
                  <a:pt x="1591947" y="1417307"/>
                </a:lnTo>
                <a:lnTo>
                  <a:pt x="747346" y="1827219"/>
                </a:lnTo>
                <a:cubicBezTo>
                  <a:pt x="530554" y="1688578"/>
                  <a:pt x="274282" y="1609503"/>
                  <a:pt x="0" y="1609503"/>
                </a:cubicBezTo>
                <a:lnTo>
                  <a:pt x="264145" y="789774"/>
                </a:lnTo>
                <a:lnTo>
                  <a:pt x="0" y="0"/>
                </a:lnTo>
                <a:close/>
              </a:path>
            </a:pathLst>
          </a:custGeom>
          <a:solidFill>
            <a:schemeClr val="bg2">
              <a:lumMod val="50000"/>
            </a:schemeClr>
          </a:solidFill>
          <a:ln w="508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51" name="Donut 24">
            <a:extLst>
              <a:ext uri="{FF2B5EF4-FFF2-40B4-BE49-F238E27FC236}">
                <a16:creationId xmlns:a16="http://schemas.microsoft.com/office/drawing/2014/main" id="{A01F9885-B639-130D-7CF0-93AC85172E6C}"/>
              </a:ext>
            </a:extLst>
          </p:cNvPr>
          <p:cNvSpPr/>
          <p:nvPr/>
        </p:nvSpPr>
        <p:spPr>
          <a:xfrm rot="13459168">
            <a:off x="2781017" y="2908749"/>
            <a:ext cx="1028442" cy="971841"/>
          </a:xfrm>
          <a:custGeom>
            <a:avLst/>
            <a:gdLst/>
            <a:ahLst/>
            <a:cxnLst/>
            <a:rect l="l" t="t" r="r" b="b"/>
            <a:pathLst>
              <a:path w="1680063" h="1587599">
                <a:moveTo>
                  <a:pt x="23469" y="0"/>
                </a:moveTo>
                <a:cubicBezTo>
                  <a:pt x="648030" y="25947"/>
                  <a:pt x="1221342" y="255814"/>
                  <a:pt x="1680063" y="628703"/>
                </a:cubicBezTo>
                <a:lnTo>
                  <a:pt x="1426718" y="1229154"/>
                </a:lnTo>
                <a:lnTo>
                  <a:pt x="662412" y="1587599"/>
                </a:lnTo>
                <a:cubicBezTo>
                  <a:pt x="463983" y="1479615"/>
                  <a:pt x="239095" y="1414515"/>
                  <a:pt x="0" y="1404060"/>
                </a:cubicBezTo>
                <a:lnTo>
                  <a:pt x="283794" y="677957"/>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29" name="Donut 24">
            <a:extLst>
              <a:ext uri="{FF2B5EF4-FFF2-40B4-BE49-F238E27FC236}">
                <a16:creationId xmlns:a16="http://schemas.microsoft.com/office/drawing/2014/main" id="{B0B3667E-8414-ADCB-61D4-0DD2959E21A5}"/>
              </a:ext>
            </a:extLst>
          </p:cNvPr>
          <p:cNvSpPr/>
          <p:nvPr/>
        </p:nvSpPr>
        <p:spPr>
          <a:xfrm rot="16200000">
            <a:off x="2725323" y="1726156"/>
            <a:ext cx="1163349" cy="1118523"/>
          </a:xfrm>
          <a:custGeom>
            <a:avLst/>
            <a:gdLst>
              <a:gd name="connsiteX0" fmla="*/ 970678 w 2130202"/>
              <a:gd name="connsiteY0" fmla="*/ 2000917 h 2043773"/>
              <a:gd name="connsiteX1" fmla="*/ 1016277 w 2130202"/>
              <a:gd name="connsiteY1" fmla="*/ 2043773 h 2043773"/>
              <a:gd name="connsiteX2" fmla="*/ 970678 w 2130202"/>
              <a:gd name="connsiteY2" fmla="*/ 2000917 h 2043773"/>
              <a:gd name="connsiteX3" fmla="*/ 2104790 w 2130202"/>
              <a:gd name="connsiteY3" fmla="*/ 886382 h 2043773"/>
              <a:gd name="connsiteX4" fmla="*/ 2130202 w 2130202"/>
              <a:gd name="connsiteY4" fmla="*/ 910265 h 2043773"/>
              <a:gd name="connsiteX5" fmla="*/ 2060315 w 2130202"/>
              <a:gd name="connsiteY5" fmla="*/ 981381 h 2043773"/>
              <a:gd name="connsiteX6" fmla="*/ 2104790 w 2130202"/>
              <a:gd name="connsiteY6" fmla="*/ 886382 h 2043773"/>
              <a:gd name="connsiteX7" fmla="*/ 0 w 2130202"/>
              <a:gd name="connsiteY7" fmla="*/ 0 h 2043773"/>
              <a:gd name="connsiteX8" fmla="*/ 1900448 w 2130202"/>
              <a:gd name="connsiteY8" fmla="*/ 697070 h 2043773"/>
              <a:gd name="connsiteX9" fmla="*/ 1591947 w 2130202"/>
              <a:gd name="connsiteY9" fmla="*/ 1417307 h 2043773"/>
              <a:gd name="connsiteX10" fmla="*/ 747346 w 2130202"/>
              <a:gd name="connsiteY10" fmla="*/ 1827219 h 2043773"/>
              <a:gd name="connsiteX11" fmla="*/ 0 w 2130202"/>
              <a:gd name="connsiteY11" fmla="*/ 1609503 h 2043773"/>
              <a:gd name="connsiteX12" fmla="*/ 264145 w 2130202"/>
              <a:gd name="connsiteY12" fmla="*/ 789774 h 2043773"/>
              <a:gd name="connsiteX13" fmla="*/ 0 w 2130202"/>
              <a:gd name="connsiteY13" fmla="*/ 0 h 2043773"/>
              <a:gd name="connsiteX0" fmla="*/ 2104790 w 2130202"/>
              <a:gd name="connsiteY0" fmla="*/ 886382 h 1827219"/>
              <a:gd name="connsiteX1" fmla="*/ 2130202 w 2130202"/>
              <a:gd name="connsiteY1" fmla="*/ 910265 h 1827219"/>
              <a:gd name="connsiteX2" fmla="*/ 2060315 w 2130202"/>
              <a:gd name="connsiteY2" fmla="*/ 981381 h 1827219"/>
              <a:gd name="connsiteX3" fmla="*/ 2104790 w 2130202"/>
              <a:gd name="connsiteY3" fmla="*/ 886382 h 1827219"/>
              <a:gd name="connsiteX4" fmla="*/ 0 w 2130202"/>
              <a:gd name="connsiteY4" fmla="*/ 0 h 1827219"/>
              <a:gd name="connsiteX5" fmla="*/ 1900448 w 2130202"/>
              <a:gd name="connsiteY5" fmla="*/ 697070 h 1827219"/>
              <a:gd name="connsiteX6" fmla="*/ 1591947 w 2130202"/>
              <a:gd name="connsiteY6" fmla="*/ 1417307 h 1827219"/>
              <a:gd name="connsiteX7" fmla="*/ 747346 w 2130202"/>
              <a:gd name="connsiteY7" fmla="*/ 1827219 h 1827219"/>
              <a:gd name="connsiteX8" fmla="*/ 0 w 2130202"/>
              <a:gd name="connsiteY8" fmla="*/ 1609503 h 1827219"/>
              <a:gd name="connsiteX9" fmla="*/ 264145 w 2130202"/>
              <a:gd name="connsiteY9" fmla="*/ 789774 h 1827219"/>
              <a:gd name="connsiteX10" fmla="*/ 0 w 2130202"/>
              <a:gd name="connsiteY10" fmla="*/ 0 h 1827219"/>
              <a:gd name="connsiteX0" fmla="*/ 2104790 w 2130202"/>
              <a:gd name="connsiteY0" fmla="*/ 886382 h 1827219"/>
              <a:gd name="connsiteX1" fmla="*/ 2130202 w 2130202"/>
              <a:gd name="connsiteY1" fmla="*/ 910265 h 1827219"/>
              <a:gd name="connsiteX2" fmla="*/ 2104790 w 2130202"/>
              <a:gd name="connsiteY2" fmla="*/ 886382 h 1827219"/>
              <a:gd name="connsiteX3" fmla="*/ 0 w 2130202"/>
              <a:gd name="connsiteY3" fmla="*/ 0 h 1827219"/>
              <a:gd name="connsiteX4" fmla="*/ 1900448 w 2130202"/>
              <a:gd name="connsiteY4" fmla="*/ 697070 h 1827219"/>
              <a:gd name="connsiteX5" fmla="*/ 1591947 w 2130202"/>
              <a:gd name="connsiteY5" fmla="*/ 1417307 h 1827219"/>
              <a:gd name="connsiteX6" fmla="*/ 747346 w 2130202"/>
              <a:gd name="connsiteY6" fmla="*/ 1827219 h 1827219"/>
              <a:gd name="connsiteX7" fmla="*/ 0 w 2130202"/>
              <a:gd name="connsiteY7" fmla="*/ 1609503 h 1827219"/>
              <a:gd name="connsiteX8" fmla="*/ 264145 w 2130202"/>
              <a:gd name="connsiteY8" fmla="*/ 789774 h 1827219"/>
              <a:gd name="connsiteX9" fmla="*/ 0 w 2130202"/>
              <a:gd name="connsiteY9" fmla="*/ 0 h 1827219"/>
              <a:gd name="connsiteX0" fmla="*/ 0 w 1900448"/>
              <a:gd name="connsiteY0" fmla="*/ 0 h 1827219"/>
              <a:gd name="connsiteX1" fmla="*/ 1900448 w 1900448"/>
              <a:gd name="connsiteY1" fmla="*/ 697070 h 1827219"/>
              <a:gd name="connsiteX2" fmla="*/ 1591947 w 1900448"/>
              <a:gd name="connsiteY2" fmla="*/ 1417307 h 1827219"/>
              <a:gd name="connsiteX3" fmla="*/ 747346 w 1900448"/>
              <a:gd name="connsiteY3" fmla="*/ 1827219 h 1827219"/>
              <a:gd name="connsiteX4" fmla="*/ 0 w 1900448"/>
              <a:gd name="connsiteY4" fmla="*/ 1609503 h 1827219"/>
              <a:gd name="connsiteX5" fmla="*/ 264145 w 1900448"/>
              <a:gd name="connsiteY5" fmla="*/ 789774 h 1827219"/>
              <a:gd name="connsiteX6" fmla="*/ 0 w 1900448"/>
              <a:gd name="connsiteY6" fmla="*/ 0 h 182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0448" h="1827219">
                <a:moveTo>
                  <a:pt x="0" y="0"/>
                </a:moveTo>
                <a:cubicBezTo>
                  <a:pt x="721537" y="0"/>
                  <a:pt x="1383611" y="261067"/>
                  <a:pt x="1900448" y="697070"/>
                </a:cubicBezTo>
                <a:lnTo>
                  <a:pt x="1591947" y="1417307"/>
                </a:lnTo>
                <a:lnTo>
                  <a:pt x="747346" y="1827219"/>
                </a:lnTo>
                <a:cubicBezTo>
                  <a:pt x="530554" y="1688578"/>
                  <a:pt x="274282" y="1609503"/>
                  <a:pt x="0" y="1609503"/>
                </a:cubicBezTo>
                <a:lnTo>
                  <a:pt x="264145" y="789774"/>
                </a:lnTo>
                <a:lnTo>
                  <a:pt x="0" y="0"/>
                </a:lnTo>
                <a:close/>
              </a:path>
            </a:pathLst>
          </a:custGeom>
          <a:solidFill>
            <a:schemeClr val="bg2">
              <a:lumMod val="50000"/>
            </a:schemeClr>
          </a:solidFill>
          <a:ln w="508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30" name="Donut 24">
            <a:extLst>
              <a:ext uri="{FF2B5EF4-FFF2-40B4-BE49-F238E27FC236}">
                <a16:creationId xmlns:a16="http://schemas.microsoft.com/office/drawing/2014/main" id="{7ECF0D62-653D-DD84-50B5-4ACD4A257C71}"/>
              </a:ext>
            </a:extLst>
          </p:cNvPr>
          <p:cNvSpPr/>
          <p:nvPr/>
        </p:nvSpPr>
        <p:spPr>
          <a:xfrm rot="16200000">
            <a:off x="2777428" y="1806925"/>
            <a:ext cx="1028442" cy="971841"/>
          </a:xfrm>
          <a:custGeom>
            <a:avLst/>
            <a:gdLst/>
            <a:ahLst/>
            <a:cxnLst/>
            <a:rect l="l" t="t" r="r" b="b"/>
            <a:pathLst>
              <a:path w="1680063" h="1587599">
                <a:moveTo>
                  <a:pt x="23469" y="0"/>
                </a:moveTo>
                <a:cubicBezTo>
                  <a:pt x="648030" y="25947"/>
                  <a:pt x="1221342" y="255814"/>
                  <a:pt x="1680063" y="628703"/>
                </a:cubicBezTo>
                <a:lnTo>
                  <a:pt x="1426718" y="1229154"/>
                </a:lnTo>
                <a:lnTo>
                  <a:pt x="662412" y="1587599"/>
                </a:lnTo>
                <a:cubicBezTo>
                  <a:pt x="463983" y="1479615"/>
                  <a:pt x="239095" y="1414515"/>
                  <a:pt x="0" y="1404060"/>
                </a:cubicBezTo>
                <a:lnTo>
                  <a:pt x="283794" y="677957"/>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27" name="Donut 24">
            <a:extLst>
              <a:ext uri="{FF2B5EF4-FFF2-40B4-BE49-F238E27FC236}">
                <a16:creationId xmlns:a16="http://schemas.microsoft.com/office/drawing/2014/main" id="{8BF17C80-DB67-49AF-1707-30D466E585F5}"/>
              </a:ext>
            </a:extLst>
          </p:cNvPr>
          <p:cNvSpPr/>
          <p:nvPr/>
        </p:nvSpPr>
        <p:spPr>
          <a:xfrm rot="18859168">
            <a:off x="3498289" y="1001910"/>
            <a:ext cx="1163349" cy="1118523"/>
          </a:xfrm>
          <a:custGeom>
            <a:avLst/>
            <a:gdLst>
              <a:gd name="connsiteX0" fmla="*/ 970678 w 2130202"/>
              <a:gd name="connsiteY0" fmla="*/ 2000917 h 2043773"/>
              <a:gd name="connsiteX1" fmla="*/ 1016277 w 2130202"/>
              <a:gd name="connsiteY1" fmla="*/ 2043773 h 2043773"/>
              <a:gd name="connsiteX2" fmla="*/ 970678 w 2130202"/>
              <a:gd name="connsiteY2" fmla="*/ 2000917 h 2043773"/>
              <a:gd name="connsiteX3" fmla="*/ 2104790 w 2130202"/>
              <a:gd name="connsiteY3" fmla="*/ 886382 h 2043773"/>
              <a:gd name="connsiteX4" fmla="*/ 2130202 w 2130202"/>
              <a:gd name="connsiteY4" fmla="*/ 910265 h 2043773"/>
              <a:gd name="connsiteX5" fmla="*/ 2060315 w 2130202"/>
              <a:gd name="connsiteY5" fmla="*/ 981381 h 2043773"/>
              <a:gd name="connsiteX6" fmla="*/ 2104790 w 2130202"/>
              <a:gd name="connsiteY6" fmla="*/ 886382 h 2043773"/>
              <a:gd name="connsiteX7" fmla="*/ 0 w 2130202"/>
              <a:gd name="connsiteY7" fmla="*/ 0 h 2043773"/>
              <a:gd name="connsiteX8" fmla="*/ 1900448 w 2130202"/>
              <a:gd name="connsiteY8" fmla="*/ 697070 h 2043773"/>
              <a:gd name="connsiteX9" fmla="*/ 1591947 w 2130202"/>
              <a:gd name="connsiteY9" fmla="*/ 1417307 h 2043773"/>
              <a:gd name="connsiteX10" fmla="*/ 747346 w 2130202"/>
              <a:gd name="connsiteY10" fmla="*/ 1827219 h 2043773"/>
              <a:gd name="connsiteX11" fmla="*/ 0 w 2130202"/>
              <a:gd name="connsiteY11" fmla="*/ 1609503 h 2043773"/>
              <a:gd name="connsiteX12" fmla="*/ 264145 w 2130202"/>
              <a:gd name="connsiteY12" fmla="*/ 789774 h 2043773"/>
              <a:gd name="connsiteX13" fmla="*/ 0 w 2130202"/>
              <a:gd name="connsiteY13" fmla="*/ 0 h 2043773"/>
              <a:gd name="connsiteX0" fmla="*/ 2104790 w 2130202"/>
              <a:gd name="connsiteY0" fmla="*/ 886382 h 1827219"/>
              <a:gd name="connsiteX1" fmla="*/ 2130202 w 2130202"/>
              <a:gd name="connsiteY1" fmla="*/ 910265 h 1827219"/>
              <a:gd name="connsiteX2" fmla="*/ 2060315 w 2130202"/>
              <a:gd name="connsiteY2" fmla="*/ 981381 h 1827219"/>
              <a:gd name="connsiteX3" fmla="*/ 2104790 w 2130202"/>
              <a:gd name="connsiteY3" fmla="*/ 886382 h 1827219"/>
              <a:gd name="connsiteX4" fmla="*/ 0 w 2130202"/>
              <a:gd name="connsiteY4" fmla="*/ 0 h 1827219"/>
              <a:gd name="connsiteX5" fmla="*/ 1900448 w 2130202"/>
              <a:gd name="connsiteY5" fmla="*/ 697070 h 1827219"/>
              <a:gd name="connsiteX6" fmla="*/ 1591947 w 2130202"/>
              <a:gd name="connsiteY6" fmla="*/ 1417307 h 1827219"/>
              <a:gd name="connsiteX7" fmla="*/ 747346 w 2130202"/>
              <a:gd name="connsiteY7" fmla="*/ 1827219 h 1827219"/>
              <a:gd name="connsiteX8" fmla="*/ 0 w 2130202"/>
              <a:gd name="connsiteY8" fmla="*/ 1609503 h 1827219"/>
              <a:gd name="connsiteX9" fmla="*/ 264145 w 2130202"/>
              <a:gd name="connsiteY9" fmla="*/ 789774 h 1827219"/>
              <a:gd name="connsiteX10" fmla="*/ 0 w 2130202"/>
              <a:gd name="connsiteY10" fmla="*/ 0 h 1827219"/>
              <a:gd name="connsiteX0" fmla="*/ 2104790 w 2130202"/>
              <a:gd name="connsiteY0" fmla="*/ 886382 h 1827219"/>
              <a:gd name="connsiteX1" fmla="*/ 2130202 w 2130202"/>
              <a:gd name="connsiteY1" fmla="*/ 910265 h 1827219"/>
              <a:gd name="connsiteX2" fmla="*/ 2104790 w 2130202"/>
              <a:gd name="connsiteY2" fmla="*/ 886382 h 1827219"/>
              <a:gd name="connsiteX3" fmla="*/ 0 w 2130202"/>
              <a:gd name="connsiteY3" fmla="*/ 0 h 1827219"/>
              <a:gd name="connsiteX4" fmla="*/ 1900448 w 2130202"/>
              <a:gd name="connsiteY4" fmla="*/ 697070 h 1827219"/>
              <a:gd name="connsiteX5" fmla="*/ 1591947 w 2130202"/>
              <a:gd name="connsiteY5" fmla="*/ 1417307 h 1827219"/>
              <a:gd name="connsiteX6" fmla="*/ 747346 w 2130202"/>
              <a:gd name="connsiteY6" fmla="*/ 1827219 h 1827219"/>
              <a:gd name="connsiteX7" fmla="*/ 0 w 2130202"/>
              <a:gd name="connsiteY7" fmla="*/ 1609503 h 1827219"/>
              <a:gd name="connsiteX8" fmla="*/ 264145 w 2130202"/>
              <a:gd name="connsiteY8" fmla="*/ 789774 h 1827219"/>
              <a:gd name="connsiteX9" fmla="*/ 0 w 2130202"/>
              <a:gd name="connsiteY9" fmla="*/ 0 h 1827219"/>
              <a:gd name="connsiteX0" fmla="*/ 0 w 1900448"/>
              <a:gd name="connsiteY0" fmla="*/ 0 h 1827219"/>
              <a:gd name="connsiteX1" fmla="*/ 1900448 w 1900448"/>
              <a:gd name="connsiteY1" fmla="*/ 697070 h 1827219"/>
              <a:gd name="connsiteX2" fmla="*/ 1591947 w 1900448"/>
              <a:gd name="connsiteY2" fmla="*/ 1417307 h 1827219"/>
              <a:gd name="connsiteX3" fmla="*/ 747346 w 1900448"/>
              <a:gd name="connsiteY3" fmla="*/ 1827219 h 1827219"/>
              <a:gd name="connsiteX4" fmla="*/ 0 w 1900448"/>
              <a:gd name="connsiteY4" fmla="*/ 1609503 h 1827219"/>
              <a:gd name="connsiteX5" fmla="*/ 264145 w 1900448"/>
              <a:gd name="connsiteY5" fmla="*/ 789774 h 1827219"/>
              <a:gd name="connsiteX6" fmla="*/ 0 w 1900448"/>
              <a:gd name="connsiteY6" fmla="*/ 0 h 182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0448" h="1827219">
                <a:moveTo>
                  <a:pt x="0" y="0"/>
                </a:moveTo>
                <a:cubicBezTo>
                  <a:pt x="721537" y="0"/>
                  <a:pt x="1383611" y="261067"/>
                  <a:pt x="1900448" y="697070"/>
                </a:cubicBezTo>
                <a:lnTo>
                  <a:pt x="1591947" y="1417307"/>
                </a:lnTo>
                <a:lnTo>
                  <a:pt x="747346" y="1827219"/>
                </a:lnTo>
                <a:cubicBezTo>
                  <a:pt x="530554" y="1688578"/>
                  <a:pt x="274282" y="1609503"/>
                  <a:pt x="0" y="1609503"/>
                </a:cubicBezTo>
                <a:lnTo>
                  <a:pt x="264145" y="789774"/>
                </a:lnTo>
                <a:lnTo>
                  <a:pt x="0" y="0"/>
                </a:lnTo>
                <a:close/>
              </a:path>
            </a:pathLst>
          </a:custGeom>
          <a:solidFill>
            <a:schemeClr val="bg2">
              <a:lumMod val="50000"/>
            </a:schemeClr>
          </a:solidFill>
          <a:ln w="508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28" name="Donut 24">
            <a:extLst>
              <a:ext uri="{FF2B5EF4-FFF2-40B4-BE49-F238E27FC236}">
                <a16:creationId xmlns:a16="http://schemas.microsoft.com/office/drawing/2014/main" id="{1FA4CDEA-28D6-938E-7700-D710AE90A0D7}"/>
              </a:ext>
            </a:extLst>
          </p:cNvPr>
          <p:cNvSpPr/>
          <p:nvPr/>
        </p:nvSpPr>
        <p:spPr>
          <a:xfrm rot="18859168">
            <a:off x="3562489" y="1064400"/>
            <a:ext cx="1028442" cy="971841"/>
          </a:xfrm>
          <a:custGeom>
            <a:avLst/>
            <a:gdLst/>
            <a:ahLst/>
            <a:cxnLst/>
            <a:rect l="l" t="t" r="r" b="b"/>
            <a:pathLst>
              <a:path w="1680063" h="1587599">
                <a:moveTo>
                  <a:pt x="23469" y="0"/>
                </a:moveTo>
                <a:cubicBezTo>
                  <a:pt x="648030" y="25947"/>
                  <a:pt x="1221342" y="255814"/>
                  <a:pt x="1680063" y="628703"/>
                </a:cubicBezTo>
                <a:lnTo>
                  <a:pt x="1426718" y="1229154"/>
                </a:lnTo>
                <a:lnTo>
                  <a:pt x="662412" y="1587599"/>
                </a:lnTo>
                <a:cubicBezTo>
                  <a:pt x="463983" y="1479615"/>
                  <a:pt x="239095" y="1414515"/>
                  <a:pt x="0" y="1404060"/>
                </a:cubicBezTo>
                <a:lnTo>
                  <a:pt x="283794" y="677957"/>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45659"/>
              </a:solidFill>
              <a:effectLst/>
              <a:uLnTx/>
              <a:uFillTx/>
              <a:latin typeface="Arial" panose="020B0604020202020204"/>
              <a:ea typeface="+mn-ea"/>
              <a:cs typeface="+mn-cs"/>
            </a:endParaRPr>
          </a:p>
        </p:txBody>
      </p:sp>
      <p:sp>
        <p:nvSpPr>
          <p:cNvPr id="68" name="Freeform 229">
            <a:extLst>
              <a:ext uri="{FF2B5EF4-FFF2-40B4-BE49-F238E27FC236}">
                <a16:creationId xmlns:a16="http://schemas.microsoft.com/office/drawing/2014/main" id="{677A0E00-99AE-07D2-E692-2448373DA88F}"/>
              </a:ext>
            </a:extLst>
          </p:cNvPr>
          <p:cNvSpPr/>
          <p:nvPr/>
        </p:nvSpPr>
        <p:spPr>
          <a:xfrm rot="18999791">
            <a:off x="5840211" y="2176116"/>
            <a:ext cx="256490" cy="446740"/>
          </a:xfrm>
          <a:custGeom>
            <a:avLst/>
            <a:gdLst>
              <a:gd name="connsiteX0" fmla="*/ 1792357 w 2278359"/>
              <a:gd name="connsiteY0" fmla="*/ 471044 h 3989954"/>
              <a:gd name="connsiteX1" fmla="*/ 434587 w 2278359"/>
              <a:gd name="connsiteY1" fmla="*/ 510467 h 3989954"/>
              <a:gd name="connsiteX2" fmla="*/ 474013 w 2278359"/>
              <a:gd name="connsiteY2" fmla="*/ 1868237 h 3989954"/>
              <a:gd name="connsiteX3" fmla="*/ 1831783 w 2278359"/>
              <a:gd name="connsiteY3" fmla="*/ 1828814 h 3989954"/>
              <a:gd name="connsiteX4" fmla="*/ 1792357 w 2278359"/>
              <a:gd name="connsiteY4" fmla="*/ 471044 h 3989954"/>
              <a:gd name="connsiteX5" fmla="*/ 1885333 w 2278359"/>
              <a:gd name="connsiteY5" fmla="*/ 283261 h 3989954"/>
              <a:gd name="connsiteX6" fmla="*/ 1969376 w 2278359"/>
              <a:gd name="connsiteY6" fmla="*/ 365568 h 3989954"/>
              <a:gd name="connsiteX7" fmla="*/ 1919239 w 2278359"/>
              <a:gd name="connsiteY7" fmla="*/ 2004733 h 3989954"/>
              <a:gd name="connsiteX8" fmla="*/ 1321847 w 2278359"/>
              <a:gd name="connsiteY8" fmla="*/ 2304377 h 3989954"/>
              <a:gd name="connsiteX9" fmla="*/ 1255970 w 2278359"/>
              <a:gd name="connsiteY9" fmla="*/ 2308700 h 3989954"/>
              <a:gd name="connsiteX10" fmla="*/ 1255970 w 2278359"/>
              <a:gd name="connsiteY10" fmla="*/ 2543326 h 3989954"/>
              <a:gd name="connsiteX11" fmla="*/ 1309237 w 2278359"/>
              <a:gd name="connsiteY11" fmla="*/ 2582393 h 3989954"/>
              <a:gd name="connsiteX12" fmla="*/ 1395670 w 2278359"/>
              <a:gd name="connsiteY12" fmla="*/ 2815036 h 3989954"/>
              <a:gd name="connsiteX13" fmla="*/ 1369365 w 2278359"/>
              <a:gd name="connsiteY13" fmla="*/ 3675091 h 3989954"/>
              <a:gd name="connsiteX14" fmla="*/ 1040345 w 2278359"/>
              <a:gd name="connsiteY14" fmla="*/ 3989794 h 3989954"/>
              <a:gd name="connsiteX15" fmla="*/ 1040345 w 2278359"/>
              <a:gd name="connsiteY15" fmla="*/ 3989790 h 3989954"/>
              <a:gd name="connsiteX16" fmla="*/ 731192 w 2278359"/>
              <a:gd name="connsiteY16" fmla="*/ 3654862 h 3989954"/>
              <a:gd name="connsiteX17" fmla="*/ 757502 w 2278359"/>
              <a:gd name="connsiteY17" fmla="*/ 2794811 h 3989954"/>
              <a:gd name="connsiteX18" fmla="*/ 857986 w 2278359"/>
              <a:gd name="connsiteY18" fmla="*/ 2568093 h 3989954"/>
              <a:gd name="connsiteX19" fmla="*/ 934106 w 2278359"/>
              <a:gd name="connsiteY19" fmla="*/ 2519287 h 3989954"/>
              <a:gd name="connsiteX20" fmla="*/ 934106 w 2278359"/>
              <a:gd name="connsiteY20" fmla="*/ 2296711 h 3989954"/>
              <a:gd name="connsiteX21" fmla="*/ 886906 w 2278359"/>
              <a:gd name="connsiteY21" fmla="*/ 2290589 h 3989954"/>
              <a:gd name="connsiteX22" fmla="*/ 308981 w 2278359"/>
              <a:gd name="connsiteY22" fmla="*/ 1953696 h 3989954"/>
              <a:gd name="connsiteX23" fmla="*/ 359117 w 2278359"/>
              <a:gd name="connsiteY23" fmla="*/ 314532 h 3989954"/>
              <a:gd name="connsiteX24" fmla="*/ 1885333 w 2278359"/>
              <a:gd name="connsiteY24" fmla="*/ 283261 h 398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78359" h="3989954">
                <a:moveTo>
                  <a:pt x="1792357" y="471044"/>
                </a:moveTo>
                <a:cubicBezTo>
                  <a:pt x="1406533" y="106992"/>
                  <a:pt x="798638" y="124643"/>
                  <a:pt x="434587" y="510467"/>
                </a:cubicBezTo>
                <a:cubicBezTo>
                  <a:pt x="70537" y="896291"/>
                  <a:pt x="88188" y="1504185"/>
                  <a:pt x="474013" y="1868237"/>
                </a:cubicBezTo>
                <a:cubicBezTo>
                  <a:pt x="859838" y="2232288"/>
                  <a:pt x="1467733" y="2214638"/>
                  <a:pt x="1831783" y="1828814"/>
                </a:cubicBezTo>
                <a:cubicBezTo>
                  <a:pt x="2195834" y="1442990"/>
                  <a:pt x="2178182" y="835095"/>
                  <a:pt x="1792357" y="471044"/>
                </a:cubicBezTo>
                <a:close/>
                <a:moveTo>
                  <a:pt x="1885333" y="283261"/>
                </a:moveTo>
                <a:cubicBezTo>
                  <a:pt x="1914390" y="308960"/>
                  <a:pt x="1942450" y="336397"/>
                  <a:pt x="1969376" y="365568"/>
                </a:cubicBezTo>
                <a:cubicBezTo>
                  <a:pt x="2400194" y="832304"/>
                  <a:pt x="2377747" y="1566184"/>
                  <a:pt x="1919239" y="2004733"/>
                </a:cubicBezTo>
                <a:cubicBezTo>
                  <a:pt x="1747300" y="2169194"/>
                  <a:pt x="1538456" y="2268763"/>
                  <a:pt x="1321847" y="2304377"/>
                </a:cubicBezTo>
                <a:lnTo>
                  <a:pt x="1255970" y="2308700"/>
                </a:lnTo>
                <a:lnTo>
                  <a:pt x="1255970" y="2543326"/>
                </a:lnTo>
                <a:lnTo>
                  <a:pt x="1309237" y="2582393"/>
                </a:lnTo>
                <a:cubicBezTo>
                  <a:pt x="1365185" y="2643003"/>
                  <a:pt x="1398412" y="2725341"/>
                  <a:pt x="1395670" y="2815036"/>
                </a:cubicBezTo>
                <a:lnTo>
                  <a:pt x="1369365" y="3675091"/>
                </a:lnTo>
                <a:cubicBezTo>
                  <a:pt x="1363875" y="3854485"/>
                  <a:pt x="1216570" y="3995377"/>
                  <a:pt x="1040345" y="3989794"/>
                </a:cubicBezTo>
                <a:lnTo>
                  <a:pt x="1040345" y="3989790"/>
                </a:lnTo>
                <a:cubicBezTo>
                  <a:pt x="864115" y="3984202"/>
                  <a:pt x="725707" y="3834251"/>
                  <a:pt x="731192" y="3654862"/>
                </a:cubicBezTo>
                <a:lnTo>
                  <a:pt x="757502" y="2794811"/>
                </a:lnTo>
                <a:cubicBezTo>
                  <a:pt x="760244" y="2705112"/>
                  <a:pt x="798445" y="2625041"/>
                  <a:pt x="857986" y="2568093"/>
                </a:cubicBezTo>
                <a:lnTo>
                  <a:pt x="934106" y="2519287"/>
                </a:lnTo>
                <a:lnTo>
                  <a:pt x="934106" y="2296711"/>
                </a:lnTo>
                <a:lnTo>
                  <a:pt x="886906" y="2290589"/>
                </a:lnTo>
                <a:cubicBezTo>
                  <a:pt x="672890" y="2241330"/>
                  <a:pt x="470536" y="2128727"/>
                  <a:pt x="308981" y="1953696"/>
                </a:cubicBezTo>
                <a:cubicBezTo>
                  <a:pt x="-121834" y="1486961"/>
                  <a:pt x="-99387" y="753081"/>
                  <a:pt x="359117" y="314532"/>
                </a:cubicBezTo>
                <a:cubicBezTo>
                  <a:pt x="788968" y="-96612"/>
                  <a:pt x="1449465" y="-102226"/>
                  <a:pt x="1885333" y="283261"/>
                </a:cubicBezTo>
                <a:close/>
              </a:path>
            </a:pathLst>
          </a:custGeom>
          <a:solidFill>
            <a:schemeClr val="bg1"/>
          </a:solidFill>
          <a:ln w="12700" cap="flat" cmpd="sng" algn="ctr">
            <a:noFill/>
            <a:prstDash val="solid"/>
            <a:miter lim="800000"/>
          </a:ln>
          <a:effectLst/>
        </p:spPr>
        <p:txBody>
          <a:bodyPr wrap="square" rtlCol="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91" b="0" i="0" u="none" strike="noStrike" kern="0" cap="none" spc="0" normalizeH="0" baseline="0" noProof="0">
              <a:ln>
                <a:noFill/>
              </a:ln>
              <a:solidFill>
                <a:srgbClr val="002060"/>
              </a:solidFill>
              <a:effectLst/>
              <a:uLnTx/>
              <a:uFillTx/>
              <a:latin typeface="Calibri" charset="0"/>
              <a:ea typeface="ＭＳ Ｐゴシック" charset="0"/>
            </a:endParaRPr>
          </a:p>
        </p:txBody>
      </p:sp>
      <p:sp>
        <p:nvSpPr>
          <p:cNvPr id="69" name="Freeform 1230">
            <a:extLst>
              <a:ext uri="{FF2B5EF4-FFF2-40B4-BE49-F238E27FC236}">
                <a16:creationId xmlns:a16="http://schemas.microsoft.com/office/drawing/2014/main" id="{22B36177-9F94-FEB6-D5E1-21B09159367B}"/>
              </a:ext>
            </a:extLst>
          </p:cNvPr>
          <p:cNvSpPr/>
          <p:nvPr/>
        </p:nvSpPr>
        <p:spPr>
          <a:xfrm>
            <a:off x="4928738" y="3870956"/>
            <a:ext cx="316682" cy="461265"/>
          </a:xfrm>
          <a:custGeom>
            <a:avLst/>
            <a:gdLst>
              <a:gd name="connsiteX0" fmla="*/ 429428 w 560646"/>
              <a:gd name="connsiteY0" fmla="*/ 703064 h 816614"/>
              <a:gd name="connsiteX1" fmla="*/ 429494 w 560646"/>
              <a:gd name="connsiteY1" fmla="*/ 767268 h 816614"/>
              <a:gd name="connsiteX2" fmla="*/ 353936 w 560646"/>
              <a:gd name="connsiteY2" fmla="*/ 767163 h 816614"/>
              <a:gd name="connsiteX3" fmla="*/ 353936 w 560646"/>
              <a:gd name="connsiteY3" fmla="*/ 777446 h 816614"/>
              <a:gd name="connsiteX4" fmla="*/ 314768 w 560646"/>
              <a:gd name="connsiteY4" fmla="*/ 816614 h 816614"/>
              <a:gd name="connsiteX5" fmla="*/ 252826 w 560646"/>
              <a:gd name="connsiteY5" fmla="*/ 816614 h 816614"/>
              <a:gd name="connsiteX6" fmla="*/ 213658 w 560646"/>
              <a:gd name="connsiteY6" fmla="*/ 777446 h 816614"/>
              <a:gd name="connsiteX7" fmla="*/ 213658 w 560646"/>
              <a:gd name="connsiteY7" fmla="*/ 766967 h 816614"/>
              <a:gd name="connsiteX8" fmla="*/ 139427 w 560646"/>
              <a:gd name="connsiteY8" fmla="*/ 766863 h 816614"/>
              <a:gd name="connsiteX9" fmla="*/ 139070 w 560646"/>
              <a:gd name="connsiteY9" fmla="*/ 743204 h 816614"/>
              <a:gd name="connsiteX10" fmla="*/ 430826 w 560646"/>
              <a:gd name="connsiteY10" fmla="*/ 638515 h 816614"/>
              <a:gd name="connsiteX11" fmla="*/ 430892 w 560646"/>
              <a:gd name="connsiteY11" fmla="*/ 686535 h 816614"/>
              <a:gd name="connsiteX12" fmla="*/ 139071 w 560646"/>
              <a:gd name="connsiteY12" fmla="*/ 719001 h 816614"/>
              <a:gd name="connsiteX13" fmla="*/ 139071 w 560646"/>
              <a:gd name="connsiteY13" fmla="*/ 667944 h 816614"/>
              <a:gd name="connsiteX14" fmla="*/ 314447 w 560646"/>
              <a:gd name="connsiteY14" fmla="*/ 78944 h 816614"/>
              <a:gd name="connsiteX15" fmla="*/ 303179 w 560646"/>
              <a:gd name="connsiteY15" fmla="*/ 105972 h 816614"/>
              <a:gd name="connsiteX16" fmla="*/ 163313 w 560646"/>
              <a:gd name="connsiteY16" fmla="*/ 172157 h 816614"/>
              <a:gd name="connsiteX17" fmla="*/ 103640 w 560646"/>
              <a:gd name="connsiteY17" fmla="*/ 302433 h 816614"/>
              <a:gd name="connsiteX18" fmla="*/ 75512 w 560646"/>
              <a:gd name="connsiteY18" fmla="*/ 303024 h 816614"/>
              <a:gd name="connsiteX19" fmla="*/ 140194 w 560646"/>
              <a:gd name="connsiteY19" fmla="*/ 147456 h 816614"/>
              <a:gd name="connsiteX20" fmla="*/ 314447 w 560646"/>
              <a:gd name="connsiteY20" fmla="*/ 78944 h 816614"/>
              <a:gd name="connsiteX21" fmla="*/ 280323 w 560646"/>
              <a:gd name="connsiteY21" fmla="*/ 42384 h 816614"/>
              <a:gd name="connsiteX22" fmla="*/ 42384 w 560646"/>
              <a:gd name="connsiteY22" fmla="*/ 280322 h 816614"/>
              <a:gd name="connsiteX23" fmla="*/ 166908 w 560646"/>
              <a:gd name="connsiteY23" fmla="*/ 489543 h 816614"/>
              <a:gd name="connsiteX24" fmla="*/ 177566 w 560646"/>
              <a:gd name="connsiteY24" fmla="*/ 494911 h 816614"/>
              <a:gd name="connsiteX25" fmla="*/ 177634 w 560646"/>
              <a:gd name="connsiteY25" fmla="*/ 584720 h 816614"/>
              <a:gd name="connsiteX26" fmla="*/ 382925 w 560646"/>
              <a:gd name="connsiteY26" fmla="*/ 584720 h 816614"/>
              <a:gd name="connsiteX27" fmla="*/ 383081 w 560646"/>
              <a:gd name="connsiteY27" fmla="*/ 494911 h 816614"/>
              <a:gd name="connsiteX28" fmla="*/ 393739 w 560646"/>
              <a:gd name="connsiteY28" fmla="*/ 489543 h 816614"/>
              <a:gd name="connsiteX29" fmla="*/ 518262 w 560646"/>
              <a:gd name="connsiteY29" fmla="*/ 280322 h 816614"/>
              <a:gd name="connsiteX30" fmla="*/ 280323 w 560646"/>
              <a:gd name="connsiteY30" fmla="*/ 42384 h 816614"/>
              <a:gd name="connsiteX31" fmla="*/ 280323 w 560646"/>
              <a:gd name="connsiteY31" fmla="*/ 0 h 816614"/>
              <a:gd name="connsiteX32" fmla="*/ 560646 w 560646"/>
              <a:gd name="connsiteY32" fmla="*/ 280322 h 816614"/>
              <a:gd name="connsiteX33" fmla="*/ 458635 w 560646"/>
              <a:gd name="connsiteY33" fmla="*/ 496633 h 816614"/>
              <a:gd name="connsiteX34" fmla="*/ 430147 w 560646"/>
              <a:gd name="connsiteY34" fmla="*/ 516887 h 816614"/>
              <a:gd name="connsiteX35" fmla="*/ 430433 w 560646"/>
              <a:gd name="connsiteY35" fmla="*/ 621818 h 816614"/>
              <a:gd name="connsiteX36" fmla="*/ 137515 w 560646"/>
              <a:gd name="connsiteY36" fmla="*/ 640883 h 816614"/>
              <a:gd name="connsiteX37" fmla="*/ 137515 w 560646"/>
              <a:gd name="connsiteY37" fmla="*/ 521367 h 816614"/>
              <a:gd name="connsiteX38" fmla="*/ 134966 w 560646"/>
              <a:gd name="connsiteY38" fmla="*/ 520062 h 816614"/>
              <a:gd name="connsiteX39" fmla="*/ 0 w 560646"/>
              <a:gd name="connsiteY39" fmla="*/ 280322 h 816614"/>
              <a:gd name="connsiteX40" fmla="*/ 280323 w 560646"/>
              <a:gd name="connsiteY40" fmla="*/ 0 h 81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60646" h="816614">
                <a:moveTo>
                  <a:pt x="429428" y="703064"/>
                </a:moveTo>
                <a:cubicBezTo>
                  <a:pt x="429428" y="715532"/>
                  <a:pt x="429494" y="754799"/>
                  <a:pt x="429494" y="767268"/>
                </a:cubicBezTo>
                <a:lnTo>
                  <a:pt x="353936" y="767163"/>
                </a:lnTo>
                <a:lnTo>
                  <a:pt x="353936" y="777446"/>
                </a:lnTo>
                <a:cubicBezTo>
                  <a:pt x="353936" y="799078"/>
                  <a:pt x="336401" y="816614"/>
                  <a:pt x="314768" y="816614"/>
                </a:cubicBezTo>
                <a:lnTo>
                  <a:pt x="252826" y="816614"/>
                </a:lnTo>
                <a:cubicBezTo>
                  <a:pt x="231194" y="816614"/>
                  <a:pt x="213658" y="799078"/>
                  <a:pt x="213658" y="777446"/>
                </a:cubicBezTo>
                <a:lnTo>
                  <a:pt x="213658" y="766967"/>
                </a:lnTo>
                <a:lnTo>
                  <a:pt x="139427" y="766863"/>
                </a:lnTo>
                <a:cubicBezTo>
                  <a:pt x="139308" y="758977"/>
                  <a:pt x="139189" y="751090"/>
                  <a:pt x="139070" y="743204"/>
                </a:cubicBezTo>
                <a:close/>
                <a:moveTo>
                  <a:pt x="430826" y="638515"/>
                </a:moveTo>
                <a:cubicBezTo>
                  <a:pt x="430826" y="650983"/>
                  <a:pt x="430892" y="674067"/>
                  <a:pt x="430892" y="686535"/>
                </a:cubicBezTo>
                <a:lnTo>
                  <a:pt x="139071" y="719001"/>
                </a:lnTo>
                <a:lnTo>
                  <a:pt x="139071" y="667944"/>
                </a:lnTo>
                <a:close/>
                <a:moveTo>
                  <a:pt x="314447" y="78944"/>
                </a:moveTo>
                <a:cubicBezTo>
                  <a:pt x="337580" y="84984"/>
                  <a:pt x="321906" y="105539"/>
                  <a:pt x="303179" y="105972"/>
                </a:cubicBezTo>
                <a:cubicBezTo>
                  <a:pt x="259453" y="111873"/>
                  <a:pt x="198310" y="139936"/>
                  <a:pt x="163313" y="172157"/>
                </a:cubicBezTo>
                <a:cubicBezTo>
                  <a:pt x="128315" y="204378"/>
                  <a:pt x="112110" y="256392"/>
                  <a:pt x="103640" y="302433"/>
                </a:cubicBezTo>
                <a:cubicBezTo>
                  <a:pt x="100013" y="321990"/>
                  <a:pt x="76866" y="319702"/>
                  <a:pt x="75512" y="303024"/>
                </a:cubicBezTo>
                <a:cubicBezTo>
                  <a:pt x="74625" y="254490"/>
                  <a:pt x="102479" y="182781"/>
                  <a:pt x="140194" y="147456"/>
                </a:cubicBezTo>
                <a:cubicBezTo>
                  <a:pt x="193973" y="95726"/>
                  <a:pt x="274414" y="73778"/>
                  <a:pt x="314447" y="78944"/>
                </a:cubicBezTo>
                <a:close/>
                <a:moveTo>
                  <a:pt x="280323" y="42384"/>
                </a:moveTo>
                <a:cubicBezTo>
                  <a:pt x="148913" y="42384"/>
                  <a:pt x="42384" y="148913"/>
                  <a:pt x="42384" y="280322"/>
                </a:cubicBezTo>
                <a:cubicBezTo>
                  <a:pt x="42384" y="370667"/>
                  <a:pt x="92736" y="449251"/>
                  <a:pt x="166908" y="489543"/>
                </a:cubicBezTo>
                <a:lnTo>
                  <a:pt x="177566" y="494911"/>
                </a:lnTo>
                <a:cubicBezTo>
                  <a:pt x="177427" y="524847"/>
                  <a:pt x="177773" y="554784"/>
                  <a:pt x="177634" y="584720"/>
                </a:cubicBezTo>
                <a:lnTo>
                  <a:pt x="382925" y="584720"/>
                </a:lnTo>
                <a:cubicBezTo>
                  <a:pt x="382815" y="554784"/>
                  <a:pt x="383191" y="524847"/>
                  <a:pt x="383081" y="494911"/>
                </a:cubicBezTo>
                <a:lnTo>
                  <a:pt x="393739" y="489543"/>
                </a:lnTo>
                <a:cubicBezTo>
                  <a:pt x="467910" y="449251"/>
                  <a:pt x="518262" y="370667"/>
                  <a:pt x="518262" y="280322"/>
                </a:cubicBezTo>
                <a:cubicBezTo>
                  <a:pt x="518262" y="148913"/>
                  <a:pt x="411733" y="42384"/>
                  <a:pt x="280323" y="42384"/>
                </a:cubicBezTo>
                <a:close/>
                <a:moveTo>
                  <a:pt x="280323" y="0"/>
                </a:moveTo>
                <a:cubicBezTo>
                  <a:pt x="435142" y="0"/>
                  <a:pt x="560646" y="125505"/>
                  <a:pt x="560646" y="280322"/>
                </a:cubicBezTo>
                <a:cubicBezTo>
                  <a:pt x="560646" y="367408"/>
                  <a:pt x="520936" y="445218"/>
                  <a:pt x="458635" y="496633"/>
                </a:cubicBezTo>
                <a:lnTo>
                  <a:pt x="430147" y="516887"/>
                </a:lnTo>
                <a:cubicBezTo>
                  <a:pt x="429972" y="550358"/>
                  <a:pt x="430608" y="588348"/>
                  <a:pt x="430433" y="621818"/>
                </a:cubicBezTo>
                <a:lnTo>
                  <a:pt x="137515" y="640883"/>
                </a:lnTo>
                <a:lnTo>
                  <a:pt x="137515" y="521367"/>
                </a:lnTo>
                <a:lnTo>
                  <a:pt x="134966" y="520062"/>
                </a:lnTo>
                <a:cubicBezTo>
                  <a:pt x="54051" y="470897"/>
                  <a:pt x="0" y="381922"/>
                  <a:pt x="0" y="280322"/>
                </a:cubicBezTo>
                <a:cubicBezTo>
                  <a:pt x="0" y="125505"/>
                  <a:pt x="125506" y="0"/>
                  <a:pt x="280323" y="0"/>
                </a:cubicBezTo>
                <a:close/>
              </a:path>
            </a:pathLst>
          </a:custGeom>
          <a:solidFill>
            <a:schemeClr val="bg1"/>
          </a:solidFill>
          <a:ln w="12700" cap="flat" cmpd="sng" algn="ctr">
            <a:noFill/>
            <a:prstDash val="solid"/>
            <a:miter lim="800000"/>
          </a:ln>
          <a:effectLst/>
        </p:spPr>
        <p:txBody>
          <a:bodyPr wrap="square" rtlCol="0" anchor="ctr">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endParaRPr>
          </a:p>
        </p:txBody>
      </p:sp>
      <p:sp>
        <p:nvSpPr>
          <p:cNvPr id="71" name="Freeform 351">
            <a:extLst>
              <a:ext uri="{FF2B5EF4-FFF2-40B4-BE49-F238E27FC236}">
                <a16:creationId xmlns:a16="http://schemas.microsoft.com/office/drawing/2014/main" id="{658787A3-7253-9027-C616-741D8286BDAE}"/>
              </a:ext>
            </a:extLst>
          </p:cNvPr>
          <p:cNvSpPr/>
          <p:nvPr/>
        </p:nvSpPr>
        <p:spPr>
          <a:xfrm rot="15232811">
            <a:off x="3245643" y="3346355"/>
            <a:ext cx="221536" cy="53472"/>
          </a:xfrm>
          <a:custGeom>
            <a:avLst/>
            <a:gdLst>
              <a:gd name="connsiteX0" fmla="*/ 107583 w 668513"/>
              <a:gd name="connsiteY0" fmla="*/ 0 h 82369"/>
              <a:gd name="connsiteX1" fmla="*/ 560930 w 668513"/>
              <a:gd name="connsiteY1" fmla="*/ 0 h 82369"/>
              <a:gd name="connsiteX2" fmla="*/ 665935 w 668513"/>
              <a:gd name="connsiteY2" fmla="*/ 69602 h 82369"/>
              <a:gd name="connsiteX3" fmla="*/ 668513 w 668513"/>
              <a:gd name="connsiteY3" fmla="*/ 82369 h 82369"/>
              <a:gd name="connsiteX4" fmla="*/ 0 w 668513"/>
              <a:gd name="connsiteY4" fmla="*/ 82369 h 82369"/>
              <a:gd name="connsiteX5" fmla="*/ 2578 w 668513"/>
              <a:gd name="connsiteY5" fmla="*/ 69602 h 82369"/>
              <a:gd name="connsiteX6" fmla="*/ 107583 w 668513"/>
              <a:gd name="connsiteY6" fmla="*/ 0 h 82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8513" h="82369">
                <a:moveTo>
                  <a:pt x="107583" y="0"/>
                </a:moveTo>
                <a:lnTo>
                  <a:pt x="560930" y="0"/>
                </a:lnTo>
                <a:cubicBezTo>
                  <a:pt x="608134" y="0"/>
                  <a:pt x="648635" y="28700"/>
                  <a:pt x="665935" y="69602"/>
                </a:cubicBezTo>
                <a:lnTo>
                  <a:pt x="668513" y="82369"/>
                </a:lnTo>
                <a:lnTo>
                  <a:pt x="0" y="82369"/>
                </a:lnTo>
                <a:lnTo>
                  <a:pt x="2578" y="69602"/>
                </a:lnTo>
                <a:cubicBezTo>
                  <a:pt x="19878" y="28700"/>
                  <a:pt x="60379" y="0"/>
                  <a:pt x="10758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91"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2" name="Trapezoid 71">
            <a:extLst>
              <a:ext uri="{FF2B5EF4-FFF2-40B4-BE49-F238E27FC236}">
                <a16:creationId xmlns:a16="http://schemas.microsoft.com/office/drawing/2014/main" id="{6036E2D9-4EEA-8EEE-65D8-DE7C68989252}"/>
              </a:ext>
            </a:extLst>
          </p:cNvPr>
          <p:cNvSpPr/>
          <p:nvPr/>
        </p:nvSpPr>
        <p:spPr>
          <a:xfrm rot="15240588">
            <a:off x="3188923" y="3297260"/>
            <a:ext cx="197346" cy="194868"/>
          </a:xfrm>
          <a:prstGeom prst="trapezoid">
            <a:avLst>
              <a:gd name="adj" fmla="val 28203"/>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91"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4" name="Rounded Rectangle 353">
            <a:extLst>
              <a:ext uri="{FF2B5EF4-FFF2-40B4-BE49-F238E27FC236}">
                <a16:creationId xmlns:a16="http://schemas.microsoft.com/office/drawing/2014/main" id="{F4584ACC-B3AD-072B-C515-703DD94E251E}"/>
              </a:ext>
            </a:extLst>
          </p:cNvPr>
          <p:cNvSpPr/>
          <p:nvPr/>
        </p:nvSpPr>
        <p:spPr>
          <a:xfrm rot="21313269">
            <a:off x="3208171" y="3428578"/>
            <a:ext cx="66047" cy="109824"/>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91"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6" name="Freeform 354">
            <a:extLst>
              <a:ext uri="{FF2B5EF4-FFF2-40B4-BE49-F238E27FC236}">
                <a16:creationId xmlns:a16="http://schemas.microsoft.com/office/drawing/2014/main" id="{26D6C6CF-3356-C61A-BD10-6DA4F6580A16}"/>
              </a:ext>
            </a:extLst>
          </p:cNvPr>
          <p:cNvSpPr/>
          <p:nvPr/>
        </p:nvSpPr>
        <p:spPr>
          <a:xfrm rot="20621845">
            <a:off x="3143962" y="3388347"/>
            <a:ext cx="37662" cy="103772"/>
          </a:xfrm>
          <a:custGeom>
            <a:avLst/>
            <a:gdLst>
              <a:gd name="connsiteX0" fmla="*/ 141208 w 141208"/>
              <a:gd name="connsiteY0" fmla="*/ 0 h 389072"/>
              <a:gd name="connsiteX1" fmla="*/ 141208 w 141208"/>
              <a:gd name="connsiteY1" fmla="*/ 389072 h 389072"/>
              <a:gd name="connsiteX2" fmla="*/ 131282 w 141208"/>
              <a:gd name="connsiteY2" fmla="*/ 387100 h 389072"/>
              <a:gd name="connsiteX3" fmla="*/ 840 w 141208"/>
              <a:gd name="connsiteY3" fmla="*/ 177713 h 389072"/>
              <a:gd name="connsiteX4" fmla="*/ 129867 w 141208"/>
              <a:gd name="connsiteY4" fmla="*/ 2750 h 389072"/>
              <a:gd name="connsiteX5" fmla="*/ 141208 w 141208"/>
              <a:gd name="connsiteY5" fmla="*/ 0 h 3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208" h="389072">
                <a:moveTo>
                  <a:pt x="141208" y="0"/>
                </a:moveTo>
                <a:lnTo>
                  <a:pt x="141208" y="389072"/>
                </a:lnTo>
                <a:lnTo>
                  <a:pt x="131282" y="387100"/>
                </a:lnTo>
                <a:cubicBezTo>
                  <a:pt x="48683" y="361046"/>
                  <a:pt x="-7621" y="274644"/>
                  <a:pt x="840" y="177713"/>
                </a:cubicBezTo>
                <a:cubicBezTo>
                  <a:pt x="8092" y="94630"/>
                  <a:pt x="60865" y="27408"/>
                  <a:pt x="129867" y="2750"/>
                </a:cubicBezTo>
                <a:lnTo>
                  <a:pt x="141208" y="0"/>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91"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7" name="Freeform 355">
            <a:extLst>
              <a:ext uri="{FF2B5EF4-FFF2-40B4-BE49-F238E27FC236}">
                <a16:creationId xmlns:a16="http://schemas.microsoft.com/office/drawing/2014/main" id="{299ADE37-CD9D-F260-BEF2-D7F7F63450CB}"/>
              </a:ext>
            </a:extLst>
          </p:cNvPr>
          <p:cNvSpPr/>
          <p:nvPr/>
        </p:nvSpPr>
        <p:spPr>
          <a:xfrm rot="21398929">
            <a:off x="3370102" y="3250938"/>
            <a:ext cx="140703" cy="236607"/>
          </a:xfrm>
          <a:custGeom>
            <a:avLst/>
            <a:gdLst>
              <a:gd name="connsiteX0" fmla="*/ 84153 w 527543"/>
              <a:gd name="connsiteY0" fmla="*/ 0 h 887111"/>
              <a:gd name="connsiteX1" fmla="*/ 527543 w 527543"/>
              <a:gd name="connsiteY1" fmla="*/ 453659 h 887111"/>
              <a:gd name="connsiteX2" fmla="*/ 256740 w 527543"/>
              <a:gd name="connsiteY2" fmla="*/ 871667 h 887111"/>
              <a:gd name="connsiteX3" fmla="*/ 208115 w 527543"/>
              <a:gd name="connsiteY3" fmla="*/ 887111 h 887111"/>
              <a:gd name="connsiteX4" fmla="*/ 186640 w 527543"/>
              <a:gd name="connsiteY4" fmla="*/ 796468 h 887111"/>
              <a:gd name="connsiteX5" fmla="*/ 220414 w 527543"/>
              <a:gd name="connsiteY5" fmla="*/ 785676 h 887111"/>
              <a:gd name="connsiteX6" fmla="*/ 434217 w 527543"/>
              <a:gd name="connsiteY6" fmla="*/ 453659 h 887111"/>
              <a:gd name="connsiteX7" fmla="*/ 84153 w 527543"/>
              <a:gd name="connsiteY7" fmla="*/ 93325 h 887111"/>
              <a:gd name="connsiteX8" fmla="*/ 21592 w 527543"/>
              <a:gd name="connsiteY8" fmla="*/ 99817 h 887111"/>
              <a:gd name="connsiteX9" fmla="*/ 0 w 527543"/>
              <a:gd name="connsiteY9" fmla="*/ 8679 h 887111"/>
              <a:gd name="connsiteX10" fmla="*/ 84153 w 527543"/>
              <a:gd name="connsiteY10" fmla="*/ 0 h 88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7543" h="887111">
                <a:moveTo>
                  <a:pt x="84153" y="0"/>
                </a:moveTo>
                <a:cubicBezTo>
                  <a:pt x="329030" y="0"/>
                  <a:pt x="527542" y="203110"/>
                  <a:pt x="527543" y="453659"/>
                </a:cubicBezTo>
                <a:cubicBezTo>
                  <a:pt x="527542" y="641571"/>
                  <a:pt x="415879" y="802798"/>
                  <a:pt x="256740" y="871667"/>
                </a:cubicBezTo>
                <a:lnTo>
                  <a:pt x="208115" y="887111"/>
                </a:lnTo>
                <a:lnTo>
                  <a:pt x="186640" y="796468"/>
                </a:lnTo>
                <a:lnTo>
                  <a:pt x="220414" y="785676"/>
                </a:lnTo>
                <a:cubicBezTo>
                  <a:pt x="346057" y="730974"/>
                  <a:pt x="434217" y="602914"/>
                  <a:pt x="434217" y="453659"/>
                </a:cubicBezTo>
                <a:cubicBezTo>
                  <a:pt x="434217" y="254652"/>
                  <a:pt x="277488" y="93325"/>
                  <a:pt x="84153" y="93325"/>
                </a:cubicBezTo>
                <a:lnTo>
                  <a:pt x="21592" y="99817"/>
                </a:lnTo>
                <a:lnTo>
                  <a:pt x="0" y="8679"/>
                </a:lnTo>
                <a:lnTo>
                  <a:pt x="8415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91"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8" name="Freeform 356">
            <a:extLst>
              <a:ext uri="{FF2B5EF4-FFF2-40B4-BE49-F238E27FC236}">
                <a16:creationId xmlns:a16="http://schemas.microsoft.com/office/drawing/2014/main" id="{90D155B6-E31A-7300-78BA-0B0475AD3451}"/>
              </a:ext>
            </a:extLst>
          </p:cNvPr>
          <p:cNvSpPr/>
          <p:nvPr/>
        </p:nvSpPr>
        <p:spPr>
          <a:xfrm rot="21398929">
            <a:off x="3383536" y="3299452"/>
            <a:ext cx="80507" cy="135379"/>
          </a:xfrm>
          <a:custGeom>
            <a:avLst/>
            <a:gdLst>
              <a:gd name="connsiteX0" fmla="*/ 84153 w 527543"/>
              <a:gd name="connsiteY0" fmla="*/ 0 h 887111"/>
              <a:gd name="connsiteX1" fmla="*/ 527543 w 527543"/>
              <a:gd name="connsiteY1" fmla="*/ 453659 h 887111"/>
              <a:gd name="connsiteX2" fmla="*/ 256740 w 527543"/>
              <a:gd name="connsiteY2" fmla="*/ 871667 h 887111"/>
              <a:gd name="connsiteX3" fmla="*/ 208115 w 527543"/>
              <a:gd name="connsiteY3" fmla="*/ 887111 h 887111"/>
              <a:gd name="connsiteX4" fmla="*/ 186640 w 527543"/>
              <a:gd name="connsiteY4" fmla="*/ 796468 h 887111"/>
              <a:gd name="connsiteX5" fmla="*/ 220414 w 527543"/>
              <a:gd name="connsiteY5" fmla="*/ 785676 h 887111"/>
              <a:gd name="connsiteX6" fmla="*/ 434217 w 527543"/>
              <a:gd name="connsiteY6" fmla="*/ 453659 h 887111"/>
              <a:gd name="connsiteX7" fmla="*/ 84153 w 527543"/>
              <a:gd name="connsiteY7" fmla="*/ 93325 h 887111"/>
              <a:gd name="connsiteX8" fmla="*/ 21592 w 527543"/>
              <a:gd name="connsiteY8" fmla="*/ 99817 h 887111"/>
              <a:gd name="connsiteX9" fmla="*/ 0 w 527543"/>
              <a:gd name="connsiteY9" fmla="*/ 8679 h 887111"/>
              <a:gd name="connsiteX10" fmla="*/ 84153 w 527543"/>
              <a:gd name="connsiteY10" fmla="*/ 0 h 88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7543" h="887111">
                <a:moveTo>
                  <a:pt x="84153" y="0"/>
                </a:moveTo>
                <a:cubicBezTo>
                  <a:pt x="329030" y="0"/>
                  <a:pt x="527542" y="203110"/>
                  <a:pt x="527543" y="453659"/>
                </a:cubicBezTo>
                <a:cubicBezTo>
                  <a:pt x="527542" y="641571"/>
                  <a:pt x="415879" y="802798"/>
                  <a:pt x="256740" y="871667"/>
                </a:cubicBezTo>
                <a:lnTo>
                  <a:pt x="208115" y="887111"/>
                </a:lnTo>
                <a:lnTo>
                  <a:pt x="186640" y="796468"/>
                </a:lnTo>
                <a:lnTo>
                  <a:pt x="220414" y="785676"/>
                </a:lnTo>
                <a:cubicBezTo>
                  <a:pt x="346057" y="730974"/>
                  <a:pt x="434217" y="602914"/>
                  <a:pt x="434217" y="453659"/>
                </a:cubicBezTo>
                <a:cubicBezTo>
                  <a:pt x="434217" y="254652"/>
                  <a:pt x="277488" y="93325"/>
                  <a:pt x="84153" y="93325"/>
                </a:cubicBezTo>
                <a:lnTo>
                  <a:pt x="21592" y="99817"/>
                </a:lnTo>
                <a:lnTo>
                  <a:pt x="0" y="8679"/>
                </a:lnTo>
                <a:lnTo>
                  <a:pt x="8415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91"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9" name="Freeform 357">
            <a:extLst>
              <a:ext uri="{FF2B5EF4-FFF2-40B4-BE49-F238E27FC236}">
                <a16:creationId xmlns:a16="http://schemas.microsoft.com/office/drawing/2014/main" id="{323B7F6F-ED22-B2AB-F751-73782065827D}"/>
              </a:ext>
            </a:extLst>
          </p:cNvPr>
          <p:cNvSpPr/>
          <p:nvPr/>
        </p:nvSpPr>
        <p:spPr>
          <a:xfrm rot="21398929">
            <a:off x="3395023" y="3344372"/>
            <a:ext cx="32203" cy="54153"/>
          </a:xfrm>
          <a:custGeom>
            <a:avLst/>
            <a:gdLst>
              <a:gd name="connsiteX0" fmla="*/ 84153 w 527543"/>
              <a:gd name="connsiteY0" fmla="*/ 0 h 887111"/>
              <a:gd name="connsiteX1" fmla="*/ 527543 w 527543"/>
              <a:gd name="connsiteY1" fmla="*/ 453659 h 887111"/>
              <a:gd name="connsiteX2" fmla="*/ 256740 w 527543"/>
              <a:gd name="connsiteY2" fmla="*/ 871667 h 887111"/>
              <a:gd name="connsiteX3" fmla="*/ 208115 w 527543"/>
              <a:gd name="connsiteY3" fmla="*/ 887111 h 887111"/>
              <a:gd name="connsiteX4" fmla="*/ 186640 w 527543"/>
              <a:gd name="connsiteY4" fmla="*/ 796468 h 887111"/>
              <a:gd name="connsiteX5" fmla="*/ 220414 w 527543"/>
              <a:gd name="connsiteY5" fmla="*/ 785676 h 887111"/>
              <a:gd name="connsiteX6" fmla="*/ 434217 w 527543"/>
              <a:gd name="connsiteY6" fmla="*/ 453659 h 887111"/>
              <a:gd name="connsiteX7" fmla="*/ 84153 w 527543"/>
              <a:gd name="connsiteY7" fmla="*/ 93325 h 887111"/>
              <a:gd name="connsiteX8" fmla="*/ 21592 w 527543"/>
              <a:gd name="connsiteY8" fmla="*/ 99817 h 887111"/>
              <a:gd name="connsiteX9" fmla="*/ 0 w 527543"/>
              <a:gd name="connsiteY9" fmla="*/ 8679 h 887111"/>
              <a:gd name="connsiteX10" fmla="*/ 84153 w 527543"/>
              <a:gd name="connsiteY10" fmla="*/ 0 h 88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7543" h="887111">
                <a:moveTo>
                  <a:pt x="84153" y="0"/>
                </a:moveTo>
                <a:cubicBezTo>
                  <a:pt x="329030" y="0"/>
                  <a:pt x="527542" y="203110"/>
                  <a:pt x="527543" y="453659"/>
                </a:cubicBezTo>
                <a:cubicBezTo>
                  <a:pt x="527542" y="641571"/>
                  <a:pt x="415879" y="802798"/>
                  <a:pt x="256740" y="871667"/>
                </a:cubicBezTo>
                <a:lnTo>
                  <a:pt x="208115" y="887111"/>
                </a:lnTo>
                <a:lnTo>
                  <a:pt x="186640" y="796468"/>
                </a:lnTo>
                <a:lnTo>
                  <a:pt x="220414" y="785676"/>
                </a:lnTo>
                <a:cubicBezTo>
                  <a:pt x="346057" y="730974"/>
                  <a:pt x="434217" y="602914"/>
                  <a:pt x="434217" y="453659"/>
                </a:cubicBezTo>
                <a:cubicBezTo>
                  <a:pt x="434217" y="254652"/>
                  <a:pt x="277488" y="93325"/>
                  <a:pt x="84153" y="93325"/>
                </a:cubicBezTo>
                <a:lnTo>
                  <a:pt x="21592" y="99817"/>
                </a:lnTo>
                <a:lnTo>
                  <a:pt x="0" y="8679"/>
                </a:lnTo>
                <a:lnTo>
                  <a:pt x="8415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91"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80" name="Freeform 108">
            <a:extLst>
              <a:ext uri="{FF2B5EF4-FFF2-40B4-BE49-F238E27FC236}">
                <a16:creationId xmlns:a16="http://schemas.microsoft.com/office/drawing/2014/main" id="{718BF078-ADC1-8B46-D7AE-99EECA28D28A}"/>
              </a:ext>
            </a:extLst>
          </p:cNvPr>
          <p:cNvSpPr>
            <a:spLocks noEditPoints="1"/>
          </p:cNvSpPr>
          <p:nvPr/>
        </p:nvSpPr>
        <p:spPr bwMode="auto">
          <a:xfrm>
            <a:off x="3873045" y="1385178"/>
            <a:ext cx="399731" cy="400447"/>
          </a:xfrm>
          <a:custGeom>
            <a:avLst/>
            <a:gdLst>
              <a:gd name="T0" fmla="*/ 215 w 557"/>
              <a:gd name="T1" fmla="*/ 124 h 558"/>
              <a:gd name="T2" fmla="*/ 144 w 557"/>
              <a:gd name="T3" fmla="*/ 183 h 558"/>
              <a:gd name="T4" fmla="*/ 116 w 557"/>
              <a:gd name="T5" fmla="*/ 273 h 558"/>
              <a:gd name="T6" fmla="*/ 144 w 557"/>
              <a:gd name="T7" fmla="*/ 363 h 558"/>
              <a:gd name="T8" fmla="*/ 215 w 557"/>
              <a:gd name="T9" fmla="*/ 423 h 558"/>
              <a:gd name="T10" fmla="*/ 311 w 557"/>
              <a:gd name="T11" fmla="*/ 432 h 558"/>
              <a:gd name="T12" fmla="*/ 393 w 557"/>
              <a:gd name="T13" fmla="*/ 388 h 558"/>
              <a:gd name="T14" fmla="*/ 438 w 557"/>
              <a:gd name="T15" fmla="*/ 305 h 558"/>
              <a:gd name="T16" fmla="*/ 429 w 557"/>
              <a:gd name="T17" fmla="*/ 210 h 558"/>
              <a:gd name="T18" fmla="*/ 369 w 557"/>
              <a:gd name="T19" fmla="*/ 138 h 558"/>
              <a:gd name="T20" fmla="*/ 279 w 557"/>
              <a:gd name="T21" fmla="*/ 111 h 558"/>
              <a:gd name="T22" fmla="*/ 261 w 557"/>
              <a:gd name="T23" fmla="*/ 6 h 558"/>
              <a:gd name="T24" fmla="*/ 291 w 557"/>
              <a:gd name="T25" fmla="*/ 53 h 558"/>
              <a:gd name="T26" fmla="*/ 309 w 557"/>
              <a:gd name="T27" fmla="*/ 63 h 558"/>
              <a:gd name="T28" fmla="*/ 329 w 557"/>
              <a:gd name="T29" fmla="*/ 55 h 558"/>
              <a:gd name="T30" fmla="*/ 380 w 557"/>
              <a:gd name="T31" fmla="*/ 17 h 558"/>
              <a:gd name="T32" fmla="*/ 454 w 557"/>
              <a:gd name="T33" fmla="*/ 60 h 558"/>
              <a:gd name="T34" fmla="*/ 457 w 557"/>
              <a:gd name="T35" fmla="*/ 86 h 558"/>
              <a:gd name="T36" fmla="*/ 446 w 557"/>
              <a:gd name="T37" fmla="*/ 133 h 558"/>
              <a:gd name="T38" fmla="*/ 461 w 557"/>
              <a:gd name="T39" fmla="*/ 153 h 558"/>
              <a:gd name="T40" fmla="*/ 512 w 557"/>
              <a:gd name="T41" fmla="*/ 159 h 558"/>
              <a:gd name="T42" fmla="*/ 536 w 557"/>
              <a:gd name="T43" fmla="*/ 167 h 558"/>
              <a:gd name="T44" fmla="*/ 557 w 557"/>
              <a:gd name="T45" fmla="*/ 252 h 558"/>
              <a:gd name="T46" fmla="*/ 509 w 557"/>
              <a:gd name="T47" fmla="*/ 287 h 558"/>
              <a:gd name="T48" fmla="*/ 497 w 557"/>
              <a:gd name="T49" fmla="*/ 297 h 558"/>
              <a:gd name="T50" fmla="*/ 501 w 557"/>
              <a:gd name="T51" fmla="*/ 328 h 558"/>
              <a:gd name="T52" fmla="*/ 536 w 557"/>
              <a:gd name="T53" fmla="*/ 369 h 558"/>
              <a:gd name="T54" fmla="*/ 503 w 557"/>
              <a:gd name="T55" fmla="*/ 448 h 558"/>
              <a:gd name="T56" fmla="*/ 480 w 557"/>
              <a:gd name="T57" fmla="*/ 458 h 558"/>
              <a:gd name="T58" fmla="*/ 429 w 557"/>
              <a:gd name="T59" fmla="*/ 447 h 558"/>
              <a:gd name="T60" fmla="*/ 410 w 557"/>
              <a:gd name="T61" fmla="*/ 452 h 558"/>
              <a:gd name="T62" fmla="*/ 400 w 557"/>
              <a:gd name="T63" fmla="*/ 471 h 558"/>
              <a:gd name="T64" fmla="*/ 395 w 557"/>
              <a:gd name="T65" fmla="*/ 529 h 558"/>
              <a:gd name="T66" fmla="*/ 317 w 557"/>
              <a:gd name="T67" fmla="*/ 558 h 558"/>
              <a:gd name="T68" fmla="*/ 288 w 557"/>
              <a:gd name="T69" fmla="*/ 540 h 558"/>
              <a:gd name="T70" fmla="*/ 263 w 557"/>
              <a:gd name="T71" fmla="*/ 501 h 558"/>
              <a:gd name="T72" fmla="*/ 237 w 557"/>
              <a:gd name="T73" fmla="*/ 496 h 558"/>
              <a:gd name="T74" fmla="*/ 198 w 557"/>
              <a:gd name="T75" fmla="*/ 528 h 558"/>
              <a:gd name="T76" fmla="*/ 167 w 557"/>
              <a:gd name="T77" fmla="*/ 536 h 558"/>
              <a:gd name="T78" fmla="*/ 100 w 557"/>
              <a:gd name="T79" fmla="*/ 489 h 558"/>
              <a:gd name="T80" fmla="*/ 109 w 557"/>
              <a:gd name="T81" fmla="*/ 436 h 558"/>
              <a:gd name="T82" fmla="*/ 109 w 557"/>
              <a:gd name="T83" fmla="*/ 420 h 558"/>
              <a:gd name="T84" fmla="*/ 85 w 557"/>
              <a:gd name="T85" fmla="*/ 400 h 558"/>
              <a:gd name="T86" fmla="*/ 35 w 557"/>
              <a:gd name="T87" fmla="*/ 397 h 558"/>
              <a:gd name="T88" fmla="*/ 16 w 557"/>
              <a:gd name="T89" fmla="*/ 382 h 558"/>
              <a:gd name="T90" fmla="*/ 6 w 557"/>
              <a:gd name="T91" fmla="*/ 296 h 558"/>
              <a:gd name="T92" fmla="*/ 52 w 557"/>
              <a:gd name="T93" fmla="*/ 265 h 558"/>
              <a:gd name="T94" fmla="*/ 62 w 557"/>
              <a:gd name="T95" fmla="*/ 248 h 558"/>
              <a:gd name="T96" fmla="*/ 55 w 557"/>
              <a:gd name="T97" fmla="*/ 227 h 558"/>
              <a:gd name="T98" fmla="*/ 17 w 557"/>
              <a:gd name="T99" fmla="*/ 177 h 558"/>
              <a:gd name="T100" fmla="*/ 60 w 557"/>
              <a:gd name="T101" fmla="*/ 102 h 558"/>
              <a:gd name="T102" fmla="*/ 85 w 557"/>
              <a:gd name="T103" fmla="*/ 101 h 558"/>
              <a:gd name="T104" fmla="*/ 132 w 557"/>
              <a:gd name="T105" fmla="*/ 110 h 558"/>
              <a:gd name="T106" fmla="*/ 153 w 557"/>
              <a:gd name="T107" fmla="*/ 95 h 558"/>
              <a:gd name="T108" fmla="*/ 159 w 557"/>
              <a:gd name="T109" fmla="*/ 45 h 558"/>
              <a:gd name="T110" fmla="*/ 167 w 557"/>
              <a:gd name="T111" fmla="*/ 2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7" h="558">
                <a:moveTo>
                  <a:pt x="279" y="111"/>
                </a:moveTo>
                <a:lnTo>
                  <a:pt x="246" y="114"/>
                </a:lnTo>
                <a:lnTo>
                  <a:pt x="215" y="124"/>
                </a:lnTo>
                <a:lnTo>
                  <a:pt x="189" y="138"/>
                </a:lnTo>
                <a:lnTo>
                  <a:pt x="164" y="159"/>
                </a:lnTo>
                <a:lnTo>
                  <a:pt x="144" y="183"/>
                </a:lnTo>
                <a:lnTo>
                  <a:pt x="129" y="210"/>
                </a:lnTo>
                <a:lnTo>
                  <a:pt x="120" y="241"/>
                </a:lnTo>
                <a:lnTo>
                  <a:pt x="116" y="273"/>
                </a:lnTo>
                <a:lnTo>
                  <a:pt x="120" y="305"/>
                </a:lnTo>
                <a:lnTo>
                  <a:pt x="129" y="336"/>
                </a:lnTo>
                <a:lnTo>
                  <a:pt x="144" y="363"/>
                </a:lnTo>
                <a:lnTo>
                  <a:pt x="164" y="388"/>
                </a:lnTo>
                <a:lnTo>
                  <a:pt x="189" y="408"/>
                </a:lnTo>
                <a:lnTo>
                  <a:pt x="215" y="423"/>
                </a:lnTo>
                <a:lnTo>
                  <a:pt x="246" y="432"/>
                </a:lnTo>
                <a:lnTo>
                  <a:pt x="279" y="436"/>
                </a:lnTo>
                <a:lnTo>
                  <a:pt x="311" y="432"/>
                </a:lnTo>
                <a:lnTo>
                  <a:pt x="342" y="423"/>
                </a:lnTo>
                <a:lnTo>
                  <a:pt x="369" y="408"/>
                </a:lnTo>
                <a:lnTo>
                  <a:pt x="393" y="388"/>
                </a:lnTo>
                <a:lnTo>
                  <a:pt x="414" y="363"/>
                </a:lnTo>
                <a:lnTo>
                  <a:pt x="429" y="336"/>
                </a:lnTo>
                <a:lnTo>
                  <a:pt x="438" y="305"/>
                </a:lnTo>
                <a:lnTo>
                  <a:pt x="441" y="273"/>
                </a:lnTo>
                <a:lnTo>
                  <a:pt x="438" y="241"/>
                </a:lnTo>
                <a:lnTo>
                  <a:pt x="429" y="210"/>
                </a:lnTo>
                <a:lnTo>
                  <a:pt x="414" y="183"/>
                </a:lnTo>
                <a:lnTo>
                  <a:pt x="393" y="159"/>
                </a:lnTo>
                <a:lnTo>
                  <a:pt x="369" y="138"/>
                </a:lnTo>
                <a:lnTo>
                  <a:pt x="342" y="124"/>
                </a:lnTo>
                <a:lnTo>
                  <a:pt x="311" y="114"/>
                </a:lnTo>
                <a:lnTo>
                  <a:pt x="279" y="111"/>
                </a:lnTo>
                <a:close/>
                <a:moveTo>
                  <a:pt x="240" y="0"/>
                </a:moveTo>
                <a:lnTo>
                  <a:pt x="251" y="0"/>
                </a:lnTo>
                <a:lnTo>
                  <a:pt x="261" y="6"/>
                </a:lnTo>
                <a:lnTo>
                  <a:pt x="268" y="16"/>
                </a:lnTo>
                <a:lnTo>
                  <a:pt x="287" y="47"/>
                </a:lnTo>
                <a:lnTo>
                  <a:pt x="291" y="53"/>
                </a:lnTo>
                <a:lnTo>
                  <a:pt x="294" y="56"/>
                </a:lnTo>
                <a:lnTo>
                  <a:pt x="298" y="59"/>
                </a:lnTo>
                <a:lnTo>
                  <a:pt x="309" y="63"/>
                </a:lnTo>
                <a:lnTo>
                  <a:pt x="319" y="62"/>
                </a:lnTo>
                <a:lnTo>
                  <a:pt x="329" y="56"/>
                </a:lnTo>
                <a:lnTo>
                  <a:pt x="329" y="55"/>
                </a:lnTo>
                <a:lnTo>
                  <a:pt x="358" y="28"/>
                </a:lnTo>
                <a:lnTo>
                  <a:pt x="369" y="21"/>
                </a:lnTo>
                <a:lnTo>
                  <a:pt x="380" y="17"/>
                </a:lnTo>
                <a:lnTo>
                  <a:pt x="391" y="20"/>
                </a:lnTo>
                <a:lnTo>
                  <a:pt x="449" y="53"/>
                </a:lnTo>
                <a:lnTo>
                  <a:pt x="454" y="60"/>
                </a:lnTo>
                <a:lnTo>
                  <a:pt x="458" y="68"/>
                </a:lnTo>
                <a:lnTo>
                  <a:pt x="458" y="76"/>
                </a:lnTo>
                <a:lnTo>
                  <a:pt x="457" y="86"/>
                </a:lnTo>
                <a:lnTo>
                  <a:pt x="449" y="121"/>
                </a:lnTo>
                <a:lnTo>
                  <a:pt x="446" y="128"/>
                </a:lnTo>
                <a:lnTo>
                  <a:pt x="446" y="133"/>
                </a:lnTo>
                <a:lnTo>
                  <a:pt x="447" y="137"/>
                </a:lnTo>
                <a:lnTo>
                  <a:pt x="453" y="146"/>
                </a:lnTo>
                <a:lnTo>
                  <a:pt x="461" y="153"/>
                </a:lnTo>
                <a:lnTo>
                  <a:pt x="472" y="157"/>
                </a:lnTo>
                <a:lnTo>
                  <a:pt x="472" y="157"/>
                </a:lnTo>
                <a:lnTo>
                  <a:pt x="512" y="159"/>
                </a:lnTo>
                <a:lnTo>
                  <a:pt x="522" y="160"/>
                </a:lnTo>
                <a:lnTo>
                  <a:pt x="530" y="163"/>
                </a:lnTo>
                <a:lnTo>
                  <a:pt x="536" y="167"/>
                </a:lnTo>
                <a:lnTo>
                  <a:pt x="540" y="175"/>
                </a:lnTo>
                <a:lnTo>
                  <a:pt x="557" y="239"/>
                </a:lnTo>
                <a:lnTo>
                  <a:pt x="557" y="252"/>
                </a:lnTo>
                <a:lnTo>
                  <a:pt x="550" y="261"/>
                </a:lnTo>
                <a:lnTo>
                  <a:pt x="540" y="268"/>
                </a:lnTo>
                <a:lnTo>
                  <a:pt x="509" y="287"/>
                </a:lnTo>
                <a:lnTo>
                  <a:pt x="504" y="291"/>
                </a:lnTo>
                <a:lnTo>
                  <a:pt x="500" y="295"/>
                </a:lnTo>
                <a:lnTo>
                  <a:pt x="497" y="297"/>
                </a:lnTo>
                <a:lnTo>
                  <a:pt x="495" y="308"/>
                </a:lnTo>
                <a:lnTo>
                  <a:pt x="496" y="319"/>
                </a:lnTo>
                <a:lnTo>
                  <a:pt x="501" y="328"/>
                </a:lnTo>
                <a:lnTo>
                  <a:pt x="501" y="328"/>
                </a:lnTo>
                <a:lnTo>
                  <a:pt x="528" y="358"/>
                </a:lnTo>
                <a:lnTo>
                  <a:pt x="536" y="369"/>
                </a:lnTo>
                <a:lnTo>
                  <a:pt x="539" y="380"/>
                </a:lnTo>
                <a:lnTo>
                  <a:pt x="536" y="390"/>
                </a:lnTo>
                <a:lnTo>
                  <a:pt x="503" y="448"/>
                </a:lnTo>
                <a:lnTo>
                  <a:pt x="497" y="455"/>
                </a:lnTo>
                <a:lnTo>
                  <a:pt x="489" y="458"/>
                </a:lnTo>
                <a:lnTo>
                  <a:pt x="480" y="458"/>
                </a:lnTo>
                <a:lnTo>
                  <a:pt x="472" y="456"/>
                </a:lnTo>
                <a:lnTo>
                  <a:pt x="435" y="448"/>
                </a:lnTo>
                <a:lnTo>
                  <a:pt x="429" y="447"/>
                </a:lnTo>
                <a:lnTo>
                  <a:pt x="424" y="447"/>
                </a:lnTo>
                <a:lnTo>
                  <a:pt x="420" y="447"/>
                </a:lnTo>
                <a:lnTo>
                  <a:pt x="410" y="452"/>
                </a:lnTo>
                <a:lnTo>
                  <a:pt x="403" y="460"/>
                </a:lnTo>
                <a:lnTo>
                  <a:pt x="400" y="471"/>
                </a:lnTo>
                <a:lnTo>
                  <a:pt x="400" y="471"/>
                </a:lnTo>
                <a:lnTo>
                  <a:pt x="399" y="512"/>
                </a:lnTo>
                <a:lnTo>
                  <a:pt x="398" y="521"/>
                </a:lnTo>
                <a:lnTo>
                  <a:pt x="395" y="529"/>
                </a:lnTo>
                <a:lnTo>
                  <a:pt x="389" y="536"/>
                </a:lnTo>
                <a:lnTo>
                  <a:pt x="381" y="540"/>
                </a:lnTo>
                <a:lnTo>
                  <a:pt x="317" y="558"/>
                </a:lnTo>
                <a:lnTo>
                  <a:pt x="306" y="556"/>
                </a:lnTo>
                <a:lnTo>
                  <a:pt x="296" y="551"/>
                </a:lnTo>
                <a:lnTo>
                  <a:pt x="288" y="540"/>
                </a:lnTo>
                <a:lnTo>
                  <a:pt x="269" y="510"/>
                </a:lnTo>
                <a:lnTo>
                  <a:pt x="265" y="504"/>
                </a:lnTo>
                <a:lnTo>
                  <a:pt x="263" y="501"/>
                </a:lnTo>
                <a:lnTo>
                  <a:pt x="259" y="498"/>
                </a:lnTo>
                <a:lnTo>
                  <a:pt x="248" y="494"/>
                </a:lnTo>
                <a:lnTo>
                  <a:pt x="237" y="496"/>
                </a:lnTo>
                <a:lnTo>
                  <a:pt x="228" y="501"/>
                </a:lnTo>
                <a:lnTo>
                  <a:pt x="228" y="501"/>
                </a:lnTo>
                <a:lnTo>
                  <a:pt x="198" y="528"/>
                </a:lnTo>
                <a:lnTo>
                  <a:pt x="187" y="536"/>
                </a:lnTo>
                <a:lnTo>
                  <a:pt x="178" y="539"/>
                </a:lnTo>
                <a:lnTo>
                  <a:pt x="167" y="536"/>
                </a:lnTo>
                <a:lnTo>
                  <a:pt x="109" y="502"/>
                </a:lnTo>
                <a:lnTo>
                  <a:pt x="102" y="497"/>
                </a:lnTo>
                <a:lnTo>
                  <a:pt x="100" y="489"/>
                </a:lnTo>
                <a:lnTo>
                  <a:pt x="98" y="479"/>
                </a:lnTo>
                <a:lnTo>
                  <a:pt x="101" y="471"/>
                </a:lnTo>
                <a:lnTo>
                  <a:pt x="109" y="436"/>
                </a:lnTo>
                <a:lnTo>
                  <a:pt x="110" y="428"/>
                </a:lnTo>
                <a:lnTo>
                  <a:pt x="110" y="424"/>
                </a:lnTo>
                <a:lnTo>
                  <a:pt x="109" y="420"/>
                </a:lnTo>
                <a:lnTo>
                  <a:pt x="104" y="409"/>
                </a:lnTo>
                <a:lnTo>
                  <a:pt x="95" y="403"/>
                </a:lnTo>
                <a:lnTo>
                  <a:pt x="85" y="400"/>
                </a:lnTo>
                <a:lnTo>
                  <a:pt x="85" y="400"/>
                </a:lnTo>
                <a:lnTo>
                  <a:pt x="44" y="398"/>
                </a:lnTo>
                <a:lnTo>
                  <a:pt x="35" y="397"/>
                </a:lnTo>
                <a:lnTo>
                  <a:pt x="27" y="394"/>
                </a:lnTo>
                <a:lnTo>
                  <a:pt x="20" y="389"/>
                </a:lnTo>
                <a:lnTo>
                  <a:pt x="16" y="382"/>
                </a:lnTo>
                <a:lnTo>
                  <a:pt x="0" y="318"/>
                </a:lnTo>
                <a:lnTo>
                  <a:pt x="0" y="305"/>
                </a:lnTo>
                <a:lnTo>
                  <a:pt x="6" y="296"/>
                </a:lnTo>
                <a:lnTo>
                  <a:pt x="16" y="289"/>
                </a:lnTo>
                <a:lnTo>
                  <a:pt x="47" y="269"/>
                </a:lnTo>
                <a:lnTo>
                  <a:pt x="52" y="265"/>
                </a:lnTo>
                <a:lnTo>
                  <a:pt x="56" y="262"/>
                </a:lnTo>
                <a:lnTo>
                  <a:pt x="59" y="258"/>
                </a:lnTo>
                <a:lnTo>
                  <a:pt x="62" y="248"/>
                </a:lnTo>
                <a:lnTo>
                  <a:pt x="60" y="237"/>
                </a:lnTo>
                <a:lnTo>
                  <a:pt x="55" y="227"/>
                </a:lnTo>
                <a:lnTo>
                  <a:pt x="55" y="227"/>
                </a:lnTo>
                <a:lnTo>
                  <a:pt x="28" y="198"/>
                </a:lnTo>
                <a:lnTo>
                  <a:pt x="21" y="188"/>
                </a:lnTo>
                <a:lnTo>
                  <a:pt x="17" y="177"/>
                </a:lnTo>
                <a:lnTo>
                  <a:pt x="20" y="167"/>
                </a:lnTo>
                <a:lnTo>
                  <a:pt x="54" y="109"/>
                </a:lnTo>
                <a:lnTo>
                  <a:pt x="60" y="102"/>
                </a:lnTo>
                <a:lnTo>
                  <a:pt x="67" y="99"/>
                </a:lnTo>
                <a:lnTo>
                  <a:pt x="77" y="99"/>
                </a:lnTo>
                <a:lnTo>
                  <a:pt x="85" y="101"/>
                </a:lnTo>
                <a:lnTo>
                  <a:pt x="121" y="109"/>
                </a:lnTo>
                <a:lnTo>
                  <a:pt x="128" y="110"/>
                </a:lnTo>
                <a:lnTo>
                  <a:pt x="132" y="110"/>
                </a:lnTo>
                <a:lnTo>
                  <a:pt x="137" y="109"/>
                </a:lnTo>
                <a:lnTo>
                  <a:pt x="147" y="105"/>
                </a:lnTo>
                <a:lnTo>
                  <a:pt x="153" y="95"/>
                </a:lnTo>
                <a:lnTo>
                  <a:pt x="156" y="86"/>
                </a:lnTo>
                <a:lnTo>
                  <a:pt x="156" y="84"/>
                </a:lnTo>
                <a:lnTo>
                  <a:pt x="159" y="45"/>
                </a:lnTo>
                <a:lnTo>
                  <a:pt x="159" y="35"/>
                </a:lnTo>
                <a:lnTo>
                  <a:pt x="162" y="26"/>
                </a:lnTo>
                <a:lnTo>
                  <a:pt x="167" y="21"/>
                </a:lnTo>
                <a:lnTo>
                  <a:pt x="175" y="17"/>
                </a:lnTo>
                <a:lnTo>
                  <a:pt x="240"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endParaRPr>
          </a:p>
        </p:txBody>
      </p:sp>
      <p:pic>
        <p:nvPicPr>
          <p:cNvPr id="81" name="Graphic 80" descr="Workflow with solid fill">
            <a:extLst>
              <a:ext uri="{FF2B5EF4-FFF2-40B4-BE49-F238E27FC236}">
                <a16:creationId xmlns:a16="http://schemas.microsoft.com/office/drawing/2014/main" id="{81703ACE-DB88-F2BF-1C12-EB6147847E3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51705" y="3886167"/>
            <a:ext cx="461265" cy="461265"/>
          </a:xfrm>
          <a:prstGeom prst="rect">
            <a:avLst/>
          </a:prstGeom>
        </p:spPr>
      </p:pic>
      <p:sp>
        <p:nvSpPr>
          <p:cNvPr id="82" name="TextBox 81">
            <a:extLst>
              <a:ext uri="{FF2B5EF4-FFF2-40B4-BE49-F238E27FC236}">
                <a16:creationId xmlns:a16="http://schemas.microsoft.com/office/drawing/2014/main" id="{EAAF8F65-9742-4752-2C82-900587E3068F}"/>
              </a:ext>
            </a:extLst>
          </p:cNvPr>
          <p:cNvSpPr txBox="1"/>
          <p:nvPr/>
        </p:nvSpPr>
        <p:spPr>
          <a:xfrm>
            <a:off x="4887911" y="1254247"/>
            <a:ext cx="437940" cy="636456"/>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3536" b="1" i="0" u="none" strike="noStrike" kern="1200" cap="none" spc="0" normalizeH="0" baseline="0" noProof="0">
                <a:ln>
                  <a:noFill/>
                </a:ln>
                <a:solidFill>
                  <a:srgbClr val="FFFFFF"/>
                </a:solidFill>
                <a:effectLst/>
                <a:uLnTx/>
                <a:uFillTx/>
                <a:latin typeface="Century Gothic" panose="020B0502020202020204" pitchFamily="34" charset="0"/>
                <a:ea typeface="ＭＳ Ｐゴシック" charset="0"/>
              </a:rPr>
              <a:t>?</a:t>
            </a:r>
          </a:p>
        </p:txBody>
      </p:sp>
      <p:sp>
        <p:nvSpPr>
          <p:cNvPr id="83" name="Freeform 1236">
            <a:extLst>
              <a:ext uri="{FF2B5EF4-FFF2-40B4-BE49-F238E27FC236}">
                <a16:creationId xmlns:a16="http://schemas.microsoft.com/office/drawing/2014/main" id="{B2BA8B82-41C9-5B8C-0AC4-1D1E9335C1AF}"/>
              </a:ext>
            </a:extLst>
          </p:cNvPr>
          <p:cNvSpPr/>
          <p:nvPr/>
        </p:nvSpPr>
        <p:spPr>
          <a:xfrm>
            <a:off x="5677368" y="3243050"/>
            <a:ext cx="414729" cy="414729"/>
          </a:xfrm>
          <a:custGeom>
            <a:avLst/>
            <a:gdLst>
              <a:gd name="connsiteX0" fmla="*/ 1030221 w 2060444"/>
              <a:gd name="connsiteY0" fmla="*/ 177464 h 2060444"/>
              <a:gd name="connsiteX1" fmla="*/ 177464 w 2060444"/>
              <a:gd name="connsiteY1" fmla="*/ 1030221 h 2060444"/>
              <a:gd name="connsiteX2" fmla="*/ 1030221 w 2060444"/>
              <a:gd name="connsiteY2" fmla="*/ 1882978 h 2060444"/>
              <a:gd name="connsiteX3" fmla="*/ 1882978 w 2060444"/>
              <a:gd name="connsiteY3" fmla="*/ 1030221 h 2060444"/>
              <a:gd name="connsiteX4" fmla="*/ 1030221 w 2060444"/>
              <a:gd name="connsiteY4" fmla="*/ 177464 h 2060444"/>
              <a:gd name="connsiteX5" fmla="*/ 1030222 w 2060444"/>
              <a:gd name="connsiteY5" fmla="*/ 0 h 2060444"/>
              <a:gd name="connsiteX6" fmla="*/ 2060444 w 2060444"/>
              <a:gd name="connsiteY6" fmla="*/ 1030222 h 2060444"/>
              <a:gd name="connsiteX7" fmla="*/ 1030222 w 2060444"/>
              <a:gd name="connsiteY7" fmla="*/ 2060444 h 2060444"/>
              <a:gd name="connsiteX8" fmla="*/ 0 w 2060444"/>
              <a:gd name="connsiteY8" fmla="*/ 1030222 h 2060444"/>
              <a:gd name="connsiteX9" fmla="*/ 1030222 w 2060444"/>
              <a:gd name="connsiteY9" fmla="*/ 0 h 206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60444" h="2060444">
                <a:moveTo>
                  <a:pt x="1030221" y="177464"/>
                </a:moveTo>
                <a:cubicBezTo>
                  <a:pt x="559256" y="177464"/>
                  <a:pt x="177464" y="559256"/>
                  <a:pt x="177464" y="1030221"/>
                </a:cubicBezTo>
                <a:cubicBezTo>
                  <a:pt x="177464" y="1501186"/>
                  <a:pt x="559256" y="1882978"/>
                  <a:pt x="1030221" y="1882978"/>
                </a:cubicBezTo>
                <a:cubicBezTo>
                  <a:pt x="1501186" y="1882978"/>
                  <a:pt x="1882978" y="1501186"/>
                  <a:pt x="1882978" y="1030221"/>
                </a:cubicBezTo>
                <a:cubicBezTo>
                  <a:pt x="1882978" y="559256"/>
                  <a:pt x="1501186" y="177464"/>
                  <a:pt x="1030221" y="177464"/>
                </a:cubicBezTo>
                <a:close/>
                <a:moveTo>
                  <a:pt x="1030222" y="0"/>
                </a:moveTo>
                <a:cubicBezTo>
                  <a:pt x="1599198" y="0"/>
                  <a:pt x="2060444" y="461246"/>
                  <a:pt x="2060444" y="1030222"/>
                </a:cubicBezTo>
                <a:cubicBezTo>
                  <a:pt x="2060444" y="1599198"/>
                  <a:pt x="1599198" y="2060444"/>
                  <a:pt x="1030222" y="2060444"/>
                </a:cubicBezTo>
                <a:cubicBezTo>
                  <a:pt x="461246" y="2060444"/>
                  <a:pt x="0" y="1599198"/>
                  <a:pt x="0" y="1030222"/>
                </a:cubicBezTo>
                <a:cubicBezTo>
                  <a:pt x="0" y="461246"/>
                  <a:pt x="461246" y="0"/>
                  <a:pt x="103022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84" name="Freeform 1237">
            <a:extLst>
              <a:ext uri="{FF2B5EF4-FFF2-40B4-BE49-F238E27FC236}">
                <a16:creationId xmlns:a16="http://schemas.microsoft.com/office/drawing/2014/main" id="{F02979EC-55A1-6358-57E4-6CA76C738B9F}"/>
              </a:ext>
            </a:extLst>
          </p:cNvPr>
          <p:cNvSpPr/>
          <p:nvPr/>
        </p:nvSpPr>
        <p:spPr>
          <a:xfrm>
            <a:off x="5758646" y="3324328"/>
            <a:ext cx="252172" cy="252172"/>
          </a:xfrm>
          <a:custGeom>
            <a:avLst/>
            <a:gdLst>
              <a:gd name="connsiteX0" fmla="*/ 626416 w 1252834"/>
              <a:gd name="connsiteY0" fmla="*/ 161662 h 1252834"/>
              <a:gd name="connsiteX1" fmla="*/ 161662 w 1252834"/>
              <a:gd name="connsiteY1" fmla="*/ 626416 h 1252834"/>
              <a:gd name="connsiteX2" fmla="*/ 626416 w 1252834"/>
              <a:gd name="connsiteY2" fmla="*/ 1091170 h 1252834"/>
              <a:gd name="connsiteX3" fmla="*/ 1091170 w 1252834"/>
              <a:gd name="connsiteY3" fmla="*/ 626416 h 1252834"/>
              <a:gd name="connsiteX4" fmla="*/ 626416 w 1252834"/>
              <a:gd name="connsiteY4" fmla="*/ 161662 h 1252834"/>
              <a:gd name="connsiteX5" fmla="*/ 626417 w 1252834"/>
              <a:gd name="connsiteY5" fmla="*/ 0 h 1252834"/>
              <a:gd name="connsiteX6" fmla="*/ 1252834 w 1252834"/>
              <a:gd name="connsiteY6" fmla="*/ 626417 h 1252834"/>
              <a:gd name="connsiteX7" fmla="*/ 626417 w 1252834"/>
              <a:gd name="connsiteY7" fmla="*/ 1252834 h 1252834"/>
              <a:gd name="connsiteX8" fmla="*/ 0 w 1252834"/>
              <a:gd name="connsiteY8" fmla="*/ 626417 h 1252834"/>
              <a:gd name="connsiteX9" fmla="*/ 626417 w 1252834"/>
              <a:gd name="connsiteY9" fmla="*/ 0 h 1252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2834" h="1252834">
                <a:moveTo>
                  <a:pt x="626416" y="161662"/>
                </a:moveTo>
                <a:cubicBezTo>
                  <a:pt x="369739" y="161662"/>
                  <a:pt x="161662" y="369739"/>
                  <a:pt x="161662" y="626416"/>
                </a:cubicBezTo>
                <a:cubicBezTo>
                  <a:pt x="161662" y="883093"/>
                  <a:pt x="369739" y="1091170"/>
                  <a:pt x="626416" y="1091170"/>
                </a:cubicBezTo>
                <a:cubicBezTo>
                  <a:pt x="883093" y="1091170"/>
                  <a:pt x="1091170" y="883093"/>
                  <a:pt x="1091170" y="626416"/>
                </a:cubicBezTo>
                <a:cubicBezTo>
                  <a:pt x="1091170" y="369739"/>
                  <a:pt x="883093" y="161662"/>
                  <a:pt x="626416" y="161662"/>
                </a:cubicBezTo>
                <a:close/>
                <a:moveTo>
                  <a:pt x="626417" y="0"/>
                </a:moveTo>
                <a:cubicBezTo>
                  <a:pt x="972378" y="0"/>
                  <a:pt x="1252834" y="280456"/>
                  <a:pt x="1252834" y="626417"/>
                </a:cubicBezTo>
                <a:cubicBezTo>
                  <a:pt x="1252834" y="972378"/>
                  <a:pt x="972378" y="1252834"/>
                  <a:pt x="626417" y="1252834"/>
                </a:cubicBezTo>
                <a:cubicBezTo>
                  <a:pt x="280456" y="1252834"/>
                  <a:pt x="0" y="972378"/>
                  <a:pt x="0" y="626417"/>
                </a:cubicBezTo>
                <a:cubicBezTo>
                  <a:pt x="0" y="280456"/>
                  <a:pt x="280456" y="0"/>
                  <a:pt x="626417"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85" name="Oval 84">
            <a:extLst>
              <a:ext uri="{FF2B5EF4-FFF2-40B4-BE49-F238E27FC236}">
                <a16:creationId xmlns:a16="http://schemas.microsoft.com/office/drawing/2014/main" id="{B58F7611-014E-6600-F9F9-9FE6943E12B7}"/>
              </a:ext>
            </a:extLst>
          </p:cNvPr>
          <p:cNvSpPr/>
          <p:nvPr/>
        </p:nvSpPr>
        <p:spPr>
          <a:xfrm>
            <a:off x="5834754" y="3400436"/>
            <a:ext cx="99957" cy="9995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87" name="TextBox 86">
            <a:extLst>
              <a:ext uri="{FF2B5EF4-FFF2-40B4-BE49-F238E27FC236}">
                <a16:creationId xmlns:a16="http://schemas.microsoft.com/office/drawing/2014/main" id="{9EAE095F-F24F-5DEE-6284-CEF0D97A92C6}"/>
              </a:ext>
            </a:extLst>
          </p:cNvPr>
          <p:cNvSpPr txBox="1"/>
          <p:nvPr/>
        </p:nvSpPr>
        <p:spPr>
          <a:xfrm>
            <a:off x="5531654" y="1003184"/>
            <a:ext cx="1671576" cy="196208"/>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675" b="0"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Identify decisions to be made</a:t>
            </a:r>
          </a:p>
        </p:txBody>
      </p:sp>
      <p:sp>
        <p:nvSpPr>
          <p:cNvPr id="88" name="Rectangle 87">
            <a:extLst>
              <a:ext uri="{FF2B5EF4-FFF2-40B4-BE49-F238E27FC236}">
                <a16:creationId xmlns:a16="http://schemas.microsoft.com/office/drawing/2014/main" id="{26AA4D41-4CCD-B57C-D29A-3F2F49A1B515}"/>
              </a:ext>
            </a:extLst>
          </p:cNvPr>
          <p:cNvSpPr/>
          <p:nvPr/>
        </p:nvSpPr>
        <p:spPr>
          <a:xfrm>
            <a:off x="5531654" y="787855"/>
            <a:ext cx="1416563" cy="307777"/>
          </a:xfrm>
          <a:prstGeom prst="rect">
            <a:avLst/>
          </a:prstGeom>
        </p:spPr>
        <p:txBody>
          <a:bodyPr wrap="square">
            <a:spAutoFit/>
          </a:bodyPr>
          <a:lstStyle/>
          <a:p>
            <a:pPr marL="0" marR="0" lvl="0" indent="0" algn="l" defTabSz="457200" rtl="0" eaLnBrk="1" fontAlgn="b"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Ask &amp; Define</a:t>
            </a:r>
            <a:endParaRPr kumimoji="0" lang="en-US" sz="12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endParaRPr>
          </a:p>
        </p:txBody>
      </p:sp>
      <p:sp>
        <p:nvSpPr>
          <p:cNvPr id="90" name="TextBox 89">
            <a:extLst>
              <a:ext uri="{FF2B5EF4-FFF2-40B4-BE49-F238E27FC236}">
                <a16:creationId xmlns:a16="http://schemas.microsoft.com/office/drawing/2014/main" id="{D0939EB3-41CF-B4F0-40BF-290A40ADD87D}"/>
              </a:ext>
            </a:extLst>
          </p:cNvPr>
          <p:cNvSpPr txBox="1"/>
          <p:nvPr/>
        </p:nvSpPr>
        <p:spPr>
          <a:xfrm>
            <a:off x="6365171" y="2103147"/>
            <a:ext cx="1671576" cy="196208"/>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675" b="0"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Understand and acquire relevant data</a:t>
            </a:r>
          </a:p>
        </p:txBody>
      </p:sp>
      <p:sp>
        <p:nvSpPr>
          <p:cNvPr id="91" name="Rectangle 90">
            <a:extLst>
              <a:ext uri="{FF2B5EF4-FFF2-40B4-BE49-F238E27FC236}">
                <a16:creationId xmlns:a16="http://schemas.microsoft.com/office/drawing/2014/main" id="{DD8AD1DA-679C-53B3-CDCA-6D5AAC0E567A}"/>
              </a:ext>
            </a:extLst>
          </p:cNvPr>
          <p:cNvSpPr/>
          <p:nvPr/>
        </p:nvSpPr>
        <p:spPr>
          <a:xfrm>
            <a:off x="6355546" y="1868568"/>
            <a:ext cx="2105062" cy="307777"/>
          </a:xfrm>
          <a:prstGeom prst="rect">
            <a:avLst/>
          </a:prstGeom>
        </p:spPr>
        <p:txBody>
          <a:bodyPr wrap="square">
            <a:spAutoFit/>
          </a:bodyPr>
          <a:lstStyle/>
          <a:p>
            <a:pPr marL="0" marR="0" lvl="0" indent="0" algn="l" defTabSz="457200" rtl="0" eaLnBrk="1" fontAlgn="b"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Capture &amp; Acquire</a:t>
            </a:r>
            <a:endParaRPr kumimoji="0" lang="en-US" sz="12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endParaRPr>
          </a:p>
        </p:txBody>
      </p:sp>
      <p:sp>
        <p:nvSpPr>
          <p:cNvPr id="93" name="TextBox 92">
            <a:extLst>
              <a:ext uri="{FF2B5EF4-FFF2-40B4-BE49-F238E27FC236}">
                <a16:creationId xmlns:a16="http://schemas.microsoft.com/office/drawing/2014/main" id="{14011837-A760-E4F6-DD5C-168F4991ED3C}"/>
              </a:ext>
            </a:extLst>
          </p:cNvPr>
          <p:cNvSpPr txBox="1"/>
          <p:nvPr/>
        </p:nvSpPr>
        <p:spPr>
          <a:xfrm>
            <a:off x="6458396" y="3461571"/>
            <a:ext cx="1671577" cy="196208"/>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675" b="0"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Transform data into insights</a:t>
            </a:r>
          </a:p>
        </p:txBody>
      </p:sp>
      <p:sp>
        <p:nvSpPr>
          <p:cNvPr id="94" name="Rectangle 93">
            <a:extLst>
              <a:ext uri="{FF2B5EF4-FFF2-40B4-BE49-F238E27FC236}">
                <a16:creationId xmlns:a16="http://schemas.microsoft.com/office/drawing/2014/main" id="{0E3E0D99-025E-AD82-4872-AA2897F5A99B}"/>
              </a:ext>
            </a:extLst>
          </p:cNvPr>
          <p:cNvSpPr/>
          <p:nvPr/>
        </p:nvSpPr>
        <p:spPr>
          <a:xfrm>
            <a:off x="6458396" y="3246243"/>
            <a:ext cx="2152202" cy="307777"/>
          </a:xfrm>
          <a:prstGeom prst="rect">
            <a:avLst/>
          </a:prstGeom>
        </p:spPr>
        <p:txBody>
          <a:bodyPr wrap="square">
            <a:spAutoFit/>
          </a:bodyPr>
          <a:lstStyle/>
          <a:p>
            <a:pPr marL="0" marR="0" lvl="0" indent="0" algn="l" defTabSz="457200" rtl="0" eaLnBrk="1" fontAlgn="b"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Analyze &amp; Transform</a:t>
            </a:r>
            <a:endParaRPr kumimoji="0" lang="en-US" sz="12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endParaRPr>
          </a:p>
        </p:txBody>
      </p:sp>
      <p:sp>
        <p:nvSpPr>
          <p:cNvPr id="96" name="TextBox 95">
            <a:extLst>
              <a:ext uri="{FF2B5EF4-FFF2-40B4-BE49-F238E27FC236}">
                <a16:creationId xmlns:a16="http://schemas.microsoft.com/office/drawing/2014/main" id="{E89F051F-674B-777D-3D18-4E54B2953D64}"/>
              </a:ext>
            </a:extLst>
          </p:cNvPr>
          <p:cNvSpPr txBox="1"/>
          <p:nvPr/>
        </p:nvSpPr>
        <p:spPr>
          <a:xfrm>
            <a:off x="5240527" y="4654852"/>
            <a:ext cx="1651739" cy="196208"/>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675" b="0"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Validate the insights</a:t>
            </a:r>
          </a:p>
        </p:txBody>
      </p:sp>
      <p:sp>
        <p:nvSpPr>
          <p:cNvPr id="97" name="Rectangle 96">
            <a:extLst>
              <a:ext uri="{FF2B5EF4-FFF2-40B4-BE49-F238E27FC236}">
                <a16:creationId xmlns:a16="http://schemas.microsoft.com/office/drawing/2014/main" id="{B9A82A5D-D7E5-87AA-3978-69051ECBF828}"/>
              </a:ext>
            </a:extLst>
          </p:cNvPr>
          <p:cNvSpPr/>
          <p:nvPr/>
        </p:nvSpPr>
        <p:spPr>
          <a:xfrm>
            <a:off x="5422539" y="4439525"/>
            <a:ext cx="1880225" cy="307777"/>
          </a:xfrm>
          <a:prstGeom prst="rect">
            <a:avLst/>
          </a:prstGeom>
        </p:spPr>
        <p:txBody>
          <a:bodyPr wrap="square">
            <a:spAutoFit/>
          </a:bodyPr>
          <a:lstStyle/>
          <a:p>
            <a:pPr marL="0" marR="0" lvl="0" indent="0" algn="ctr" defTabSz="457200" rtl="0" eaLnBrk="1" fontAlgn="b"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Validate &amp; Verify</a:t>
            </a:r>
            <a:endParaRPr kumimoji="0" lang="en-US" sz="12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endParaRPr>
          </a:p>
        </p:txBody>
      </p:sp>
      <p:sp>
        <p:nvSpPr>
          <p:cNvPr id="99" name="TextBox 98">
            <a:extLst>
              <a:ext uri="{FF2B5EF4-FFF2-40B4-BE49-F238E27FC236}">
                <a16:creationId xmlns:a16="http://schemas.microsoft.com/office/drawing/2014/main" id="{D2E59D29-A877-E874-B702-F5FE606E9A74}"/>
              </a:ext>
            </a:extLst>
          </p:cNvPr>
          <p:cNvSpPr txBox="1"/>
          <p:nvPr/>
        </p:nvSpPr>
        <p:spPr>
          <a:xfrm>
            <a:off x="1186658" y="3689327"/>
            <a:ext cx="1671576" cy="30008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675" b="0"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Communicate decisions and start change management efforts</a:t>
            </a:r>
          </a:p>
        </p:txBody>
      </p:sp>
      <p:sp>
        <p:nvSpPr>
          <p:cNvPr id="100" name="Rectangle 99">
            <a:extLst>
              <a:ext uri="{FF2B5EF4-FFF2-40B4-BE49-F238E27FC236}">
                <a16:creationId xmlns:a16="http://schemas.microsoft.com/office/drawing/2014/main" id="{70E9B637-A051-A7E6-99BF-32C18A7B7A14}"/>
              </a:ext>
            </a:extLst>
          </p:cNvPr>
          <p:cNvSpPr/>
          <p:nvPr/>
        </p:nvSpPr>
        <p:spPr>
          <a:xfrm>
            <a:off x="702644" y="3473999"/>
            <a:ext cx="2165215" cy="307777"/>
          </a:xfrm>
          <a:prstGeom prst="rect">
            <a:avLst/>
          </a:prstGeom>
        </p:spPr>
        <p:txBody>
          <a:bodyPr wrap="square">
            <a:spAutoFit/>
          </a:bodyPr>
          <a:lstStyle/>
          <a:p>
            <a:pPr marL="0" marR="0" lvl="0" indent="0" algn="r" defTabSz="457200" rtl="0" eaLnBrk="1" fontAlgn="b"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Announce &amp; Market</a:t>
            </a:r>
            <a:endParaRPr kumimoji="0" lang="en-US" sz="12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endParaRPr>
          </a:p>
        </p:txBody>
      </p:sp>
      <p:sp>
        <p:nvSpPr>
          <p:cNvPr id="102" name="TextBox 101">
            <a:extLst>
              <a:ext uri="{FF2B5EF4-FFF2-40B4-BE49-F238E27FC236}">
                <a16:creationId xmlns:a16="http://schemas.microsoft.com/office/drawing/2014/main" id="{C8A8C22A-ED43-C526-66B7-41FD41A35212}"/>
              </a:ext>
            </a:extLst>
          </p:cNvPr>
          <p:cNvSpPr txBox="1"/>
          <p:nvPr/>
        </p:nvSpPr>
        <p:spPr>
          <a:xfrm>
            <a:off x="2002479" y="1007453"/>
            <a:ext cx="1671576" cy="30008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675" b="0"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Evaluating decisions made. Monitor and adjust as needed. </a:t>
            </a:r>
          </a:p>
        </p:txBody>
      </p:sp>
      <p:sp>
        <p:nvSpPr>
          <p:cNvPr id="103" name="Rectangle 102">
            <a:extLst>
              <a:ext uri="{FF2B5EF4-FFF2-40B4-BE49-F238E27FC236}">
                <a16:creationId xmlns:a16="http://schemas.microsoft.com/office/drawing/2014/main" id="{FD6B49ED-2DDC-E24A-75A9-6AACB3033FE0}"/>
              </a:ext>
            </a:extLst>
          </p:cNvPr>
          <p:cNvSpPr/>
          <p:nvPr/>
        </p:nvSpPr>
        <p:spPr>
          <a:xfrm>
            <a:off x="1717033" y="792125"/>
            <a:ext cx="1966647" cy="307777"/>
          </a:xfrm>
          <a:prstGeom prst="rect">
            <a:avLst/>
          </a:prstGeom>
        </p:spPr>
        <p:txBody>
          <a:bodyPr wrap="square">
            <a:spAutoFit/>
          </a:bodyPr>
          <a:lstStyle/>
          <a:p>
            <a:pPr marL="0" marR="0" lvl="0" indent="0" algn="r" defTabSz="457200" rtl="0" eaLnBrk="1" fontAlgn="b"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Monitor &amp; Evaluate</a:t>
            </a:r>
            <a:endParaRPr kumimoji="0" lang="en-US" sz="12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endParaRPr>
          </a:p>
        </p:txBody>
      </p:sp>
      <p:sp>
        <p:nvSpPr>
          <p:cNvPr id="105" name="TextBox 104">
            <a:extLst>
              <a:ext uri="{FF2B5EF4-FFF2-40B4-BE49-F238E27FC236}">
                <a16:creationId xmlns:a16="http://schemas.microsoft.com/office/drawing/2014/main" id="{5D8CB582-99CD-2555-4C41-C71D32B2F999}"/>
              </a:ext>
            </a:extLst>
          </p:cNvPr>
          <p:cNvSpPr txBox="1"/>
          <p:nvPr/>
        </p:nvSpPr>
        <p:spPr>
          <a:xfrm>
            <a:off x="2053717" y="4675996"/>
            <a:ext cx="1671577" cy="196208"/>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675" b="0"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Transform insights into decisions</a:t>
            </a:r>
          </a:p>
        </p:txBody>
      </p:sp>
      <p:sp>
        <p:nvSpPr>
          <p:cNvPr id="106" name="Rectangle 105">
            <a:extLst>
              <a:ext uri="{FF2B5EF4-FFF2-40B4-BE49-F238E27FC236}">
                <a16:creationId xmlns:a16="http://schemas.microsoft.com/office/drawing/2014/main" id="{A23A65A8-BFF5-A393-6828-2F1C0D342CDE}"/>
              </a:ext>
            </a:extLst>
          </p:cNvPr>
          <p:cNvSpPr/>
          <p:nvPr/>
        </p:nvSpPr>
        <p:spPr>
          <a:xfrm>
            <a:off x="1841236" y="4459097"/>
            <a:ext cx="1890822" cy="307777"/>
          </a:xfrm>
          <a:prstGeom prst="rect">
            <a:avLst/>
          </a:prstGeom>
        </p:spPr>
        <p:txBody>
          <a:bodyPr wrap="square">
            <a:spAutoFit/>
          </a:bodyPr>
          <a:lstStyle/>
          <a:p>
            <a:pPr marL="0" marR="0" lvl="0" indent="0" algn="r" defTabSz="457200" rtl="0" eaLnBrk="1" fontAlgn="b"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Resolve &amp; Decide</a:t>
            </a:r>
            <a:endParaRPr kumimoji="0" lang="en-US" sz="12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endParaRPr>
          </a:p>
        </p:txBody>
      </p:sp>
      <p:sp>
        <p:nvSpPr>
          <p:cNvPr id="108" name="TextBox 107">
            <a:extLst>
              <a:ext uri="{FF2B5EF4-FFF2-40B4-BE49-F238E27FC236}">
                <a16:creationId xmlns:a16="http://schemas.microsoft.com/office/drawing/2014/main" id="{9E6B3646-F220-F0AA-37A0-AACCABFF8872}"/>
              </a:ext>
            </a:extLst>
          </p:cNvPr>
          <p:cNvSpPr txBox="1"/>
          <p:nvPr/>
        </p:nvSpPr>
        <p:spPr>
          <a:xfrm>
            <a:off x="1022598" y="2291318"/>
            <a:ext cx="1671576" cy="196208"/>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675" b="0"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Start change management efforts</a:t>
            </a:r>
          </a:p>
        </p:txBody>
      </p:sp>
      <p:sp>
        <p:nvSpPr>
          <p:cNvPr id="109" name="Rectangle 108">
            <a:extLst>
              <a:ext uri="{FF2B5EF4-FFF2-40B4-BE49-F238E27FC236}">
                <a16:creationId xmlns:a16="http://schemas.microsoft.com/office/drawing/2014/main" id="{3E4C076C-253B-4AA2-AE23-C1A7DAD1A2F7}"/>
              </a:ext>
            </a:extLst>
          </p:cNvPr>
          <p:cNvSpPr/>
          <p:nvPr/>
        </p:nvSpPr>
        <p:spPr>
          <a:xfrm>
            <a:off x="856649" y="2075990"/>
            <a:ext cx="1837526" cy="307777"/>
          </a:xfrm>
          <a:prstGeom prst="rect">
            <a:avLst/>
          </a:prstGeom>
        </p:spPr>
        <p:txBody>
          <a:bodyPr wrap="square">
            <a:spAutoFit/>
          </a:bodyPr>
          <a:lstStyle/>
          <a:p>
            <a:pPr marL="0" marR="0" lvl="0" indent="0" algn="r" defTabSz="457200" rtl="0" eaLnBrk="1" fontAlgn="b"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rPr>
              <a:t>Implement &amp; Act</a:t>
            </a:r>
            <a:endParaRPr kumimoji="0" lang="en-US" sz="1200" b="1" i="0" u="none" strike="noStrike" kern="1200" cap="none" spc="0" normalizeH="0" baseline="0" noProof="0">
              <a:ln>
                <a:noFill/>
              </a:ln>
              <a:solidFill>
                <a:srgbClr val="002060"/>
              </a:solidFill>
              <a:effectLst/>
              <a:uLnTx/>
              <a:uFillTx/>
              <a:latin typeface="Arial" panose="020B0604020202020204" pitchFamily="34" charset="0"/>
              <a:ea typeface="ＭＳ Ｐゴシック" charset="0"/>
              <a:cs typeface="Arial" panose="020B0604020202020204" pitchFamily="34" charset="0"/>
            </a:endParaRPr>
          </a:p>
        </p:txBody>
      </p:sp>
      <p:pic>
        <p:nvPicPr>
          <p:cNvPr id="111" name="Graphic 110" descr="Clapper board with solid fill">
            <a:extLst>
              <a:ext uri="{FF2B5EF4-FFF2-40B4-BE49-F238E27FC236}">
                <a16:creationId xmlns:a16="http://schemas.microsoft.com/office/drawing/2014/main" id="{DFCF23FE-AEA7-7289-D863-88B0488D0F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62159" y="2056733"/>
            <a:ext cx="419713" cy="419713"/>
          </a:xfrm>
          <a:prstGeom prst="rect">
            <a:avLst/>
          </a:prstGeom>
        </p:spPr>
      </p:pic>
    </p:spTree>
    <p:extLst>
      <p:ext uri="{BB962C8B-B14F-4D97-AF65-F5344CB8AC3E}">
        <p14:creationId xmlns:p14="http://schemas.microsoft.com/office/powerpoint/2010/main" val="2810186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2"/>
                                        </p:tgtEl>
                                        <p:attrNameLst>
                                          <p:attrName>style.visibility</p:attrName>
                                        </p:attrNameLst>
                                      </p:cBhvr>
                                      <p:to>
                                        <p:strVal val="visible"/>
                                      </p:to>
                                    </p:set>
                                  </p:childTnLst>
                                  <p:subTnLst>
                                    <p:animClr clrSpc="rgb" dir="cw">
                                      <p:cBhvr override="childStyle">
                                        <p:cTn dur="1" fill="hold" display="0" masterRel="nextClick" afterEffect="1"/>
                                        <p:tgtEl>
                                          <p:spTgt spid="82"/>
                                        </p:tgtEl>
                                        <p:attrNameLst>
                                          <p:attrName>ppt_c</p:attrName>
                                        </p:attrNameLst>
                                      </p:cBhvr>
                                      <p:to>
                                        <a:srgbClr val="B2B2B2"/>
                                      </p:to>
                                    </p:animClr>
                                  </p:subTnLst>
                                </p:cTn>
                              </p:par>
                              <p:par>
                                <p:cTn id="7" presetID="1" presetClass="entr" presetSubtype="0" fill="hold" grpId="0" nodeType="withEffect">
                                  <p:stCondLst>
                                    <p:cond delay="0"/>
                                  </p:stCondLst>
                                  <p:childTnLst>
                                    <p:set>
                                      <p:cBhvr>
                                        <p:cTn id="8" dur="1" fill="hold">
                                          <p:stCondLst>
                                            <p:cond delay="0"/>
                                          </p:stCondLst>
                                        </p:cTn>
                                        <p:tgtEl>
                                          <p:spTgt spid="66"/>
                                        </p:tgtEl>
                                        <p:attrNameLst>
                                          <p:attrName>style.visibility</p:attrName>
                                        </p:attrNameLst>
                                      </p:cBhvr>
                                      <p:to>
                                        <p:strVal val="visible"/>
                                      </p:to>
                                    </p:set>
                                  </p:childTnLst>
                                  <p:subTnLst>
                                    <p:animClr clrSpc="rgb" dir="cw">
                                      <p:cBhvr override="childStyle">
                                        <p:cTn dur="1" fill="hold" display="0" masterRel="nextClick" afterEffect="1"/>
                                        <p:tgtEl>
                                          <p:spTgt spid="66"/>
                                        </p:tgtEl>
                                        <p:attrNameLst>
                                          <p:attrName>ppt_c</p:attrName>
                                        </p:attrNameLst>
                                      </p:cBhvr>
                                      <p:to>
                                        <a:srgbClr val="B2B2B2"/>
                                      </p:to>
                                    </p:animClr>
                                  </p:subTnLst>
                                </p:cTn>
                              </p:par>
                              <p:par>
                                <p:cTn id="9" presetID="1" presetClass="entr" presetSubtype="0" fill="hold" grpId="0" nodeType="withEffect">
                                  <p:stCondLst>
                                    <p:cond delay="0"/>
                                  </p:stCondLst>
                                  <p:childTnLst>
                                    <p:set>
                                      <p:cBhvr>
                                        <p:cTn id="10" dur="1" fill="hold">
                                          <p:stCondLst>
                                            <p:cond delay="0"/>
                                          </p:stCondLst>
                                        </p:cTn>
                                        <p:tgtEl>
                                          <p:spTgt spid="67"/>
                                        </p:tgtEl>
                                        <p:attrNameLst>
                                          <p:attrName>style.visibility</p:attrName>
                                        </p:attrNameLst>
                                      </p:cBhvr>
                                      <p:to>
                                        <p:strVal val="visible"/>
                                      </p:to>
                                    </p:set>
                                  </p:childTnLst>
                                  <p:subTnLst>
                                    <p:animClr clrSpc="rgb" dir="cw">
                                      <p:cBhvr override="childStyle">
                                        <p:cTn dur="1" fill="hold" display="0" masterRel="nextClick" afterEffect="1"/>
                                        <p:tgtEl>
                                          <p:spTgt spid="67"/>
                                        </p:tgtEl>
                                        <p:attrNameLst>
                                          <p:attrName>ppt_c</p:attrName>
                                        </p:attrNameLst>
                                      </p:cBhvr>
                                      <p:to>
                                        <a:srgbClr val="787A7E"/>
                                      </p:to>
                                    </p:animClr>
                                  </p:subTnLst>
                                </p:cTn>
                              </p:par>
                              <p:par>
                                <p:cTn id="11" presetID="1" presetClass="entr" presetSubtype="0" fill="hold" grpId="0" nodeType="withEffect">
                                  <p:stCondLst>
                                    <p:cond delay="0"/>
                                  </p:stCondLst>
                                  <p:childTnLst>
                                    <p:set>
                                      <p:cBhvr>
                                        <p:cTn id="12" dur="1" fill="hold">
                                          <p:stCondLst>
                                            <p:cond delay="0"/>
                                          </p:stCondLst>
                                        </p:cTn>
                                        <p:tgtEl>
                                          <p:spTgt spid="87"/>
                                        </p:tgtEl>
                                        <p:attrNameLst>
                                          <p:attrName>style.visibility</p:attrName>
                                        </p:attrNameLst>
                                      </p:cBhvr>
                                      <p:to>
                                        <p:strVal val="visible"/>
                                      </p:to>
                                    </p:set>
                                  </p:childTnLst>
                                  <p:subTnLst>
                                    <p:animClr clrSpc="rgb" dir="cw">
                                      <p:cBhvr override="childStyle">
                                        <p:cTn dur="1" fill="hold" display="0" masterRel="nextClick" afterEffect="1"/>
                                        <p:tgtEl>
                                          <p:spTgt spid="87"/>
                                        </p:tgtEl>
                                        <p:attrNameLst>
                                          <p:attrName>ppt_c</p:attrName>
                                        </p:attrNameLst>
                                      </p:cBhvr>
                                      <p:to>
                                        <a:srgbClr val="787A7E"/>
                                      </p:to>
                                    </p:animClr>
                                  </p:subTnLst>
                                </p:cTn>
                              </p:par>
                              <p:par>
                                <p:cTn id="13" presetID="1" presetClass="entr" presetSubtype="0" fill="hold" grpId="0" nodeType="withEffect">
                                  <p:stCondLst>
                                    <p:cond delay="0"/>
                                  </p:stCondLst>
                                  <p:childTnLst>
                                    <p:set>
                                      <p:cBhvr>
                                        <p:cTn id="14" dur="1" fill="hold">
                                          <p:stCondLst>
                                            <p:cond delay="0"/>
                                          </p:stCondLst>
                                        </p:cTn>
                                        <p:tgtEl>
                                          <p:spTgt spid="88"/>
                                        </p:tgtEl>
                                        <p:attrNameLst>
                                          <p:attrName>style.visibility</p:attrName>
                                        </p:attrNameLst>
                                      </p:cBhvr>
                                      <p:to>
                                        <p:strVal val="visible"/>
                                      </p:to>
                                    </p:set>
                                  </p:childTnLst>
                                  <p:subTnLst>
                                    <p:animClr clrSpc="rgb" dir="cw">
                                      <p:cBhvr override="childStyle">
                                        <p:cTn dur="1" fill="hold" display="0" masterRel="nextClick" afterEffect="1"/>
                                        <p:tgtEl>
                                          <p:spTgt spid="88"/>
                                        </p:tgtEl>
                                        <p:attrNameLst>
                                          <p:attrName>ppt_c</p:attrName>
                                        </p:attrNameLst>
                                      </p:cBhvr>
                                      <p:to>
                                        <a:srgbClr val="787A7E"/>
                                      </p:to>
                                    </p:animClr>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8"/>
                                        </p:tgtEl>
                                        <p:attrNameLst>
                                          <p:attrName>style.visibility</p:attrName>
                                        </p:attrNameLst>
                                      </p:cBhvr>
                                      <p:to>
                                        <p:strVal val="visible"/>
                                      </p:to>
                                    </p:set>
                                  </p:childTnLst>
                                  <p:subTnLst>
                                    <p:animClr clrSpc="rgb" dir="cw">
                                      <p:cBhvr override="childStyle">
                                        <p:cTn dur="1" fill="hold" display="0" masterRel="nextClick" afterEffect="1"/>
                                        <p:tgtEl>
                                          <p:spTgt spid="68"/>
                                        </p:tgtEl>
                                        <p:attrNameLst>
                                          <p:attrName>ppt_c</p:attrName>
                                        </p:attrNameLst>
                                      </p:cBhvr>
                                      <p:to>
                                        <a:srgbClr val="B2B2B2"/>
                                      </p:to>
                                    </p:animClr>
                                  </p:subTnLst>
                                </p:cTn>
                              </p:par>
                              <p:par>
                                <p:cTn id="19" presetID="1" presetClass="entr" presetSubtype="0" fill="hold" grpId="0" nodeType="withEffect">
                                  <p:stCondLst>
                                    <p:cond delay="0"/>
                                  </p:stCondLst>
                                  <p:childTnLst>
                                    <p:set>
                                      <p:cBhvr>
                                        <p:cTn id="20" dur="1" fill="hold">
                                          <p:stCondLst>
                                            <p:cond delay="0"/>
                                          </p:stCondLst>
                                        </p:cTn>
                                        <p:tgtEl>
                                          <p:spTgt spid="64"/>
                                        </p:tgtEl>
                                        <p:attrNameLst>
                                          <p:attrName>style.visibility</p:attrName>
                                        </p:attrNameLst>
                                      </p:cBhvr>
                                      <p:to>
                                        <p:strVal val="visible"/>
                                      </p:to>
                                    </p:set>
                                  </p:childTnLst>
                                  <p:subTnLst>
                                    <p:animClr clrSpc="rgb" dir="cw">
                                      <p:cBhvr override="childStyle">
                                        <p:cTn dur="1" fill="hold" display="0" masterRel="nextClick" afterEffect="1"/>
                                        <p:tgtEl>
                                          <p:spTgt spid="64"/>
                                        </p:tgtEl>
                                        <p:attrNameLst>
                                          <p:attrName>ppt_c</p:attrName>
                                        </p:attrNameLst>
                                      </p:cBhvr>
                                      <p:to>
                                        <a:srgbClr val="B2B2B2"/>
                                      </p:to>
                                    </p:animClr>
                                  </p:subTnLst>
                                </p:cTn>
                              </p:par>
                              <p:par>
                                <p:cTn id="21" presetID="1" presetClass="entr" presetSubtype="0" fill="hold" grpId="0" nodeType="withEffect">
                                  <p:stCondLst>
                                    <p:cond delay="0"/>
                                  </p:stCondLst>
                                  <p:childTnLst>
                                    <p:set>
                                      <p:cBhvr>
                                        <p:cTn id="22" dur="1" fill="hold">
                                          <p:stCondLst>
                                            <p:cond delay="0"/>
                                          </p:stCondLst>
                                        </p:cTn>
                                        <p:tgtEl>
                                          <p:spTgt spid="65"/>
                                        </p:tgtEl>
                                        <p:attrNameLst>
                                          <p:attrName>style.visibility</p:attrName>
                                        </p:attrNameLst>
                                      </p:cBhvr>
                                      <p:to>
                                        <p:strVal val="visible"/>
                                      </p:to>
                                    </p:set>
                                  </p:childTnLst>
                                  <p:subTnLst>
                                    <p:animClr clrSpc="rgb" dir="cw">
                                      <p:cBhvr override="childStyle">
                                        <p:cTn dur="1" fill="hold" display="0" masterRel="nextClick" afterEffect="1"/>
                                        <p:tgtEl>
                                          <p:spTgt spid="65"/>
                                        </p:tgtEl>
                                        <p:attrNameLst>
                                          <p:attrName>ppt_c</p:attrName>
                                        </p:attrNameLst>
                                      </p:cBhvr>
                                      <p:to>
                                        <a:srgbClr val="787A7E"/>
                                      </p:to>
                                    </p:animClr>
                                  </p:subTnLst>
                                </p:cTn>
                              </p:par>
                              <p:par>
                                <p:cTn id="23" presetID="1" presetClass="entr" presetSubtype="0" fill="hold" grpId="0" nodeType="withEffect">
                                  <p:stCondLst>
                                    <p:cond delay="0"/>
                                  </p:stCondLst>
                                  <p:childTnLst>
                                    <p:set>
                                      <p:cBhvr>
                                        <p:cTn id="24" dur="1" fill="hold">
                                          <p:stCondLst>
                                            <p:cond delay="0"/>
                                          </p:stCondLst>
                                        </p:cTn>
                                        <p:tgtEl>
                                          <p:spTgt spid="91"/>
                                        </p:tgtEl>
                                        <p:attrNameLst>
                                          <p:attrName>style.visibility</p:attrName>
                                        </p:attrNameLst>
                                      </p:cBhvr>
                                      <p:to>
                                        <p:strVal val="visible"/>
                                      </p:to>
                                    </p:set>
                                  </p:childTnLst>
                                  <p:subTnLst>
                                    <p:animClr clrSpc="rgb" dir="cw">
                                      <p:cBhvr override="childStyle">
                                        <p:cTn dur="1" fill="hold" display="0" masterRel="nextClick" afterEffect="1"/>
                                        <p:tgtEl>
                                          <p:spTgt spid="91"/>
                                        </p:tgtEl>
                                        <p:attrNameLst>
                                          <p:attrName>ppt_c</p:attrName>
                                        </p:attrNameLst>
                                      </p:cBhvr>
                                      <p:to>
                                        <a:srgbClr val="787A7E"/>
                                      </p:to>
                                    </p:animClr>
                                  </p:subTnLst>
                                </p:cTn>
                              </p:par>
                              <p:par>
                                <p:cTn id="25" presetID="1" presetClass="entr" presetSubtype="0" fill="hold" grpId="0" nodeType="withEffect">
                                  <p:stCondLst>
                                    <p:cond delay="0"/>
                                  </p:stCondLst>
                                  <p:childTnLst>
                                    <p:set>
                                      <p:cBhvr>
                                        <p:cTn id="26" dur="1" fill="hold">
                                          <p:stCondLst>
                                            <p:cond delay="0"/>
                                          </p:stCondLst>
                                        </p:cTn>
                                        <p:tgtEl>
                                          <p:spTgt spid="90"/>
                                        </p:tgtEl>
                                        <p:attrNameLst>
                                          <p:attrName>style.visibility</p:attrName>
                                        </p:attrNameLst>
                                      </p:cBhvr>
                                      <p:to>
                                        <p:strVal val="visible"/>
                                      </p:to>
                                    </p:set>
                                  </p:childTnLst>
                                  <p:subTnLst>
                                    <p:animClr clrSpc="rgb" dir="cw">
                                      <p:cBhvr override="childStyle">
                                        <p:cTn dur="1" fill="hold" display="0" masterRel="nextClick" afterEffect="1"/>
                                        <p:tgtEl>
                                          <p:spTgt spid="90"/>
                                        </p:tgtEl>
                                        <p:attrNameLst>
                                          <p:attrName>ppt_c</p:attrName>
                                        </p:attrNameLst>
                                      </p:cBhvr>
                                      <p:to>
                                        <a:srgbClr val="787A7E"/>
                                      </p:to>
                                    </p:animClr>
                                  </p:sub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5"/>
                                        </p:tgtEl>
                                        <p:attrNameLst>
                                          <p:attrName>style.visibility</p:attrName>
                                        </p:attrNameLst>
                                      </p:cBhvr>
                                      <p:to>
                                        <p:strVal val="visible"/>
                                      </p:to>
                                    </p:set>
                                  </p:childTnLst>
                                  <p:subTnLst>
                                    <p:animClr clrSpc="rgb" dir="cw">
                                      <p:cBhvr override="childStyle">
                                        <p:cTn dur="1" fill="hold" display="0" masterRel="nextClick" afterEffect="1"/>
                                        <p:tgtEl>
                                          <p:spTgt spid="85"/>
                                        </p:tgtEl>
                                        <p:attrNameLst>
                                          <p:attrName>ppt_c</p:attrName>
                                        </p:attrNameLst>
                                      </p:cBhvr>
                                      <p:to>
                                        <a:srgbClr val="B2B2B2"/>
                                      </p:to>
                                    </p:animClr>
                                  </p:subTnLst>
                                </p:cTn>
                              </p:par>
                              <p:par>
                                <p:cTn id="31" presetID="1" presetClass="entr" presetSubtype="0" fill="hold" grpId="0" nodeType="withEffect">
                                  <p:stCondLst>
                                    <p:cond delay="0"/>
                                  </p:stCondLst>
                                  <p:childTnLst>
                                    <p:set>
                                      <p:cBhvr>
                                        <p:cTn id="32" dur="1" fill="hold">
                                          <p:stCondLst>
                                            <p:cond delay="0"/>
                                          </p:stCondLst>
                                        </p:cTn>
                                        <p:tgtEl>
                                          <p:spTgt spid="84"/>
                                        </p:tgtEl>
                                        <p:attrNameLst>
                                          <p:attrName>style.visibility</p:attrName>
                                        </p:attrNameLst>
                                      </p:cBhvr>
                                      <p:to>
                                        <p:strVal val="visible"/>
                                      </p:to>
                                    </p:set>
                                  </p:childTnLst>
                                  <p:subTnLst>
                                    <p:animClr clrSpc="rgb" dir="cw">
                                      <p:cBhvr override="childStyle">
                                        <p:cTn dur="1" fill="hold" display="0" masterRel="nextClick" afterEffect="1"/>
                                        <p:tgtEl>
                                          <p:spTgt spid="84"/>
                                        </p:tgtEl>
                                        <p:attrNameLst>
                                          <p:attrName>ppt_c</p:attrName>
                                        </p:attrNameLst>
                                      </p:cBhvr>
                                      <p:to>
                                        <a:srgbClr val="B2B2B2"/>
                                      </p:to>
                                    </p:animClr>
                                  </p:subTnLst>
                                </p:cTn>
                              </p:par>
                              <p:par>
                                <p:cTn id="33" presetID="1" presetClass="entr" presetSubtype="0" fill="hold" grpId="0" nodeType="withEffect">
                                  <p:stCondLst>
                                    <p:cond delay="0"/>
                                  </p:stCondLst>
                                  <p:childTnLst>
                                    <p:set>
                                      <p:cBhvr>
                                        <p:cTn id="34" dur="1" fill="hold">
                                          <p:stCondLst>
                                            <p:cond delay="0"/>
                                          </p:stCondLst>
                                        </p:cTn>
                                        <p:tgtEl>
                                          <p:spTgt spid="83"/>
                                        </p:tgtEl>
                                        <p:attrNameLst>
                                          <p:attrName>style.visibility</p:attrName>
                                        </p:attrNameLst>
                                      </p:cBhvr>
                                      <p:to>
                                        <p:strVal val="visible"/>
                                      </p:to>
                                    </p:set>
                                  </p:childTnLst>
                                  <p:subTnLst>
                                    <p:animClr clrSpc="rgb" dir="cw">
                                      <p:cBhvr override="childStyle">
                                        <p:cTn dur="1" fill="hold" display="0" masterRel="nextClick" afterEffect="1"/>
                                        <p:tgtEl>
                                          <p:spTgt spid="83"/>
                                        </p:tgtEl>
                                        <p:attrNameLst>
                                          <p:attrName>ppt_c</p:attrName>
                                        </p:attrNameLst>
                                      </p:cBhvr>
                                      <p:to>
                                        <a:srgbClr val="B2B2B2"/>
                                      </p:to>
                                    </p:animClr>
                                  </p:subTnLst>
                                </p:cTn>
                              </p:par>
                              <p:par>
                                <p:cTn id="35" presetID="1" presetClass="entr" presetSubtype="0" fill="hold" grpId="0" nodeType="withEffect">
                                  <p:stCondLst>
                                    <p:cond delay="0"/>
                                  </p:stCondLst>
                                  <p:childTnLst>
                                    <p:set>
                                      <p:cBhvr>
                                        <p:cTn id="36" dur="1" fill="hold">
                                          <p:stCondLst>
                                            <p:cond delay="0"/>
                                          </p:stCondLst>
                                        </p:cTn>
                                        <p:tgtEl>
                                          <p:spTgt spid="61"/>
                                        </p:tgtEl>
                                        <p:attrNameLst>
                                          <p:attrName>style.visibility</p:attrName>
                                        </p:attrNameLst>
                                      </p:cBhvr>
                                      <p:to>
                                        <p:strVal val="visible"/>
                                      </p:to>
                                    </p:set>
                                  </p:childTnLst>
                                  <p:subTnLst>
                                    <p:animClr clrSpc="rgb" dir="cw">
                                      <p:cBhvr override="childStyle">
                                        <p:cTn dur="1" fill="hold" display="0" masterRel="nextClick" afterEffect="1"/>
                                        <p:tgtEl>
                                          <p:spTgt spid="61"/>
                                        </p:tgtEl>
                                        <p:attrNameLst>
                                          <p:attrName>ppt_c</p:attrName>
                                        </p:attrNameLst>
                                      </p:cBhvr>
                                      <p:to>
                                        <a:srgbClr val="787A7E"/>
                                      </p:to>
                                    </p:animClr>
                                  </p:subTnLst>
                                </p:cTn>
                              </p:par>
                              <p:par>
                                <p:cTn id="37" presetID="1"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childTnLst>
                                  <p:subTnLst>
                                    <p:animClr clrSpc="rgb" dir="cw">
                                      <p:cBhvr override="childStyle">
                                        <p:cTn dur="1" fill="hold" display="0" masterRel="nextClick" afterEffect="1"/>
                                        <p:tgtEl>
                                          <p:spTgt spid="60"/>
                                        </p:tgtEl>
                                        <p:attrNameLst>
                                          <p:attrName>ppt_c</p:attrName>
                                        </p:attrNameLst>
                                      </p:cBhvr>
                                      <p:to>
                                        <a:srgbClr val="B2B2B2"/>
                                      </p:to>
                                    </p:animClr>
                                  </p:subTnLst>
                                </p:cTn>
                              </p:par>
                              <p:par>
                                <p:cTn id="39" presetID="1" presetClass="entr" presetSubtype="0" fill="hold" grpId="0" nodeType="withEffect">
                                  <p:stCondLst>
                                    <p:cond delay="0"/>
                                  </p:stCondLst>
                                  <p:childTnLst>
                                    <p:set>
                                      <p:cBhvr>
                                        <p:cTn id="40" dur="1" fill="hold">
                                          <p:stCondLst>
                                            <p:cond delay="0"/>
                                          </p:stCondLst>
                                        </p:cTn>
                                        <p:tgtEl>
                                          <p:spTgt spid="93"/>
                                        </p:tgtEl>
                                        <p:attrNameLst>
                                          <p:attrName>style.visibility</p:attrName>
                                        </p:attrNameLst>
                                      </p:cBhvr>
                                      <p:to>
                                        <p:strVal val="visible"/>
                                      </p:to>
                                    </p:set>
                                  </p:childTnLst>
                                  <p:subTnLst>
                                    <p:animClr clrSpc="rgb" dir="cw">
                                      <p:cBhvr override="childStyle">
                                        <p:cTn dur="1" fill="hold" display="0" masterRel="nextClick" afterEffect="1"/>
                                        <p:tgtEl>
                                          <p:spTgt spid="93"/>
                                        </p:tgtEl>
                                        <p:attrNameLst>
                                          <p:attrName>ppt_c</p:attrName>
                                        </p:attrNameLst>
                                      </p:cBhvr>
                                      <p:to>
                                        <a:srgbClr val="787A7E"/>
                                      </p:to>
                                    </p:animClr>
                                  </p:subTnLst>
                                </p:cTn>
                              </p:par>
                              <p:par>
                                <p:cTn id="41" presetID="1" presetClass="entr" presetSubtype="0" fill="hold" grpId="0" nodeType="withEffect">
                                  <p:stCondLst>
                                    <p:cond delay="0"/>
                                  </p:stCondLst>
                                  <p:childTnLst>
                                    <p:set>
                                      <p:cBhvr>
                                        <p:cTn id="42" dur="1" fill="hold">
                                          <p:stCondLst>
                                            <p:cond delay="0"/>
                                          </p:stCondLst>
                                        </p:cTn>
                                        <p:tgtEl>
                                          <p:spTgt spid="94"/>
                                        </p:tgtEl>
                                        <p:attrNameLst>
                                          <p:attrName>style.visibility</p:attrName>
                                        </p:attrNameLst>
                                      </p:cBhvr>
                                      <p:to>
                                        <p:strVal val="visible"/>
                                      </p:to>
                                    </p:set>
                                  </p:childTnLst>
                                  <p:subTnLst>
                                    <p:animClr clrSpc="rgb" dir="cw">
                                      <p:cBhvr override="childStyle">
                                        <p:cTn dur="1" fill="hold" display="0" masterRel="nextClick" afterEffect="1"/>
                                        <p:tgtEl>
                                          <p:spTgt spid="94"/>
                                        </p:tgtEl>
                                        <p:attrNameLst>
                                          <p:attrName>ppt_c</p:attrName>
                                        </p:attrNameLst>
                                      </p:cBhvr>
                                      <p:to>
                                        <a:srgbClr val="787A7E"/>
                                      </p:to>
                                    </p:animClr>
                                  </p:sub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69"/>
                                        </p:tgtEl>
                                        <p:attrNameLst>
                                          <p:attrName>style.visibility</p:attrName>
                                        </p:attrNameLst>
                                      </p:cBhvr>
                                      <p:to>
                                        <p:strVal val="visible"/>
                                      </p:to>
                                    </p:set>
                                  </p:childTnLst>
                                  <p:subTnLst>
                                    <p:animClr clrSpc="rgb" dir="cw">
                                      <p:cBhvr override="childStyle">
                                        <p:cTn dur="1" fill="hold" display="0" masterRel="nextClick" afterEffect="1"/>
                                        <p:tgtEl>
                                          <p:spTgt spid="69"/>
                                        </p:tgtEl>
                                        <p:attrNameLst>
                                          <p:attrName>ppt_c</p:attrName>
                                        </p:attrNameLst>
                                      </p:cBhvr>
                                      <p:to>
                                        <a:srgbClr val="B2B2B2"/>
                                      </p:to>
                                    </p:animClr>
                                  </p:subTnLst>
                                </p:cTn>
                              </p:par>
                              <p:par>
                                <p:cTn id="47" presetID="1" presetClass="entr" presetSubtype="0" fill="hold" grpId="0" nodeType="withEffect">
                                  <p:stCondLst>
                                    <p:cond delay="0"/>
                                  </p:stCondLst>
                                  <p:childTnLst>
                                    <p:set>
                                      <p:cBhvr>
                                        <p:cTn id="48" dur="1" fill="hold">
                                          <p:stCondLst>
                                            <p:cond delay="0"/>
                                          </p:stCondLst>
                                        </p:cTn>
                                        <p:tgtEl>
                                          <p:spTgt spid="58"/>
                                        </p:tgtEl>
                                        <p:attrNameLst>
                                          <p:attrName>style.visibility</p:attrName>
                                        </p:attrNameLst>
                                      </p:cBhvr>
                                      <p:to>
                                        <p:strVal val="visible"/>
                                      </p:to>
                                    </p:set>
                                  </p:childTnLst>
                                  <p:subTnLst>
                                    <p:animClr clrSpc="rgb" dir="cw">
                                      <p:cBhvr override="childStyle">
                                        <p:cTn dur="1" fill="hold" display="0" masterRel="nextClick" afterEffect="1"/>
                                        <p:tgtEl>
                                          <p:spTgt spid="58"/>
                                        </p:tgtEl>
                                        <p:attrNameLst>
                                          <p:attrName>ppt_c</p:attrName>
                                        </p:attrNameLst>
                                      </p:cBhvr>
                                      <p:to>
                                        <a:srgbClr val="B2B2B2"/>
                                      </p:to>
                                    </p:animClr>
                                  </p:subTnLst>
                                </p:cTn>
                              </p:par>
                              <p:par>
                                <p:cTn id="49" presetID="1" presetClass="entr" presetSubtype="0" fill="hold" grpId="0" nodeType="withEffect">
                                  <p:stCondLst>
                                    <p:cond delay="0"/>
                                  </p:stCondLst>
                                  <p:childTnLst>
                                    <p:set>
                                      <p:cBhvr>
                                        <p:cTn id="50" dur="1" fill="hold">
                                          <p:stCondLst>
                                            <p:cond delay="0"/>
                                          </p:stCondLst>
                                        </p:cTn>
                                        <p:tgtEl>
                                          <p:spTgt spid="59"/>
                                        </p:tgtEl>
                                        <p:attrNameLst>
                                          <p:attrName>style.visibility</p:attrName>
                                        </p:attrNameLst>
                                      </p:cBhvr>
                                      <p:to>
                                        <p:strVal val="visible"/>
                                      </p:to>
                                    </p:set>
                                  </p:childTnLst>
                                  <p:subTnLst>
                                    <p:animClr clrSpc="rgb" dir="cw">
                                      <p:cBhvr override="childStyle">
                                        <p:cTn dur="1" fill="hold" display="0" masterRel="nextClick" afterEffect="1"/>
                                        <p:tgtEl>
                                          <p:spTgt spid="59"/>
                                        </p:tgtEl>
                                        <p:attrNameLst>
                                          <p:attrName>ppt_c</p:attrName>
                                        </p:attrNameLst>
                                      </p:cBhvr>
                                      <p:to>
                                        <a:srgbClr val="787A7E"/>
                                      </p:to>
                                    </p:animClr>
                                  </p:subTnLst>
                                </p:cTn>
                              </p:par>
                              <p:par>
                                <p:cTn id="51" presetID="1" presetClass="entr" presetSubtype="0" fill="hold" grpId="0" nodeType="withEffect">
                                  <p:stCondLst>
                                    <p:cond delay="0"/>
                                  </p:stCondLst>
                                  <p:childTnLst>
                                    <p:set>
                                      <p:cBhvr>
                                        <p:cTn id="52" dur="1" fill="hold">
                                          <p:stCondLst>
                                            <p:cond delay="0"/>
                                          </p:stCondLst>
                                        </p:cTn>
                                        <p:tgtEl>
                                          <p:spTgt spid="96"/>
                                        </p:tgtEl>
                                        <p:attrNameLst>
                                          <p:attrName>style.visibility</p:attrName>
                                        </p:attrNameLst>
                                      </p:cBhvr>
                                      <p:to>
                                        <p:strVal val="visible"/>
                                      </p:to>
                                    </p:set>
                                  </p:childTnLst>
                                  <p:subTnLst>
                                    <p:animClr clrSpc="rgb" dir="cw">
                                      <p:cBhvr override="childStyle">
                                        <p:cTn dur="1" fill="hold" display="0" masterRel="nextClick" afterEffect="1"/>
                                        <p:tgtEl>
                                          <p:spTgt spid="96"/>
                                        </p:tgtEl>
                                        <p:attrNameLst>
                                          <p:attrName>ppt_c</p:attrName>
                                        </p:attrNameLst>
                                      </p:cBhvr>
                                      <p:to>
                                        <a:srgbClr val="787A7E"/>
                                      </p:to>
                                    </p:animClr>
                                  </p:subTnLst>
                                </p:cTn>
                              </p:par>
                              <p:par>
                                <p:cTn id="53" presetID="1" presetClass="entr" presetSubtype="0" fill="hold" grpId="0" nodeType="withEffect">
                                  <p:stCondLst>
                                    <p:cond delay="0"/>
                                  </p:stCondLst>
                                  <p:childTnLst>
                                    <p:set>
                                      <p:cBhvr>
                                        <p:cTn id="54" dur="1" fill="hold">
                                          <p:stCondLst>
                                            <p:cond delay="0"/>
                                          </p:stCondLst>
                                        </p:cTn>
                                        <p:tgtEl>
                                          <p:spTgt spid="97"/>
                                        </p:tgtEl>
                                        <p:attrNameLst>
                                          <p:attrName>style.visibility</p:attrName>
                                        </p:attrNameLst>
                                      </p:cBhvr>
                                      <p:to>
                                        <p:strVal val="visible"/>
                                      </p:to>
                                    </p:set>
                                  </p:childTnLst>
                                  <p:subTnLst>
                                    <p:animClr clrSpc="rgb" dir="cw">
                                      <p:cBhvr override="childStyle">
                                        <p:cTn dur="1" fill="hold" display="0" masterRel="nextClick" afterEffect="1"/>
                                        <p:tgtEl>
                                          <p:spTgt spid="97"/>
                                        </p:tgtEl>
                                        <p:attrNameLst>
                                          <p:attrName>ppt_c</p:attrName>
                                        </p:attrNameLst>
                                      </p:cBhvr>
                                      <p:to>
                                        <a:srgbClr val="787A7E"/>
                                      </p:to>
                                    </p:animClr>
                                  </p:sub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81"/>
                                        </p:tgtEl>
                                        <p:attrNameLst>
                                          <p:attrName>style.visibility</p:attrName>
                                        </p:attrNameLst>
                                      </p:cBhvr>
                                      <p:to>
                                        <p:strVal val="visible"/>
                                      </p:to>
                                    </p:set>
                                  </p:childTnLst>
                                  <p:subTnLst>
                                    <p:animClr clrSpc="rgb" dir="cw">
                                      <p:cBhvr override="childStyle">
                                        <p:cTn dur="1" fill="hold" display="0" masterRel="nextClick" afterEffect="1"/>
                                        <p:tgtEl>
                                          <p:spTgt spid="81"/>
                                        </p:tgtEl>
                                        <p:attrNameLst>
                                          <p:attrName>ppt_c</p:attrName>
                                        </p:attrNameLst>
                                      </p:cBhvr>
                                      <p:to>
                                        <a:srgbClr val="B2B2B2"/>
                                      </p:to>
                                    </p:animClr>
                                  </p:subTnLst>
                                </p:cTn>
                              </p:par>
                              <p:par>
                                <p:cTn id="59" presetID="1" presetClass="entr" presetSubtype="0" fill="hold" grpId="0" nodeType="withEffect">
                                  <p:stCondLst>
                                    <p:cond delay="0"/>
                                  </p:stCondLst>
                                  <p:childTnLst>
                                    <p:set>
                                      <p:cBhvr>
                                        <p:cTn id="60" dur="1" fill="hold">
                                          <p:stCondLst>
                                            <p:cond delay="0"/>
                                          </p:stCondLst>
                                        </p:cTn>
                                        <p:tgtEl>
                                          <p:spTgt spid="53"/>
                                        </p:tgtEl>
                                        <p:attrNameLst>
                                          <p:attrName>style.visibility</p:attrName>
                                        </p:attrNameLst>
                                      </p:cBhvr>
                                      <p:to>
                                        <p:strVal val="visible"/>
                                      </p:to>
                                    </p:set>
                                  </p:childTnLst>
                                  <p:subTnLst>
                                    <p:animClr clrSpc="rgb" dir="cw">
                                      <p:cBhvr override="childStyle">
                                        <p:cTn dur="1" fill="hold" display="0" masterRel="nextClick" afterEffect="1"/>
                                        <p:tgtEl>
                                          <p:spTgt spid="53"/>
                                        </p:tgtEl>
                                        <p:attrNameLst>
                                          <p:attrName>ppt_c</p:attrName>
                                        </p:attrNameLst>
                                      </p:cBhvr>
                                      <p:to>
                                        <a:srgbClr val="787A7E"/>
                                      </p:to>
                                    </p:animClr>
                                  </p:subTnLst>
                                </p:cTn>
                              </p:par>
                              <p:par>
                                <p:cTn id="61" presetID="1" presetClass="entr" presetSubtype="0" fill="hold" grpId="0" nodeType="withEffect">
                                  <p:stCondLst>
                                    <p:cond delay="0"/>
                                  </p:stCondLst>
                                  <p:childTnLst>
                                    <p:set>
                                      <p:cBhvr>
                                        <p:cTn id="62" dur="1" fill="hold">
                                          <p:stCondLst>
                                            <p:cond delay="0"/>
                                          </p:stCondLst>
                                        </p:cTn>
                                        <p:tgtEl>
                                          <p:spTgt spid="52"/>
                                        </p:tgtEl>
                                        <p:attrNameLst>
                                          <p:attrName>style.visibility</p:attrName>
                                        </p:attrNameLst>
                                      </p:cBhvr>
                                      <p:to>
                                        <p:strVal val="visible"/>
                                      </p:to>
                                    </p:set>
                                  </p:childTnLst>
                                  <p:subTnLst>
                                    <p:animClr clrSpc="rgb" dir="cw">
                                      <p:cBhvr override="childStyle">
                                        <p:cTn dur="1" fill="hold" display="0" masterRel="nextClick" afterEffect="1"/>
                                        <p:tgtEl>
                                          <p:spTgt spid="52"/>
                                        </p:tgtEl>
                                        <p:attrNameLst>
                                          <p:attrName>ppt_c</p:attrName>
                                        </p:attrNameLst>
                                      </p:cBhvr>
                                      <p:to>
                                        <a:srgbClr val="B2B2B2"/>
                                      </p:to>
                                    </p:animClr>
                                  </p:subTnLst>
                                </p:cTn>
                              </p:par>
                              <p:par>
                                <p:cTn id="63" presetID="1" presetClass="entr" presetSubtype="0" fill="hold" grpId="0" nodeType="withEffect">
                                  <p:stCondLst>
                                    <p:cond delay="0"/>
                                  </p:stCondLst>
                                  <p:childTnLst>
                                    <p:set>
                                      <p:cBhvr>
                                        <p:cTn id="64" dur="1" fill="hold">
                                          <p:stCondLst>
                                            <p:cond delay="0"/>
                                          </p:stCondLst>
                                        </p:cTn>
                                        <p:tgtEl>
                                          <p:spTgt spid="105"/>
                                        </p:tgtEl>
                                        <p:attrNameLst>
                                          <p:attrName>style.visibility</p:attrName>
                                        </p:attrNameLst>
                                      </p:cBhvr>
                                      <p:to>
                                        <p:strVal val="visible"/>
                                      </p:to>
                                    </p:set>
                                  </p:childTnLst>
                                  <p:subTnLst>
                                    <p:animClr clrSpc="rgb" dir="cw">
                                      <p:cBhvr override="childStyle">
                                        <p:cTn dur="1" fill="hold" display="0" masterRel="nextClick" afterEffect="1"/>
                                        <p:tgtEl>
                                          <p:spTgt spid="105"/>
                                        </p:tgtEl>
                                        <p:attrNameLst>
                                          <p:attrName>ppt_c</p:attrName>
                                        </p:attrNameLst>
                                      </p:cBhvr>
                                      <p:to>
                                        <a:srgbClr val="787A7E"/>
                                      </p:to>
                                    </p:animClr>
                                  </p:subTnLst>
                                </p:cTn>
                              </p:par>
                              <p:par>
                                <p:cTn id="65" presetID="1" presetClass="entr" presetSubtype="0" fill="hold" grpId="0" nodeType="withEffect">
                                  <p:stCondLst>
                                    <p:cond delay="0"/>
                                  </p:stCondLst>
                                  <p:childTnLst>
                                    <p:set>
                                      <p:cBhvr>
                                        <p:cTn id="66" dur="1" fill="hold">
                                          <p:stCondLst>
                                            <p:cond delay="0"/>
                                          </p:stCondLst>
                                        </p:cTn>
                                        <p:tgtEl>
                                          <p:spTgt spid="106"/>
                                        </p:tgtEl>
                                        <p:attrNameLst>
                                          <p:attrName>style.visibility</p:attrName>
                                        </p:attrNameLst>
                                      </p:cBhvr>
                                      <p:to>
                                        <p:strVal val="visible"/>
                                      </p:to>
                                    </p:set>
                                  </p:childTnLst>
                                  <p:subTnLst>
                                    <p:animClr clrSpc="rgb" dir="cw">
                                      <p:cBhvr override="childStyle">
                                        <p:cTn dur="1" fill="hold" display="0" masterRel="nextClick" afterEffect="1"/>
                                        <p:tgtEl>
                                          <p:spTgt spid="106"/>
                                        </p:tgtEl>
                                        <p:attrNameLst>
                                          <p:attrName>ppt_c</p:attrName>
                                        </p:attrNameLst>
                                      </p:cBhvr>
                                      <p:to>
                                        <a:srgbClr val="787A7E"/>
                                      </p:to>
                                    </p:animClr>
                                  </p:sub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79"/>
                                        </p:tgtEl>
                                        <p:attrNameLst>
                                          <p:attrName>style.visibility</p:attrName>
                                        </p:attrNameLst>
                                      </p:cBhvr>
                                      <p:to>
                                        <p:strVal val="visible"/>
                                      </p:to>
                                    </p:set>
                                  </p:childTnLst>
                                  <p:subTnLst>
                                    <p:animClr clrSpc="rgb" dir="cw">
                                      <p:cBhvr override="childStyle">
                                        <p:cTn dur="1" fill="hold" display="0" masterRel="nextClick" afterEffect="1"/>
                                        <p:tgtEl>
                                          <p:spTgt spid="79"/>
                                        </p:tgtEl>
                                        <p:attrNameLst>
                                          <p:attrName>ppt_c</p:attrName>
                                        </p:attrNameLst>
                                      </p:cBhvr>
                                      <p:to>
                                        <a:srgbClr val="B2B2B2"/>
                                      </p:to>
                                    </p:animClr>
                                  </p:subTnLst>
                                </p:cTn>
                              </p:par>
                              <p:par>
                                <p:cTn id="71" presetID="1" presetClass="entr" presetSubtype="0" fill="hold" grpId="0" nodeType="withEffect">
                                  <p:stCondLst>
                                    <p:cond delay="0"/>
                                  </p:stCondLst>
                                  <p:childTnLst>
                                    <p:set>
                                      <p:cBhvr>
                                        <p:cTn id="72" dur="1" fill="hold">
                                          <p:stCondLst>
                                            <p:cond delay="0"/>
                                          </p:stCondLst>
                                        </p:cTn>
                                        <p:tgtEl>
                                          <p:spTgt spid="78"/>
                                        </p:tgtEl>
                                        <p:attrNameLst>
                                          <p:attrName>style.visibility</p:attrName>
                                        </p:attrNameLst>
                                      </p:cBhvr>
                                      <p:to>
                                        <p:strVal val="visible"/>
                                      </p:to>
                                    </p:set>
                                  </p:childTnLst>
                                  <p:subTnLst>
                                    <p:animClr clrSpc="rgb" dir="cw">
                                      <p:cBhvr override="childStyle">
                                        <p:cTn dur="1" fill="hold" display="0" masterRel="nextClick" afterEffect="1"/>
                                        <p:tgtEl>
                                          <p:spTgt spid="78"/>
                                        </p:tgtEl>
                                        <p:attrNameLst>
                                          <p:attrName>ppt_c</p:attrName>
                                        </p:attrNameLst>
                                      </p:cBhvr>
                                      <p:to>
                                        <a:srgbClr val="B2B2B2"/>
                                      </p:to>
                                    </p:animClr>
                                  </p:subTnLst>
                                </p:cTn>
                              </p:par>
                              <p:par>
                                <p:cTn id="73" presetID="1" presetClass="entr" presetSubtype="0" fill="hold" grpId="0" nodeType="withEffect">
                                  <p:stCondLst>
                                    <p:cond delay="0"/>
                                  </p:stCondLst>
                                  <p:childTnLst>
                                    <p:set>
                                      <p:cBhvr>
                                        <p:cTn id="74" dur="1" fill="hold">
                                          <p:stCondLst>
                                            <p:cond delay="0"/>
                                          </p:stCondLst>
                                        </p:cTn>
                                        <p:tgtEl>
                                          <p:spTgt spid="77"/>
                                        </p:tgtEl>
                                        <p:attrNameLst>
                                          <p:attrName>style.visibility</p:attrName>
                                        </p:attrNameLst>
                                      </p:cBhvr>
                                      <p:to>
                                        <p:strVal val="visible"/>
                                      </p:to>
                                    </p:set>
                                  </p:childTnLst>
                                  <p:subTnLst>
                                    <p:animClr clrSpc="rgb" dir="cw">
                                      <p:cBhvr override="childStyle">
                                        <p:cTn dur="1" fill="hold" display="0" masterRel="nextClick" afterEffect="1"/>
                                        <p:tgtEl>
                                          <p:spTgt spid="77"/>
                                        </p:tgtEl>
                                        <p:attrNameLst>
                                          <p:attrName>ppt_c</p:attrName>
                                        </p:attrNameLst>
                                      </p:cBhvr>
                                      <p:to>
                                        <a:srgbClr val="B2B2B2"/>
                                      </p:to>
                                    </p:animClr>
                                  </p:subTnLst>
                                </p:cTn>
                              </p:par>
                              <p:par>
                                <p:cTn id="75" presetID="1" presetClass="entr" presetSubtype="0" fill="hold" grpId="0" nodeType="withEffect">
                                  <p:stCondLst>
                                    <p:cond delay="0"/>
                                  </p:stCondLst>
                                  <p:childTnLst>
                                    <p:set>
                                      <p:cBhvr>
                                        <p:cTn id="76" dur="1" fill="hold">
                                          <p:stCondLst>
                                            <p:cond delay="0"/>
                                          </p:stCondLst>
                                        </p:cTn>
                                        <p:tgtEl>
                                          <p:spTgt spid="76"/>
                                        </p:tgtEl>
                                        <p:attrNameLst>
                                          <p:attrName>style.visibility</p:attrName>
                                        </p:attrNameLst>
                                      </p:cBhvr>
                                      <p:to>
                                        <p:strVal val="visible"/>
                                      </p:to>
                                    </p:set>
                                  </p:childTnLst>
                                  <p:subTnLst>
                                    <p:animClr clrSpc="rgb" dir="cw">
                                      <p:cBhvr override="childStyle">
                                        <p:cTn dur="1" fill="hold" display="0" masterRel="nextClick" afterEffect="1"/>
                                        <p:tgtEl>
                                          <p:spTgt spid="76"/>
                                        </p:tgtEl>
                                        <p:attrNameLst>
                                          <p:attrName>ppt_c</p:attrName>
                                        </p:attrNameLst>
                                      </p:cBhvr>
                                      <p:to>
                                        <a:srgbClr val="B2B2B2"/>
                                      </p:to>
                                    </p:animClr>
                                  </p:subTnLst>
                                </p:cTn>
                              </p:par>
                              <p:par>
                                <p:cTn id="77" presetID="1" presetClass="entr" presetSubtype="0" fill="hold" grpId="0" nodeType="withEffect">
                                  <p:stCondLst>
                                    <p:cond delay="0"/>
                                  </p:stCondLst>
                                  <p:childTnLst>
                                    <p:set>
                                      <p:cBhvr>
                                        <p:cTn id="78" dur="1" fill="hold">
                                          <p:stCondLst>
                                            <p:cond delay="0"/>
                                          </p:stCondLst>
                                        </p:cTn>
                                        <p:tgtEl>
                                          <p:spTgt spid="74"/>
                                        </p:tgtEl>
                                        <p:attrNameLst>
                                          <p:attrName>style.visibility</p:attrName>
                                        </p:attrNameLst>
                                      </p:cBhvr>
                                      <p:to>
                                        <p:strVal val="visible"/>
                                      </p:to>
                                    </p:set>
                                  </p:childTnLst>
                                  <p:subTnLst>
                                    <p:animClr clrSpc="rgb" dir="cw">
                                      <p:cBhvr override="childStyle">
                                        <p:cTn dur="1" fill="hold" display="0" masterRel="nextClick" afterEffect="1"/>
                                        <p:tgtEl>
                                          <p:spTgt spid="74"/>
                                        </p:tgtEl>
                                        <p:attrNameLst>
                                          <p:attrName>ppt_c</p:attrName>
                                        </p:attrNameLst>
                                      </p:cBhvr>
                                      <p:to>
                                        <a:srgbClr val="B2B2B2"/>
                                      </p:to>
                                    </p:animClr>
                                  </p:subTnLst>
                                </p:cTn>
                              </p:par>
                              <p:par>
                                <p:cTn id="79" presetID="1" presetClass="entr" presetSubtype="0" fill="hold" grpId="0" nodeType="withEffect">
                                  <p:stCondLst>
                                    <p:cond delay="0"/>
                                  </p:stCondLst>
                                  <p:childTnLst>
                                    <p:set>
                                      <p:cBhvr>
                                        <p:cTn id="80" dur="1" fill="hold">
                                          <p:stCondLst>
                                            <p:cond delay="0"/>
                                          </p:stCondLst>
                                        </p:cTn>
                                        <p:tgtEl>
                                          <p:spTgt spid="72"/>
                                        </p:tgtEl>
                                        <p:attrNameLst>
                                          <p:attrName>style.visibility</p:attrName>
                                        </p:attrNameLst>
                                      </p:cBhvr>
                                      <p:to>
                                        <p:strVal val="visible"/>
                                      </p:to>
                                    </p:set>
                                  </p:childTnLst>
                                  <p:subTnLst>
                                    <p:animClr clrSpc="rgb" dir="cw">
                                      <p:cBhvr override="childStyle">
                                        <p:cTn dur="1" fill="hold" display="0" masterRel="nextClick" afterEffect="1"/>
                                        <p:tgtEl>
                                          <p:spTgt spid="72"/>
                                        </p:tgtEl>
                                        <p:attrNameLst>
                                          <p:attrName>ppt_c</p:attrName>
                                        </p:attrNameLst>
                                      </p:cBhvr>
                                      <p:to>
                                        <a:srgbClr val="B2B2B2"/>
                                      </p:to>
                                    </p:animClr>
                                  </p:subTnLst>
                                </p:cTn>
                              </p:par>
                              <p:par>
                                <p:cTn id="81" presetID="1" presetClass="entr" presetSubtype="0" fill="hold" grpId="0" nodeType="withEffect">
                                  <p:stCondLst>
                                    <p:cond delay="0"/>
                                  </p:stCondLst>
                                  <p:childTnLst>
                                    <p:set>
                                      <p:cBhvr>
                                        <p:cTn id="82" dur="1" fill="hold">
                                          <p:stCondLst>
                                            <p:cond delay="0"/>
                                          </p:stCondLst>
                                        </p:cTn>
                                        <p:tgtEl>
                                          <p:spTgt spid="71"/>
                                        </p:tgtEl>
                                        <p:attrNameLst>
                                          <p:attrName>style.visibility</p:attrName>
                                        </p:attrNameLst>
                                      </p:cBhvr>
                                      <p:to>
                                        <p:strVal val="visible"/>
                                      </p:to>
                                    </p:set>
                                  </p:childTnLst>
                                  <p:subTnLst>
                                    <p:animClr clrSpc="rgb" dir="cw">
                                      <p:cBhvr override="childStyle">
                                        <p:cTn dur="1" fill="hold" display="0" masterRel="nextClick" afterEffect="1"/>
                                        <p:tgtEl>
                                          <p:spTgt spid="71"/>
                                        </p:tgtEl>
                                        <p:attrNameLst>
                                          <p:attrName>ppt_c</p:attrName>
                                        </p:attrNameLst>
                                      </p:cBhvr>
                                      <p:to>
                                        <a:srgbClr val="B2B2B2"/>
                                      </p:to>
                                    </p:animClr>
                                  </p:subTnLst>
                                </p:cTn>
                              </p:par>
                              <p:par>
                                <p:cTn id="83" presetID="1" presetClass="entr" presetSubtype="0" fill="hold" grpId="0" nodeType="withEffect">
                                  <p:stCondLst>
                                    <p:cond delay="0"/>
                                  </p:stCondLst>
                                  <p:childTnLst>
                                    <p:set>
                                      <p:cBhvr>
                                        <p:cTn id="84" dur="1" fill="hold">
                                          <p:stCondLst>
                                            <p:cond delay="0"/>
                                          </p:stCondLst>
                                        </p:cTn>
                                        <p:tgtEl>
                                          <p:spTgt spid="50"/>
                                        </p:tgtEl>
                                        <p:attrNameLst>
                                          <p:attrName>style.visibility</p:attrName>
                                        </p:attrNameLst>
                                      </p:cBhvr>
                                      <p:to>
                                        <p:strVal val="visible"/>
                                      </p:to>
                                    </p:set>
                                  </p:childTnLst>
                                  <p:subTnLst>
                                    <p:animClr clrSpc="rgb" dir="cw">
                                      <p:cBhvr override="childStyle">
                                        <p:cTn dur="1" fill="hold" display="0" masterRel="nextClick" afterEffect="1"/>
                                        <p:tgtEl>
                                          <p:spTgt spid="50"/>
                                        </p:tgtEl>
                                        <p:attrNameLst>
                                          <p:attrName>ppt_c</p:attrName>
                                        </p:attrNameLst>
                                      </p:cBhvr>
                                      <p:to>
                                        <a:srgbClr val="B2B2B2"/>
                                      </p:to>
                                    </p:animClr>
                                  </p:subTnLst>
                                </p:cTn>
                              </p:par>
                              <p:par>
                                <p:cTn id="85" presetID="1" presetClass="entr" presetSubtype="0" fill="hold" grpId="0" nodeType="withEffect">
                                  <p:stCondLst>
                                    <p:cond delay="0"/>
                                  </p:stCondLst>
                                  <p:childTnLst>
                                    <p:set>
                                      <p:cBhvr>
                                        <p:cTn id="86" dur="1" fill="hold">
                                          <p:stCondLst>
                                            <p:cond delay="0"/>
                                          </p:stCondLst>
                                        </p:cTn>
                                        <p:tgtEl>
                                          <p:spTgt spid="51"/>
                                        </p:tgtEl>
                                        <p:attrNameLst>
                                          <p:attrName>style.visibility</p:attrName>
                                        </p:attrNameLst>
                                      </p:cBhvr>
                                      <p:to>
                                        <p:strVal val="visible"/>
                                      </p:to>
                                    </p:set>
                                  </p:childTnLst>
                                  <p:subTnLst>
                                    <p:animClr clrSpc="rgb" dir="cw">
                                      <p:cBhvr override="childStyle">
                                        <p:cTn dur="1" fill="hold" display="0" masterRel="nextClick" afterEffect="1"/>
                                        <p:tgtEl>
                                          <p:spTgt spid="51"/>
                                        </p:tgtEl>
                                        <p:attrNameLst>
                                          <p:attrName>ppt_c</p:attrName>
                                        </p:attrNameLst>
                                      </p:cBhvr>
                                      <p:to>
                                        <a:srgbClr val="787A7E"/>
                                      </p:to>
                                    </p:animClr>
                                  </p:subTnLst>
                                </p:cTn>
                              </p:par>
                              <p:par>
                                <p:cTn id="87" presetID="1" presetClass="entr" presetSubtype="0" fill="hold" grpId="0" nodeType="withEffect">
                                  <p:stCondLst>
                                    <p:cond delay="0"/>
                                  </p:stCondLst>
                                  <p:childTnLst>
                                    <p:set>
                                      <p:cBhvr>
                                        <p:cTn id="88" dur="1" fill="hold">
                                          <p:stCondLst>
                                            <p:cond delay="0"/>
                                          </p:stCondLst>
                                        </p:cTn>
                                        <p:tgtEl>
                                          <p:spTgt spid="99"/>
                                        </p:tgtEl>
                                        <p:attrNameLst>
                                          <p:attrName>style.visibility</p:attrName>
                                        </p:attrNameLst>
                                      </p:cBhvr>
                                      <p:to>
                                        <p:strVal val="visible"/>
                                      </p:to>
                                    </p:set>
                                  </p:childTnLst>
                                  <p:subTnLst>
                                    <p:animClr clrSpc="rgb" dir="cw">
                                      <p:cBhvr override="childStyle">
                                        <p:cTn dur="1" fill="hold" display="0" masterRel="nextClick" afterEffect="1"/>
                                        <p:tgtEl>
                                          <p:spTgt spid="99"/>
                                        </p:tgtEl>
                                        <p:attrNameLst>
                                          <p:attrName>ppt_c</p:attrName>
                                        </p:attrNameLst>
                                      </p:cBhvr>
                                      <p:to>
                                        <a:srgbClr val="787A7E"/>
                                      </p:to>
                                    </p:animClr>
                                  </p:subTnLst>
                                </p:cTn>
                              </p:par>
                              <p:par>
                                <p:cTn id="89" presetID="1" presetClass="entr" presetSubtype="0" fill="hold" grpId="0" nodeType="withEffect">
                                  <p:stCondLst>
                                    <p:cond delay="0"/>
                                  </p:stCondLst>
                                  <p:childTnLst>
                                    <p:set>
                                      <p:cBhvr>
                                        <p:cTn id="90" dur="1" fill="hold">
                                          <p:stCondLst>
                                            <p:cond delay="0"/>
                                          </p:stCondLst>
                                        </p:cTn>
                                        <p:tgtEl>
                                          <p:spTgt spid="100"/>
                                        </p:tgtEl>
                                        <p:attrNameLst>
                                          <p:attrName>style.visibility</p:attrName>
                                        </p:attrNameLst>
                                      </p:cBhvr>
                                      <p:to>
                                        <p:strVal val="visible"/>
                                      </p:to>
                                    </p:set>
                                  </p:childTnLst>
                                  <p:subTnLst>
                                    <p:animClr clrSpc="rgb" dir="cw">
                                      <p:cBhvr override="childStyle">
                                        <p:cTn dur="1" fill="hold" display="0" masterRel="nextClick" afterEffect="1"/>
                                        <p:tgtEl>
                                          <p:spTgt spid="100"/>
                                        </p:tgtEl>
                                        <p:attrNameLst>
                                          <p:attrName>ppt_c</p:attrName>
                                        </p:attrNameLst>
                                      </p:cBhvr>
                                      <p:to>
                                        <a:srgbClr val="787A7E"/>
                                      </p:to>
                                    </p:animClr>
                                  </p:subTnLst>
                                </p:cTn>
                              </p:par>
                            </p:childTnLst>
                          </p:cTn>
                        </p:par>
                      </p:childTnLst>
                    </p:cTn>
                  </p:par>
                  <p:par>
                    <p:cTn id="91" fill="hold">
                      <p:stCondLst>
                        <p:cond delay="indefinite"/>
                      </p:stCondLst>
                      <p:childTnLst>
                        <p:par>
                          <p:cTn id="92" fill="hold">
                            <p:stCondLst>
                              <p:cond delay="0"/>
                            </p:stCondLst>
                            <p:childTnLst>
                              <p:par>
                                <p:cTn id="93" presetID="1" presetClass="entr" presetSubtype="0" fill="hold" nodeType="clickEffect">
                                  <p:stCondLst>
                                    <p:cond delay="0"/>
                                  </p:stCondLst>
                                  <p:childTnLst>
                                    <p:set>
                                      <p:cBhvr>
                                        <p:cTn id="94" dur="1" fill="hold">
                                          <p:stCondLst>
                                            <p:cond delay="0"/>
                                          </p:stCondLst>
                                        </p:cTn>
                                        <p:tgtEl>
                                          <p:spTgt spid="111"/>
                                        </p:tgtEl>
                                        <p:attrNameLst>
                                          <p:attrName>style.visibility</p:attrName>
                                        </p:attrNameLst>
                                      </p:cBhvr>
                                      <p:to>
                                        <p:strVal val="visible"/>
                                      </p:to>
                                    </p:set>
                                  </p:childTnLst>
                                  <p:subTnLst>
                                    <p:animClr clrSpc="rgb" dir="cw">
                                      <p:cBhvr override="childStyle">
                                        <p:cTn dur="1" fill="hold" display="0" masterRel="nextClick" afterEffect="1"/>
                                        <p:tgtEl>
                                          <p:spTgt spid="111"/>
                                        </p:tgtEl>
                                        <p:attrNameLst>
                                          <p:attrName>ppt_c</p:attrName>
                                        </p:attrNameLst>
                                      </p:cBhvr>
                                      <p:to>
                                        <a:srgbClr val="B2B2B2"/>
                                      </p:to>
                                    </p:animClr>
                                  </p:subTnLst>
                                </p:cTn>
                              </p:par>
                              <p:par>
                                <p:cTn id="95" presetID="1" presetClass="entr" presetSubtype="0" fill="hold" grpId="0" nodeType="withEffect">
                                  <p:stCondLst>
                                    <p:cond delay="0"/>
                                  </p:stCondLst>
                                  <p:childTnLst>
                                    <p:set>
                                      <p:cBhvr>
                                        <p:cTn id="96" dur="1" fill="hold">
                                          <p:stCondLst>
                                            <p:cond delay="0"/>
                                          </p:stCondLst>
                                        </p:cTn>
                                        <p:tgtEl>
                                          <p:spTgt spid="30"/>
                                        </p:tgtEl>
                                        <p:attrNameLst>
                                          <p:attrName>style.visibility</p:attrName>
                                        </p:attrNameLst>
                                      </p:cBhvr>
                                      <p:to>
                                        <p:strVal val="visible"/>
                                      </p:to>
                                    </p:set>
                                  </p:childTnLst>
                                  <p:subTnLst>
                                    <p:animClr clrSpc="rgb" dir="cw">
                                      <p:cBhvr override="childStyle">
                                        <p:cTn dur="1" fill="hold" display="0" masterRel="nextClick" afterEffect="1"/>
                                        <p:tgtEl>
                                          <p:spTgt spid="30"/>
                                        </p:tgtEl>
                                        <p:attrNameLst>
                                          <p:attrName>ppt_c</p:attrName>
                                        </p:attrNameLst>
                                      </p:cBhvr>
                                      <p:to>
                                        <a:srgbClr val="787A7E"/>
                                      </p:to>
                                    </p:animClr>
                                  </p:subTnLst>
                                </p:cTn>
                              </p:par>
                              <p:par>
                                <p:cTn id="97" presetID="1" presetClass="entr" presetSubtype="0" fill="hold" grpId="0" nodeType="withEffect">
                                  <p:stCondLst>
                                    <p:cond delay="0"/>
                                  </p:stCondLst>
                                  <p:childTnLst>
                                    <p:set>
                                      <p:cBhvr>
                                        <p:cTn id="98" dur="1" fill="hold">
                                          <p:stCondLst>
                                            <p:cond delay="0"/>
                                          </p:stCondLst>
                                        </p:cTn>
                                        <p:tgtEl>
                                          <p:spTgt spid="29"/>
                                        </p:tgtEl>
                                        <p:attrNameLst>
                                          <p:attrName>style.visibility</p:attrName>
                                        </p:attrNameLst>
                                      </p:cBhvr>
                                      <p:to>
                                        <p:strVal val="visible"/>
                                      </p:to>
                                    </p:set>
                                  </p:childTnLst>
                                  <p:subTnLst>
                                    <p:animClr clrSpc="rgb" dir="cw">
                                      <p:cBhvr override="childStyle">
                                        <p:cTn dur="1" fill="hold" display="0" masterRel="nextClick" afterEffect="1"/>
                                        <p:tgtEl>
                                          <p:spTgt spid="29"/>
                                        </p:tgtEl>
                                        <p:attrNameLst>
                                          <p:attrName>ppt_c</p:attrName>
                                        </p:attrNameLst>
                                      </p:cBhvr>
                                      <p:to>
                                        <a:srgbClr val="B2B2B2"/>
                                      </p:to>
                                    </p:animClr>
                                  </p:subTnLst>
                                </p:cTn>
                              </p:par>
                              <p:par>
                                <p:cTn id="99" presetID="1" presetClass="entr" presetSubtype="0" fill="hold" grpId="0" nodeType="withEffect">
                                  <p:stCondLst>
                                    <p:cond delay="0"/>
                                  </p:stCondLst>
                                  <p:childTnLst>
                                    <p:set>
                                      <p:cBhvr>
                                        <p:cTn id="100" dur="1" fill="hold">
                                          <p:stCondLst>
                                            <p:cond delay="0"/>
                                          </p:stCondLst>
                                        </p:cTn>
                                        <p:tgtEl>
                                          <p:spTgt spid="108"/>
                                        </p:tgtEl>
                                        <p:attrNameLst>
                                          <p:attrName>style.visibility</p:attrName>
                                        </p:attrNameLst>
                                      </p:cBhvr>
                                      <p:to>
                                        <p:strVal val="visible"/>
                                      </p:to>
                                    </p:set>
                                  </p:childTnLst>
                                  <p:subTnLst>
                                    <p:animClr clrSpc="rgb" dir="cw">
                                      <p:cBhvr override="childStyle">
                                        <p:cTn dur="1" fill="hold" display="0" masterRel="nextClick" afterEffect="1"/>
                                        <p:tgtEl>
                                          <p:spTgt spid="108"/>
                                        </p:tgtEl>
                                        <p:attrNameLst>
                                          <p:attrName>ppt_c</p:attrName>
                                        </p:attrNameLst>
                                      </p:cBhvr>
                                      <p:to>
                                        <a:srgbClr val="787A7E"/>
                                      </p:to>
                                    </p:animClr>
                                  </p:subTnLst>
                                </p:cTn>
                              </p:par>
                              <p:par>
                                <p:cTn id="101" presetID="1" presetClass="entr" presetSubtype="0" fill="hold" grpId="0" nodeType="withEffect">
                                  <p:stCondLst>
                                    <p:cond delay="0"/>
                                  </p:stCondLst>
                                  <p:childTnLst>
                                    <p:set>
                                      <p:cBhvr>
                                        <p:cTn id="102" dur="1" fill="hold">
                                          <p:stCondLst>
                                            <p:cond delay="0"/>
                                          </p:stCondLst>
                                        </p:cTn>
                                        <p:tgtEl>
                                          <p:spTgt spid="109"/>
                                        </p:tgtEl>
                                        <p:attrNameLst>
                                          <p:attrName>style.visibility</p:attrName>
                                        </p:attrNameLst>
                                      </p:cBhvr>
                                      <p:to>
                                        <p:strVal val="visible"/>
                                      </p:to>
                                    </p:set>
                                  </p:childTnLst>
                                  <p:subTnLst>
                                    <p:animClr clrSpc="rgb" dir="cw">
                                      <p:cBhvr override="childStyle">
                                        <p:cTn dur="1" fill="hold" display="0" masterRel="nextClick" afterEffect="1"/>
                                        <p:tgtEl>
                                          <p:spTgt spid="109"/>
                                        </p:tgtEl>
                                        <p:attrNameLst>
                                          <p:attrName>ppt_c</p:attrName>
                                        </p:attrNameLst>
                                      </p:cBhvr>
                                      <p:to>
                                        <a:srgbClr val="787A7E"/>
                                      </p:to>
                                    </p:animClr>
                                  </p:subTnLst>
                                </p:cTn>
                              </p:par>
                            </p:childTnLst>
                          </p:cTn>
                        </p:par>
                      </p:childTnLst>
                    </p:cTn>
                  </p:par>
                  <p:par>
                    <p:cTn id="103" fill="hold">
                      <p:stCondLst>
                        <p:cond delay="indefinite"/>
                      </p:stCondLst>
                      <p:childTnLst>
                        <p:par>
                          <p:cTn id="104" fill="hold">
                            <p:stCondLst>
                              <p:cond delay="0"/>
                            </p:stCondLst>
                            <p:childTnLst>
                              <p:par>
                                <p:cTn id="105" presetID="1" presetClass="entr" presetSubtype="0" fill="hold" grpId="0" nodeType="clickEffect">
                                  <p:stCondLst>
                                    <p:cond delay="0"/>
                                  </p:stCondLst>
                                  <p:childTnLst>
                                    <p:set>
                                      <p:cBhvr>
                                        <p:cTn id="106" dur="1" fill="hold">
                                          <p:stCondLst>
                                            <p:cond delay="0"/>
                                          </p:stCondLst>
                                        </p:cTn>
                                        <p:tgtEl>
                                          <p:spTgt spid="80"/>
                                        </p:tgtEl>
                                        <p:attrNameLst>
                                          <p:attrName>style.visibility</p:attrName>
                                        </p:attrNameLst>
                                      </p:cBhvr>
                                      <p:to>
                                        <p:strVal val="visible"/>
                                      </p:to>
                                    </p:set>
                                  </p:childTnLst>
                                  <p:subTnLst>
                                    <p:animClr clrSpc="rgb" dir="cw">
                                      <p:cBhvr override="childStyle">
                                        <p:cTn dur="1" fill="hold" display="0" masterRel="nextClick" afterEffect="1"/>
                                        <p:tgtEl>
                                          <p:spTgt spid="80"/>
                                        </p:tgtEl>
                                        <p:attrNameLst>
                                          <p:attrName>ppt_c</p:attrName>
                                        </p:attrNameLst>
                                      </p:cBhvr>
                                      <p:to>
                                        <a:srgbClr val="B2B2B2"/>
                                      </p:to>
                                    </p:animClr>
                                  </p:subTnLst>
                                </p:cTn>
                              </p:par>
                              <p:par>
                                <p:cTn id="107" presetID="1" presetClass="entr" presetSubtype="0" fill="hold" grpId="0" nodeType="withEffect">
                                  <p:stCondLst>
                                    <p:cond delay="0"/>
                                  </p:stCondLst>
                                  <p:childTnLst>
                                    <p:set>
                                      <p:cBhvr>
                                        <p:cTn id="108" dur="1" fill="hold">
                                          <p:stCondLst>
                                            <p:cond delay="0"/>
                                          </p:stCondLst>
                                        </p:cTn>
                                        <p:tgtEl>
                                          <p:spTgt spid="28"/>
                                        </p:tgtEl>
                                        <p:attrNameLst>
                                          <p:attrName>style.visibility</p:attrName>
                                        </p:attrNameLst>
                                      </p:cBhvr>
                                      <p:to>
                                        <p:strVal val="visible"/>
                                      </p:to>
                                    </p:set>
                                  </p:childTnLst>
                                  <p:subTnLst>
                                    <p:animClr clrSpc="rgb" dir="cw">
                                      <p:cBhvr override="childStyle">
                                        <p:cTn dur="1" fill="hold" display="0" masterRel="nextClick" afterEffect="1"/>
                                        <p:tgtEl>
                                          <p:spTgt spid="28"/>
                                        </p:tgtEl>
                                        <p:attrNameLst>
                                          <p:attrName>ppt_c</p:attrName>
                                        </p:attrNameLst>
                                      </p:cBhvr>
                                      <p:to>
                                        <a:srgbClr val="787A7E"/>
                                      </p:to>
                                    </p:animClr>
                                  </p:subTnLst>
                                </p:cTn>
                              </p:par>
                              <p:par>
                                <p:cTn id="109" presetID="1" presetClass="entr" presetSubtype="0" fill="hold" grpId="0" nodeType="withEffect">
                                  <p:stCondLst>
                                    <p:cond delay="0"/>
                                  </p:stCondLst>
                                  <p:childTnLst>
                                    <p:set>
                                      <p:cBhvr>
                                        <p:cTn id="110" dur="1" fill="hold">
                                          <p:stCondLst>
                                            <p:cond delay="0"/>
                                          </p:stCondLst>
                                        </p:cTn>
                                        <p:tgtEl>
                                          <p:spTgt spid="27"/>
                                        </p:tgtEl>
                                        <p:attrNameLst>
                                          <p:attrName>style.visibility</p:attrName>
                                        </p:attrNameLst>
                                      </p:cBhvr>
                                      <p:to>
                                        <p:strVal val="visible"/>
                                      </p:to>
                                    </p:set>
                                  </p:childTnLst>
                                  <p:subTnLst>
                                    <p:animClr clrSpc="rgb" dir="cw">
                                      <p:cBhvr override="childStyle">
                                        <p:cTn dur="1" fill="hold" display="0" masterRel="nextClick" afterEffect="1"/>
                                        <p:tgtEl>
                                          <p:spTgt spid="27"/>
                                        </p:tgtEl>
                                        <p:attrNameLst>
                                          <p:attrName>ppt_c</p:attrName>
                                        </p:attrNameLst>
                                      </p:cBhvr>
                                      <p:to>
                                        <a:srgbClr val="B2B2B2"/>
                                      </p:to>
                                    </p:animClr>
                                  </p:subTnLst>
                                </p:cTn>
                              </p:par>
                              <p:par>
                                <p:cTn id="111" presetID="1" presetClass="entr" presetSubtype="0" fill="hold" grpId="0" nodeType="withEffect">
                                  <p:stCondLst>
                                    <p:cond delay="0"/>
                                  </p:stCondLst>
                                  <p:childTnLst>
                                    <p:set>
                                      <p:cBhvr>
                                        <p:cTn id="112" dur="1" fill="hold">
                                          <p:stCondLst>
                                            <p:cond delay="0"/>
                                          </p:stCondLst>
                                        </p:cTn>
                                        <p:tgtEl>
                                          <p:spTgt spid="102"/>
                                        </p:tgtEl>
                                        <p:attrNameLst>
                                          <p:attrName>style.visibility</p:attrName>
                                        </p:attrNameLst>
                                      </p:cBhvr>
                                      <p:to>
                                        <p:strVal val="visible"/>
                                      </p:to>
                                    </p:set>
                                  </p:childTnLst>
                                  <p:subTnLst>
                                    <p:animClr clrSpc="rgb" dir="cw">
                                      <p:cBhvr override="childStyle">
                                        <p:cTn dur="1" fill="hold" display="0" masterRel="nextClick" afterEffect="1"/>
                                        <p:tgtEl>
                                          <p:spTgt spid="102"/>
                                        </p:tgtEl>
                                        <p:attrNameLst>
                                          <p:attrName>ppt_c</p:attrName>
                                        </p:attrNameLst>
                                      </p:cBhvr>
                                      <p:to>
                                        <a:srgbClr val="787A7E"/>
                                      </p:to>
                                    </p:animClr>
                                  </p:subTnLst>
                                </p:cTn>
                              </p:par>
                              <p:par>
                                <p:cTn id="113" presetID="1" presetClass="entr" presetSubtype="0" fill="hold" grpId="0" nodeType="withEffect">
                                  <p:stCondLst>
                                    <p:cond delay="0"/>
                                  </p:stCondLst>
                                  <p:childTnLst>
                                    <p:set>
                                      <p:cBhvr>
                                        <p:cTn id="114" dur="1" fill="hold">
                                          <p:stCondLst>
                                            <p:cond delay="0"/>
                                          </p:stCondLst>
                                        </p:cTn>
                                        <p:tgtEl>
                                          <p:spTgt spid="103"/>
                                        </p:tgtEl>
                                        <p:attrNameLst>
                                          <p:attrName>style.visibility</p:attrName>
                                        </p:attrNameLst>
                                      </p:cBhvr>
                                      <p:to>
                                        <p:strVal val="visible"/>
                                      </p:to>
                                    </p:set>
                                  </p:childTnLst>
                                  <p:subTnLst>
                                    <p:animClr clrSpc="rgb" dir="cw">
                                      <p:cBhvr override="childStyle">
                                        <p:cTn dur="1" fill="hold" display="0" masterRel="nextClick" afterEffect="1"/>
                                        <p:tgtEl>
                                          <p:spTgt spid="103"/>
                                        </p:tgtEl>
                                        <p:attrNameLst>
                                          <p:attrName>ppt_c</p:attrName>
                                        </p:attrNameLst>
                                      </p:cBhvr>
                                      <p:to>
                                        <a:srgbClr val="787A7E"/>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7" grpId="0" animBg="1"/>
      <p:bldP spid="64" grpId="0" animBg="1"/>
      <p:bldP spid="65" grpId="0" animBg="1"/>
      <p:bldP spid="60" grpId="0" animBg="1"/>
      <p:bldP spid="61" grpId="0" animBg="1"/>
      <p:bldP spid="58" grpId="0" animBg="1"/>
      <p:bldP spid="59" grpId="0" animBg="1"/>
      <p:bldP spid="52" grpId="0" animBg="1"/>
      <p:bldP spid="53" grpId="0" animBg="1"/>
      <p:bldP spid="50" grpId="0" animBg="1"/>
      <p:bldP spid="51" grpId="0" animBg="1"/>
      <p:bldP spid="29" grpId="0" animBg="1"/>
      <p:bldP spid="30" grpId="0" animBg="1"/>
      <p:bldP spid="27" grpId="0" animBg="1"/>
      <p:bldP spid="28" grpId="0" animBg="1"/>
      <p:bldP spid="68" grpId="0" animBg="1"/>
      <p:bldP spid="69" grpId="0" animBg="1"/>
      <p:bldP spid="71" grpId="0" animBg="1"/>
      <p:bldP spid="72" grpId="0" animBg="1"/>
      <p:bldP spid="74" grpId="0" animBg="1"/>
      <p:bldP spid="76" grpId="0" animBg="1"/>
      <p:bldP spid="77" grpId="0" animBg="1"/>
      <p:bldP spid="78" grpId="0" animBg="1"/>
      <p:bldP spid="79" grpId="0" animBg="1"/>
      <p:bldP spid="80" grpId="0" animBg="1"/>
      <p:bldP spid="82" grpId="0"/>
      <p:bldP spid="83" grpId="0" animBg="1"/>
      <p:bldP spid="84" grpId="0" animBg="1"/>
      <p:bldP spid="85" grpId="0" animBg="1"/>
      <p:bldP spid="87" grpId="0"/>
      <p:bldP spid="88" grpId="0"/>
      <p:bldP spid="90" grpId="0"/>
      <p:bldP spid="91" grpId="0"/>
      <p:bldP spid="93" grpId="0"/>
      <p:bldP spid="94" grpId="0"/>
      <p:bldP spid="96" grpId="0"/>
      <p:bldP spid="97" grpId="0"/>
      <p:bldP spid="99" grpId="0"/>
      <p:bldP spid="100" grpId="0"/>
      <p:bldP spid="102" grpId="0"/>
      <p:bldP spid="103" grpId="0"/>
      <p:bldP spid="105" grpId="0"/>
      <p:bldP spid="106" grpId="0"/>
      <p:bldP spid="108" grpId="0"/>
      <p:bldP spid="109"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Arrow: Right 25">
            <a:extLst>
              <a:ext uri="{FF2B5EF4-FFF2-40B4-BE49-F238E27FC236}">
                <a16:creationId xmlns:a16="http://schemas.microsoft.com/office/drawing/2014/main" id="{0AAF0DBC-1F5F-2CAD-7034-D375D9C5255C}"/>
              </a:ext>
            </a:extLst>
          </p:cNvPr>
          <p:cNvSpPr/>
          <p:nvPr/>
        </p:nvSpPr>
        <p:spPr>
          <a:xfrm>
            <a:off x="0" y="1447639"/>
            <a:ext cx="9161981" cy="461053"/>
          </a:xfrm>
          <a:prstGeom prst="rightArrow">
            <a:avLst/>
          </a:prstGeom>
          <a:solidFill>
            <a:srgbClr val="478BD4"/>
          </a:solidFill>
        </p:spPr>
        <p:style>
          <a:lnRef idx="3">
            <a:schemeClr val="lt1"/>
          </a:lnRef>
          <a:fillRef idx="1">
            <a:schemeClr val="accent1"/>
          </a:fillRef>
          <a:effectRef idx="1">
            <a:schemeClr val="accent1"/>
          </a:effectRef>
          <a:fontRef idx="minor">
            <a:schemeClr val="lt1"/>
          </a:fontRef>
        </p:style>
        <p:txBody>
          <a:bodyPr rtlCol="0" anchor="ctr"/>
          <a:lstStyle/>
          <a:p>
            <a:pPr algn="ctr" defTabSz="685800" fontAlgn="auto">
              <a:spcBef>
                <a:spcPts val="0"/>
              </a:spcBef>
              <a:spcAft>
                <a:spcPts val="0"/>
              </a:spcAft>
            </a:pPr>
            <a:endParaRPr lang="en-US" sz="1000">
              <a:solidFill>
                <a:srgbClr val="FFFFFF"/>
              </a:solidFill>
              <a:latin typeface="Inter"/>
            </a:endParaRPr>
          </a:p>
        </p:txBody>
      </p:sp>
      <p:sp>
        <p:nvSpPr>
          <p:cNvPr id="6" name="Title 5">
            <a:extLst>
              <a:ext uri="{FF2B5EF4-FFF2-40B4-BE49-F238E27FC236}">
                <a16:creationId xmlns:a16="http://schemas.microsoft.com/office/drawing/2014/main" id="{7894B489-4099-5AFE-631D-220FBDF07D68}"/>
              </a:ext>
            </a:extLst>
          </p:cNvPr>
          <p:cNvSpPr>
            <a:spLocks noGrp="1"/>
          </p:cNvSpPr>
          <p:nvPr>
            <p:ph type="title"/>
          </p:nvPr>
        </p:nvSpPr>
        <p:spPr>
          <a:xfrm>
            <a:off x="407575" y="58992"/>
            <a:ext cx="8106305" cy="513211"/>
          </a:xfrm>
        </p:spPr>
        <p:txBody>
          <a:bodyPr>
            <a:normAutofit/>
          </a:bodyPr>
          <a:lstStyle/>
          <a:p>
            <a:r>
              <a:rPr lang="en-US" sz="2100">
                <a:latin typeface="Arial" panose="020B0604020202020204" pitchFamily="34" charset="0"/>
                <a:cs typeface="Arial" panose="020B0604020202020204" pitchFamily="34" charset="0"/>
              </a:rPr>
              <a:t>Key Takeaways</a:t>
            </a:r>
          </a:p>
        </p:txBody>
      </p:sp>
      <p:sp>
        <p:nvSpPr>
          <p:cNvPr id="2" name="Rectangle: Rounded Corners 1">
            <a:extLst>
              <a:ext uri="{FF2B5EF4-FFF2-40B4-BE49-F238E27FC236}">
                <a16:creationId xmlns:a16="http://schemas.microsoft.com/office/drawing/2014/main" id="{228E1624-0E74-4DB7-2912-B06AEEF1E1F1}"/>
              </a:ext>
            </a:extLst>
          </p:cNvPr>
          <p:cNvSpPr/>
          <p:nvPr/>
        </p:nvSpPr>
        <p:spPr>
          <a:xfrm>
            <a:off x="192640" y="1314450"/>
            <a:ext cx="1328036" cy="828675"/>
          </a:xfrm>
          <a:prstGeom prst="roundRect">
            <a:avLst/>
          </a:prstGeom>
          <a:solidFill>
            <a:srgbClr val="19416C"/>
          </a:solidFill>
        </p:spPr>
        <p:style>
          <a:lnRef idx="3">
            <a:schemeClr val="lt1"/>
          </a:lnRef>
          <a:fillRef idx="1">
            <a:schemeClr val="accent1"/>
          </a:fillRef>
          <a:effectRef idx="1">
            <a:schemeClr val="accent1"/>
          </a:effectRef>
          <a:fontRef idx="minor">
            <a:schemeClr val="lt1"/>
          </a:fontRef>
        </p:style>
        <p:txBody>
          <a:bodyPr rtlCol="0" anchor="ctr"/>
          <a:lstStyle/>
          <a:p>
            <a:pPr algn="ctr" defTabSz="685800" fontAlgn="auto">
              <a:spcBef>
                <a:spcPts val="0"/>
              </a:spcBef>
              <a:spcAft>
                <a:spcPts val="0"/>
              </a:spcAft>
            </a:pPr>
            <a:endParaRPr lang="en-US" sz="1000">
              <a:solidFill>
                <a:srgbClr val="FFFFFF"/>
              </a:solidFill>
              <a:latin typeface="Inter"/>
            </a:endParaRPr>
          </a:p>
        </p:txBody>
      </p:sp>
      <p:sp>
        <p:nvSpPr>
          <p:cNvPr id="11" name="Rectangle: Rounded Corners 10">
            <a:extLst>
              <a:ext uri="{FF2B5EF4-FFF2-40B4-BE49-F238E27FC236}">
                <a16:creationId xmlns:a16="http://schemas.microsoft.com/office/drawing/2014/main" id="{53335FC6-890D-763C-6F78-22DB8F09A322}"/>
              </a:ext>
            </a:extLst>
          </p:cNvPr>
          <p:cNvSpPr/>
          <p:nvPr/>
        </p:nvSpPr>
        <p:spPr>
          <a:xfrm>
            <a:off x="1633808" y="1314450"/>
            <a:ext cx="1328036" cy="828675"/>
          </a:xfrm>
          <a:prstGeom prst="roundRect">
            <a:avLst/>
          </a:prstGeom>
          <a:solidFill>
            <a:srgbClr val="19416C"/>
          </a:solidFill>
        </p:spPr>
        <p:style>
          <a:lnRef idx="3">
            <a:schemeClr val="lt1"/>
          </a:lnRef>
          <a:fillRef idx="1">
            <a:schemeClr val="accent1"/>
          </a:fillRef>
          <a:effectRef idx="1">
            <a:schemeClr val="accent1"/>
          </a:effectRef>
          <a:fontRef idx="minor">
            <a:schemeClr val="lt1"/>
          </a:fontRef>
        </p:style>
        <p:txBody>
          <a:bodyPr rtlCol="0" anchor="ctr"/>
          <a:lstStyle/>
          <a:p>
            <a:pPr algn="ctr" defTabSz="685800" fontAlgn="auto">
              <a:spcBef>
                <a:spcPts val="0"/>
              </a:spcBef>
              <a:spcAft>
                <a:spcPts val="0"/>
              </a:spcAft>
            </a:pPr>
            <a:endParaRPr lang="en-US" sz="1000">
              <a:solidFill>
                <a:srgbClr val="FFFFFF"/>
              </a:solidFill>
              <a:latin typeface="Inter"/>
            </a:endParaRPr>
          </a:p>
        </p:txBody>
      </p:sp>
      <p:sp>
        <p:nvSpPr>
          <p:cNvPr id="13" name="Rectangle: Rounded Corners 12">
            <a:extLst>
              <a:ext uri="{FF2B5EF4-FFF2-40B4-BE49-F238E27FC236}">
                <a16:creationId xmlns:a16="http://schemas.microsoft.com/office/drawing/2014/main" id="{52B22F1B-B84F-C865-4578-D975E65E848B}"/>
              </a:ext>
            </a:extLst>
          </p:cNvPr>
          <p:cNvSpPr/>
          <p:nvPr/>
        </p:nvSpPr>
        <p:spPr>
          <a:xfrm>
            <a:off x="3085997" y="1314450"/>
            <a:ext cx="1328036" cy="828675"/>
          </a:xfrm>
          <a:prstGeom prst="roundRect">
            <a:avLst/>
          </a:prstGeom>
          <a:solidFill>
            <a:srgbClr val="19416C"/>
          </a:solidFill>
        </p:spPr>
        <p:style>
          <a:lnRef idx="3">
            <a:schemeClr val="lt1"/>
          </a:lnRef>
          <a:fillRef idx="1">
            <a:schemeClr val="accent1"/>
          </a:fillRef>
          <a:effectRef idx="1">
            <a:schemeClr val="accent1"/>
          </a:effectRef>
          <a:fontRef idx="minor">
            <a:schemeClr val="lt1"/>
          </a:fontRef>
        </p:style>
        <p:txBody>
          <a:bodyPr rtlCol="0" anchor="ctr"/>
          <a:lstStyle/>
          <a:p>
            <a:pPr algn="ctr" defTabSz="685800" fontAlgn="auto">
              <a:spcBef>
                <a:spcPts val="0"/>
              </a:spcBef>
              <a:spcAft>
                <a:spcPts val="0"/>
              </a:spcAft>
            </a:pPr>
            <a:endParaRPr lang="en-US" sz="1000">
              <a:solidFill>
                <a:srgbClr val="FFFFFF"/>
              </a:solidFill>
              <a:latin typeface="Inter"/>
            </a:endParaRPr>
          </a:p>
        </p:txBody>
      </p:sp>
      <p:sp>
        <p:nvSpPr>
          <p:cNvPr id="14" name="Rectangle: Rounded Corners 13">
            <a:extLst>
              <a:ext uri="{FF2B5EF4-FFF2-40B4-BE49-F238E27FC236}">
                <a16:creationId xmlns:a16="http://schemas.microsoft.com/office/drawing/2014/main" id="{0FBEBAAB-FD5B-B3AE-B155-0A3FC8D151C8}"/>
              </a:ext>
            </a:extLst>
          </p:cNvPr>
          <p:cNvSpPr/>
          <p:nvPr/>
        </p:nvSpPr>
        <p:spPr>
          <a:xfrm>
            <a:off x="4530480" y="1314450"/>
            <a:ext cx="1328036" cy="828675"/>
          </a:xfrm>
          <a:prstGeom prst="roundRect">
            <a:avLst/>
          </a:prstGeom>
          <a:solidFill>
            <a:srgbClr val="19416C"/>
          </a:solidFill>
        </p:spPr>
        <p:style>
          <a:lnRef idx="3">
            <a:schemeClr val="lt1"/>
          </a:lnRef>
          <a:fillRef idx="1">
            <a:schemeClr val="accent1"/>
          </a:fillRef>
          <a:effectRef idx="1">
            <a:schemeClr val="accent1"/>
          </a:effectRef>
          <a:fontRef idx="minor">
            <a:schemeClr val="lt1"/>
          </a:fontRef>
        </p:style>
        <p:txBody>
          <a:bodyPr rtlCol="0" anchor="ctr"/>
          <a:lstStyle/>
          <a:p>
            <a:pPr algn="ctr" defTabSz="685800" fontAlgn="auto">
              <a:spcBef>
                <a:spcPts val="0"/>
              </a:spcBef>
              <a:spcAft>
                <a:spcPts val="0"/>
              </a:spcAft>
            </a:pPr>
            <a:endParaRPr lang="en-US" sz="1000">
              <a:solidFill>
                <a:srgbClr val="FFFFFF"/>
              </a:solidFill>
              <a:latin typeface="Inter"/>
            </a:endParaRPr>
          </a:p>
        </p:txBody>
      </p:sp>
      <p:sp>
        <p:nvSpPr>
          <p:cNvPr id="15" name="Rectangle: Rounded Corners 14">
            <a:extLst>
              <a:ext uri="{FF2B5EF4-FFF2-40B4-BE49-F238E27FC236}">
                <a16:creationId xmlns:a16="http://schemas.microsoft.com/office/drawing/2014/main" id="{4B5B7480-4132-D2AB-4EE1-EB1BDD39A3EF}"/>
              </a:ext>
            </a:extLst>
          </p:cNvPr>
          <p:cNvSpPr/>
          <p:nvPr/>
        </p:nvSpPr>
        <p:spPr>
          <a:xfrm>
            <a:off x="5977532" y="1320389"/>
            <a:ext cx="1328036" cy="828675"/>
          </a:xfrm>
          <a:prstGeom prst="roundRect">
            <a:avLst/>
          </a:prstGeom>
          <a:solidFill>
            <a:srgbClr val="19416C"/>
          </a:solidFill>
        </p:spPr>
        <p:style>
          <a:lnRef idx="3">
            <a:schemeClr val="lt1"/>
          </a:lnRef>
          <a:fillRef idx="1">
            <a:schemeClr val="accent1"/>
          </a:fillRef>
          <a:effectRef idx="1">
            <a:schemeClr val="accent1"/>
          </a:effectRef>
          <a:fontRef idx="minor">
            <a:schemeClr val="lt1"/>
          </a:fontRef>
        </p:style>
        <p:txBody>
          <a:bodyPr rtlCol="0" anchor="ctr"/>
          <a:lstStyle/>
          <a:p>
            <a:pPr algn="ctr" defTabSz="685800" fontAlgn="auto">
              <a:spcBef>
                <a:spcPts val="0"/>
              </a:spcBef>
              <a:spcAft>
                <a:spcPts val="0"/>
              </a:spcAft>
            </a:pPr>
            <a:endParaRPr lang="en-US" sz="1000">
              <a:solidFill>
                <a:srgbClr val="FFFFFF"/>
              </a:solidFill>
              <a:latin typeface="Inter"/>
            </a:endParaRPr>
          </a:p>
        </p:txBody>
      </p:sp>
      <p:sp>
        <p:nvSpPr>
          <p:cNvPr id="16" name="Rectangle: Rounded Corners 15">
            <a:extLst>
              <a:ext uri="{FF2B5EF4-FFF2-40B4-BE49-F238E27FC236}">
                <a16:creationId xmlns:a16="http://schemas.microsoft.com/office/drawing/2014/main" id="{131C59CB-F6B7-3E6E-CD13-A4D7FC50A548}"/>
              </a:ext>
            </a:extLst>
          </p:cNvPr>
          <p:cNvSpPr/>
          <p:nvPr/>
        </p:nvSpPr>
        <p:spPr>
          <a:xfrm>
            <a:off x="7397507" y="1320389"/>
            <a:ext cx="1328036" cy="828675"/>
          </a:xfrm>
          <a:prstGeom prst="roundRect">
            <a:avLst/>
          </a:prstGeom>
          <a:solidFill>
            <a:srgbClr val="19416C"/>
          </a:solidFill>
        </p:spPr>
        <p:style>
          <a:lnRef idx="3">
            <a:schemeClr val="lt1"/>
          </a:lnRef>
          <a:fillRef idx="1">
            <a:schemeClr val="accent1"/>
          </a:fillRef>
          <a:effectRef idx="1">
            <a:schemeClr val="accent1"/>
          </a:effectRef>
          <a:fontRef idx="minor">
            <a:schemeClr val="lt1"/>
          </a:fontRef>
        </p:style>
        <p:txBody>
          <a:bodyPr rtlCol="0" anchor="ctr"/>
          <a:lstStyle/>
          <a:p>
            <a:pPr algn="ctr" defTabSz="685800" fontAlgn="auto">
              <a:spcBef>
                <a:spcPts val="0"/>
              </a:spcBef>
              <a:spcAft>
                <a:spcPts val="0"/>
              </a:spcAft>
            </a:pPr>
            <a:endParaRPr lang="en-US" sz="1000">
              <a:solidFill>
                <a:srgbClr val="FFFFFF"/>
              </a:solidFill>
              <a:latin typeface="Inter"/>
            </a:endParaRPr>
          </a:p>
        </p:txBody>
      </p:sp>
      <p:sp>
        <p:nvSpPr>
          <p:cNvPr id="17" name="TextBox 16">
            <a:extLst>
              <a:ext uri="{FF2B5EF4-FFF2-40B4-BE49-F238E27FC236}">
                <a16:creationId xmlns:a16="http://schemas.microsoft.com/office/drawing/2014/main" id="{8BCED526-8153-02A3-8159-B0FDA27A4471}"/>
              </a:ext>
            </a:extLst>
          </p:cNvPr>
          <p:cNvSpPr txBox="1"/>
          <p:nvPr/>
        </p:nvSpPr>
        <p:spPr>
          <a:xfrm>
            <a:off x="75667" y="1532029"/>
            <a:ext cx="1510829" cy="276999"/>
          </a:xfrm>
          <a:prstGeom prst="rect">
            <a:avLst/>
          </a:prstGeom>
          <a:noFill/>
        </p:spPr>
        <p:txBody>
          <a:bodyPr wrap="square" rtlCol="0">
            <a:spAutoFit/>
          </a:bodyPr>
          <a:lstStyle/>
          <a:p>
            <a:pPr algn="ctr" defTabSz="685800" fontAlgn="auto">
              <a:spcBef>
                <a:spcPts val="0"/>
              </a:spcBef>
              <a:spcAft>
                <a:spcPts val="0"/>
              </a:spcAft>
            </a:pPr>
            <a:r>
              <a:rPr lang="en-US" sz="1200">
                <a:solidFill>
                  <a:srgbClr val="F6F7F8"/>
                </a:solidFill>
                <a:latin typeface="Arial" panose="020B0604020202020204" pitchFamily="34" charset="0"/>
                <a:ea typeface="+mn-ea"/>
                <a:cs typeface="Arial" panose="020B0604020202020204" pitchFamily="34" charset="0"/>
              </a:rPr>
              <a:t>Systems Thinking</a:t>
            </a:r>
          </a:p>
        </p:txBody>
      </p:sp>
      <p:sp>
        <p:nvSpPr>
          <p:cNvPr id="18" name="TextBox 17">
            <a:extLst>
              <a:ext uri="{FF2B5EF4-FFF2-40B4-BE49-F238E27FC236}">
                <a16:creationId xmlns:a16="http://schemas.microsoft.com/office/drawing/2014/main" id="{281F7FC2-D693-72F7-907D-B5636345710C}"/>
              </a:ext>
            </a:extLst>
          </p:cNvPr>
          <p:cNvSpPr txBox="1"/>
          <p:nvPr/>
        </p:nvSpPr>
        <p:spPr>
          <a:xfrm>
            <a:off x="1565423" y="1535726"/>
            <a:ext cx="1510829" cy="276999"/>
          </a:xfrm>
          <a:prstGeom prst="rect">
            <a:avLst/>
          </a:prstGeom>
          <a:noFill/>
        </p:spPr>
        <p:txBody>
          <a:bodyPr wrap="square" rtlCol="0">
            <a:spAutoFit/>
          </a:bodyPr>
          <a:lstStyle/>
          <a:p>
            <a:pPr algn="ctr" defTabSz="685800" fontAlgn="auto">
              <a:spcBef>
                <a:spcPts val="0"/>
              </a:spcBef>
              <a:spcAft>
                <a:spcPts val="0"/>
              </a:spcAft>
            </a:pPr>
            <a:r>
              <a:rPr lang="en-US" sz="1200">
                <a:solidFill>
                  <a:srgbClr val="F6F7F8"/>
                </a:solidFill>
                <a:latin typeface="Arial" panose="020B0604020202020204" pitchFamily="34" charset="0"/>
                <a:ea typeface="+mn-ea"/>
                <a:cs typeface="Arial" panose="020B0604020202020204" pitchFamily="34" charset="0"/>
              </a:rPr>
              <a:t>Data Gathering</a:t>
            </a:r>
          </a:p>
        </p:txBody>
      </p:sp>
      <p:sp>
        <p:nvSpPr>
          <p:cNvPr id="19" name="TextBox 18">
            <a:extLst>
              <a:ext uri="{FF2B5EF4-FFF2-40B4-BE49-F238E27FC236}">
                <a16:creationId xmlns:a16="http://schemas.microsoft.com/office/drawing/2014/main" id="{4F95AC44-4C1E-7B30-C36C-CCD34404151A}"/>
              </a:ext>
            </a:extLst>
          </p:cNvPr>
          <p:cNvSpPr txBox="1"/>
          <p:nvPr/>
        </p:nvSpPr>
        <p:spPr>
          <a:xfrm>
            <a:off x="3012795" y="1448822"/>
            <a:ext cx="1510829" cy="461665"/>
          </a:xfrm>
          <a:prstGeom prst="rect">
            <a:avLst/>
          </a:prstGeom>
          <a:noFill/>
        </p:spPr>
        <p:txBody>
          <a:bodyPr wrap="square" rtlCol="0">
            <a:spAutoFit/>
          </a:bodyPr>
          <a:lstStyle/>
          <a:p>
            <a:pPr algn="ctr" defTabSz="685800" fontAlgn="auto">
              <a:spcBef>
                <a:spcPts val="0"/>
              </a:spcBef>
              <a:spcAft>
                <a:spcPts val="0"/>
              </a:spcAft>
            </a:pPr>
            <a:r>
              <a:rPr lang="en-US" sz="1200">
                <a:solidFill>
                  <a:srgbClr val="F6F7F8"/>
                </a:solidFill>
                <a:latin typeface="Arial" panose="020B0604020202020204" pitchFamily="34" charset="0"/>
                <a:ea typeface="+mn-ea"/>
                <a:cs typeface="Arial" panose="020B0604020202020204" pitchFamily="34" charset="0"/>
              </a:rPr>
              <a:t>Analytical </a:t>
            </a:r>
          </a:p>
          <a:p>
            <a:pPr algn="ctr" defTabSz="685800" fontAlgn="auto">
              <a:spcBef>
                <a:spcPts val="0"/>
              </a:spcBef>
              <a:spcAft>
                <a:spcPts val="0"/>
              </a:spcAft>
            </a:pPr>
            <a:r>
              <a:rPr lang="en-US" sz="1200">
                <a:solidFill>
                  <a:srgbClr val="F6F7F8"/>
                </a:solidFill>
                <a:latin typeface="Arial" panose="020B0604020202020204" pitchFamily="34" charset="0"/>
                <a:ea typeface="+mn-ea"/>
                <a:cs typeface="Arial" panose="020B0604020202020204" pitchFamily="34" charset="0"/>
              </a:rPr>
              <a:t>Thinking</a:t>
            </a:r>
          </a:p>
        </p:txBody>
      </p:sp>
      <p:sp>
        <p:nvSpPr>
          <p:cNvPr id="20" name="TextBox 19">
            <a:extLst>
              <a:ext uri="{FF2B5EF4-FFF2-40B4-BE49-F238E27FC236}">
                <a16:creationId xmlns:a16="http://schemas.microsoft.com/office/drawing/2014/main" id="{7C0B5136-224F-E89C-10E6-6CD18CD278AF}"/>
              </a:ext>
            </a:extLst>
          </p:cNvPr>
          <p:cNvSpPr txBox="1"/>
          <p:nvPr/>
        </p:nvSpPr>
        <p:spPr>
          <a:xfrm>
            <a:off x="4460809" y="1459147"/>
            <a:ext cx="1510829" cy="461665"/>
          </a:xfrm>
          <a:prstGeom prst="rect">
            <a:avLst/>
          </a:prstGeom>
          <a:noFill/>
        </p:spPr>
        <p:txBody>
          <a:bodyPr wrap="square" rtlCol="0">
            <a:spAutoFit/>
          </a:bodyPr>
          <a:lstStyle/>
          <a:p>
            <a:pPr algn="ctr" defTabSz="685800" fontAlgn="auto">
              <a:spcBef>
                <a:spcPts val="0"/>
              </a:spcBef>
              <a:spcAft>
                <a:spcPts val="0"/>
              </a:spcAft>
            </a:pPr>
            <a:r>
              <a:rPr lang="en-US" sz="1200">
                <a:solidFill>
                  <a:srgbClr val="F6F7F8"/>
                </a:solidFill>
                <a:latin typeface="Arial" panose="020B0604020202020204" pitchFamily="34" charset="0"/>
                <a:cs typeface="Arial" panose="020B0604020202020204" pitchFamily="34" charset="0"/>
              </a:rPr>
              <a:t>Validation &amp; Verification</a:t>
            </a:r>
          </a:p>
        </p:txBody>
      </p:sp>
      <p:sp>
        <p:nvSpPr>
          <p:cNvPr id="21" name="TextBox 20">
            <a:extLst>
              <a:ext uri="{FF2B5EF4-FFF2-40B4-BE49-F238E27FC236}">
                <a16:creationId xmlns:a16="http://schemas.microsoft.com/office/drawing/2014/main" id="{7773A867-AC3F-AAE2-DCFD-28D7C766399A}"/>
              </a:ext>
            </a:extLst>
          </p:cNvPr>
          <p:cNvSpPr txBox="1"/>
          <p:nvPr/>
        </p:nvSpPr>
        <p:spPr>
          <a:xfrm>
            <a:off x="5907112" y="1532838"/>
            <a:ext cx="1510829" cy="276999"/>
          </a:xfrm>
          <a:prstGeom prst="rect">
            <a:avLst/>
          </a:prstGeom>
          <a:noFill/>
        </p:spPr>
        <p:txBody>
          <a:bodyPr wrap="square" rtlCol="0">
            <a:spAutoFit/>
          </a:bodyPr>
          <a:lstStyle/>
          <a:p>
            <a:pPr algn="ctr" defTabSz="685800" fontAlgn="auto">
              <a:spcBef>
                <a:spcPts val="0"/>
              </a:spcBef>
              <a:spcAft>
                <a:spcPts val="0"/>
              </a:spcAft>
            </a:pPr>
            <a:r>
              <a:rPr lang="en-US" sz="1200">
                <a:solidFill>
                  <a:srgbClr val="F6F7F8"/>
                </a:solidFill>
                <a:latin typeface="Arial" panose="020B0604020202020204" pitchFamily="34" charset="0"/>
                <a:ea typeface="+mn-ea"/>
                <a:cs typeface="Arial" panose="020B0604020202020204" pitchFamily="34" charset="0"/>
              </a:rPr>
              <a:t>Decision Making</a:t>
            </a:r>
          </a:p>
        </p:txBody>
      </p:sp>
      <p:sp>
        <p:nvSpPr>
          <p:cNvPr id="22" name="TextBox 21">
            <a:extLst>
              <a:ext uri="{FF2B5EF4-FFF2-40B4-BE49-F238E27FC236}">
                <a16:creationId xmlns:a16="http://schemas.microsoft.com/office/drawing/2014/main" id="{DB659B48-9E32-5755-1495-E0290481642A}"/>
              </a:ext>
            </a:extLst>
          </p:cNvPr>
          <p:cNvSpPr txBox="1"/>
          <p:nvPr/>
        </p:nvSpPr>
        <p:spPr>
          <a:xfrm>
            <a:off x="7299796" y="1446035"/>
            <a:ext cx="1510829" cy="461665"/>
          </a:xfrm>
          <a:prstGeom prst="rect">
            <a:avLst/>
          </a:prstGeom>
          <a:noFill/>
        </p:spPr>
        <p:txBody>
          <a:bodyPr wrap="square" rtlCol="0">
            <a:spAutoFit/>
          </a:bodyPr>
          <a:lstStyle/>
          <a:p>
            <a:pPr algn="ctr" defTabSz="685800" fontAlgn="auto">
              <a:spcBef>
                <a:spcPts val="0"/>
              </a:spcBef>
              <a:spcAft>
                <a:spcPts val="0"/>
              </a:spcAft>
            </a:pPr>
            <a:r>
              <a:rPr lang="en-US" sz="1200">
                <a:solidFill>
                  <a:srgbClr val="F6F7F8"/>
                </a:solidFill>
                <a:latin typeface="Arial" panose="020B0604020202020204" pitchFamily="34" charset="0"/>
                <a:ea typeface="+mn-ea"/>
                <a:cs typeface="Arial" panose="020B0604020202020204" pitchFamily="34" charset="0"/>
              </a:rPr>
              <a:t>Implementation &amp; Learning</a:t>
            </a:r>
          </a:p>
        </p:txBody>
      </p:sp>
      <p:sp>
        <p:nvSpPr>
          <p:cNvPr id="28" name="TextBox 27">
            <a:extLst>
              <a:ext uri="{FF2B5EF4-FFF2-40B4-BE49-F238E27FC236}">
                <a16:creationId xmlns:a16="http://schemas.microsoft.com/office/drawing/2014/main" id="{587C8E18-61F2-8158-DCAD-4867A9E6841F}"/>
              </a:ext>
            </a:extLst>
          </p:cNvPr>
          <p:cNvSpPr txBox="1"/>
          <p:nvPr/>
        </p:nvSpPr>
        <p:spPr>
          <a:xfrm>
            <a:off x="184935" y="2188908"/>
            <a:ext cx="1329540" cy="984885"/>
          </a:xfrm>
          <a:prstGeom prst="rect">
            <a:avLst/>
          </a:prstGeom>
          <a:noFill/>
        </p:spPr>
        <p:txBody>
          <a:bodyPr wrap="square">
            <a:spAutoFit/>
          </a:bodyPr>
          <a:lstStyle/>
          <a:p>
            <a:pPr algn="ctr" defTabSz="685800" fontAlgn="auto">
              <a:spcBef>
                <a:spcPts val="0"/>
              </a:spcBef>
              <a:spcAft>
                <a:spcPts val="0"/>
              </a:spcAft>
            </a:pPr>
            <a:r>
              <a:rPr lang="en-US" sz="1100" b="1">
                <a:solidFill>
                  <a:srgbClr val="545659"/>
                </a:solidFill>
                <a:latin typeface="Arial" panose="020B0604020202020204" pitchFamily="34" charset="0"/>
                <a:ea typeface="+mn-ea"/>
                <a:cs typeface="Arial" panose="020B0604020202020204" pitchFamily="34" charset="0"/>
              </a:rPr>
              <a:t>Consider the Whole System</a:t>
            </a:r>
          </a:p>
          <a:p>
            <a:pPr algn="ctr" defTabSz="685800" fontAlgn="auto">
              <a:spcBef>
                <a:spcPts val="0"/>
              </a:spcBef>
              <a:spcAft>
                <a:spcPts val="0"/>
              </a:spcAft>
            </a:pPr>
            <a:endParaRPr lang="en-US" sz="1100" b="1">
              <a:solidFill>
                <a:srgbClr val="545659"/>
              </a:solidFill>
              <a:latin typeface="Arial" panose="020B0604020202020204" pitchFamily="34" charset="0"/>
              <a:ea typeface="+mn-ea"/>
              <a:cs typeface="Arial" panose="020B0604020202020204" pitchFamily="34" charset="0"/>
            </a:endParaRPr>
          </a:p>
          <a:p>
            <a:pPr algn="ctr" defTabSz="685800" fontAlgn="auto">
              <a:spcBef>
                <a:spcPts val="0"/>
              </a:spcBef>
              <a:spcAft>
                <a:spcPts val="0"/>
              </a:spcAft>
            </a:pPr>
            <a:endParaRPr lang="en-US" sz="1100" b="1">
              <a:solidFill>
                <a:srgbClr val="545659"/>
              </a:solidFill>
              <a:latin typeface="Arial" panose="020B0604020202020204" pitchFamily="34" charset="0"/>
              <a:ea typeface="+mn-ea"/>
              <a:cs typeface="Arial" panose="020B0604020202020204" pitchFamily="34" charset="0"/>
            </a:endParaRPr>
          </a:p>
          <a:p>
            <a:pPr algn="ctr" defTabSz="685800" fontAlgn="auto">
              <a:spcBef>
                <a:spcPts val="0"/>
              </a:spcBef>
              <a:spcAft>
                <a:spcPts val="0"/>
              </a:spcAft>
            </a:pPr>
            <a:endParaRPr lang="en-US" sz="1400">
              <a:solidFill>
                <a:srgbClr val="545659"/>
              </a:solidFill>
              <a:latin typeface="Arial" panose="020B0604020202020204" pitchFamily="34" charset="0"/>
              <a:ea typeface="+mn-ea"/>
              <a:cs typeface="Arial" panose="020B0604020202020204" pitchFamily="34" charset="0"/>
            </a:endParaRPr>
          </a:p>
        </p:txBody>
      </p:sp>
      <p:sp>
        <p:nvSpPr>
          <p:cNvPr id="29" name="TextBox 28">
            <a:extLst>
              <a:ext uri="{FF2B5EF4-FFF2-40B4-BE49-F238E27FC236}">
                <a16:creationId xmlns:a16="http://schemas.microsoft.com/office/drawing/2014/main" id="{0379EDFF-B2BA-00CF-C604-5787ECB3EE18}"/>
              </a:ext>
            </a:extLst>
          </p:cNvPr>
          <p:cNvSpPr txBox="1"/>
          <p:nvPr/>
        </p:nvSpPr>
        <p:spPr>
          <a:xfrm>
            <a:off x="1633804" y="2187623"/>
            <a:ext cx="1318945" cy="600164"/>
          </a:xfrm>
          <a:prstGeom prst="rect">
            <a:avLst/>
          </a:prstGeom>
          <a:noFill/>
        </p:spPr>
        <p:txBody>
          <a:bodyPr wrap="square">
            <a:spAutoFit/>
          </a:bodyPr>
          <a:lstStyle/>
          <a:p>
            <a:pPr algn="ctr" defTabSz="685800" fontAlgn="auto">
              <a:spcBef>
                <a:spcPts val="0"/>
              </a:spcBef>
              <a:spcAft>
                <a:spcPts val="0"/>
              </a:spcAft>
            </a:pPr>
            <a:r>
              <a:rPr lang="en-US" sz="1100" b="1">
                <a:solidFill>
                  <a:srgbClr val="545659"/>
                </a:solidFill>
                <a:latin typeface="Arial" panose="020B0604020202020204" pitchFamily="34" charset="0"/>
                <a:ea typeface="+mn-ea"/>
                <a:cs typeface="Arial" panose="020B0604020202020204" pitchFamily="34" charset="0"/>
              </a:rPr>
              <a:t>Capture the Right Metrics</a:t>
            </a:r>
          </a:p>
          <a:p>
            <a:pPr algn="ctr" defTabSz="685800" fontAlgn="auto">
              <a:spcBef>
                <a:spcPts val="0"/>
              </a:spcBef>
              <a:spcAft>
                <a:spcPts val="0"/>
              </a:spcAft>
            </a:pPr>
            <a:endParaRPr lang="en-US" sz="1100" b="1">
              <a:solidFill>
                <a:srgbClr val="545659"/>
              </a:solidFill>
              <a:latin typeface="Arial" panose="020B0604020202020204" pitchFamily="34" charset="0"/>
              <a:ea typeface="+mn-ea"/>
              <a:cs typeface="Arial" panose="020B0604020202020204" pitchFamily="34" charset="0"/>
            </a:endParaRPr>
          </a:p>
        </p:txBody>
      </p:sp>
      <p:sp>
        <p:nvSpPr>
          <p:cNvPr id="30" name="TextBox 29">
            <a:extLst>
              <a:ext uri="{FF2B5EF4-FFF2-40B4-BE49-F238E27FC236}">
                <a16:creationId xmlns:a16="http://schemas.microsoft.com/office/drawing/2014/main" id="{1B584EB4-B63D-2D73-08C8-4D50AC600575}"/>
              </a:ext>
            </a:extLst>
          </p:cNvPr>
          <p:cNvSpPr txBox="1"/>
          <p:nvPr/>
        </p:nvSpPr>
        <p:spPr>
          <a:xfrm>
            <a:off x="3124200" y="2158803"/>
            <a:ext cx="1255101" cy="938719"/>
          </a:xfrm>
          <a:prstGeom prst="rect">
            <a:avLst/>
          </a:prstGeom>
          <a:noFill/>
        </p:spPr>
        <p:txBody>
          <a:bodyPr wrap="square">
            <a:spAutoFit/>
          </a:bodyPr>
          <a:lstStyle/>
          <a:p>
            <a:pPr algn="ctr" defTabSz="685800" fontAlgn="auto">
              <a:spcBef>
                <a:spcPts val="0"/>
              </a:spcBef>
              <a:spcAft>
                <a:spcPts val="0"/>
              </a:spcAft>
            </a:pPr>
            <a:r>
              <a:rPr lang="en-US" sz="1100" b="1">
                <a:solidFill>
                  <a:srgbClr val="545659"/>
                </a:solidFill>
                <a:latin typeface="Arial" panose="020B0604020202020204" pitchFamily="34" charset="0"/>
                <a:ea typeface="+mn-ea"/>
                <a:cs typeface="Arial" panose="020B0604020202020204" pitchFamily="34" charset="0"/>
              </a:rPr>
              <a:t>Identify Patterns and Form Hypotheses</a:t>
            </a:r>
          </a:p>
          <a:p>
            <a:pPr algn="ctr" defTabSz="685800" fontAlgn="auto">
              <a:spcBef>
                <a:spcPts val="0"/>
              </a:spcBef>
              <a:spcAft>
                <a:spcPts val="0"/>
              </a:spcAft>
            </a:pPr>
            <a:endParaRPr lang="en-US" sz="1100">
              <a:solidFill>
                <a:srgbClr val="545659"/>
              </a:solidFill>
              <a:latin typeface="Arial" panose="020B0604020202020204" pitchFamily="34" charset="0"/>
              <a:ea typeface="+mn-ea"/>
              <a:cs typeface="Arial" panose="020B0604020202020204" pitchFamily="34" charset="0"/>
            </a:endParaRPr>
          </a:p>
        </p:txBody>
      </p:sp>
      <p:sp>
        <p:nvSpPr>
          <p:cNvPr id="31" name="TextBox 30">
            <a:extLst>
              <a:ext uri="{FF2B5EF4-FFF2-40B4-BE49-F238E27FC236}">
                <a16:creationId xmlns:a16="http://schemas.microsoft.com/office/drawing/2014/main" id="{B17E1536-32FA-7E6E-713E-3C18679B6C00}"/>
              </a:ext>
            </a:extLst>
          </p:cNvPr>
          <p:cNvSpPr txBox="1"/>
          <p:nvPr/>
        </p:nvSpPr>
        <p:spPr>
          <a:xfrm>
            <a:off x="4513779" y="2195619"/>
            <a:ext cx="1344096" cy="938719"/>
          </a:xfrm>
          <a:prstGeom prst="rect">
            <a:avLst/>
          </a:prstGeom>
          <a:noFill/>
        </p:spPr>
        <p:txBody>
          <a:bodyPr wrap="square">
            <a:spAutoFit/>
          </a:bodyPr>
          <a:lstStyle/>
          <a:p>
            <a:pPr algn="ctr" defTabSz="685800" fontAlgn="auto">
              <a:spcBef>
                <a:spcPts val="0"/>
              </a:spcBef>
              <a:spcAft>
                <a:spcPts val="0"/>
              </a:spcAft>
            </a:pPr>
            <a:r>
              <a:rPr lang="en-US" sz="1100" b="1">
                <a:solidFill>
                  <a:srgbClr val="545659"/>
                </a:solidFill>
                <a:latin typeface="Arial" panose="020B0604020202020204" pitchFamily="34" charset="0"/>
                <a:cs typeface="Arial" panose="020B0604020202020204" pitchFamily="34" charset="0"/>
              </a:rPr>
              <a:t>Challenge assumptions and validate insights</a:t>
            </a:r>
          </a:p>
          <a:p>
            <a:pPr algn="ctr" defTabSz="685800" fontAlgn="auto">
              <a:spcBef>
                <a:spcPts val="0"/>
              </a:spcBef>
              <a:spcAft>
                <a:spcPts val="0"/>
              </a:spcAft>
            </a:pPr>
            <a:endParaRPr lang="en-US" sz="1100">
              <a:solidFill>
                <a:srgbClr val="545659"/>
              </a:solidFill>
              <a:latin typeface="Arial" panose="020B0604020202020204" pitchFamily="34" charset="0"/>
              <a:cs typeface="Arial" panose="020B0604020202020204" pitchFamily="34" charset="0"/>
            </a:endParaRPr>
          </a:p>
          <a:p>
            <a:pPr algn="ctr" defTabSz="685800" fontAlgn="auto">
              <a:spcBef>
                <a:spcPts val="0"/>
              </a:spcBef>
              <a:spcAft>
                <a:spcPts val="0"/>
              </a:spcAft>
            </a:pPr>
            <a:endParaRPr lang="en-US" sz="1100">
              <a:solidFill>
                <a:srgbClr val="545659"/>
              </a:solidFill>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C006D09D-0FD6-7CDD-0675-C5DA2CB88DA5}"/>
              </a:ext>
            </a:extLst>
          </p:cNvPr>
          <p:cNvSpPr txBox="1"/>
          <p:nvPr/>
        </p:nvSpPr>
        <p:spPr>
          <a:xfrm>
            <a:off x="5933669" y="2186339"/>
            <a:ext cx="1429156" cy="1107996"/>
          </a:xfrm>
          <a:prstGeom prst="rect">
            <a:avLst/>
          </a:prstGeom>
          <a:noFill/>
        </p:spPr>
        <p:txBody>
          <a:bodyPr wrap="square">
            <a:spAutoFit/>
          </a:bodyPr>
          <a:lstStyle/>
          <a:p>
            <a:pPr algn="ctr" defTabSz="685800" fontAlgn="auto">
              <a:spcBef>
                <a:spcPts val="0"/>
              </a:spcBef>
              <a:spcAft>
                <a:spcPts val="0"/>
              </a:spcAft>
            </a:pPr>
            <a:r>
              <a:rPr lang="en-US" sz="1100" b="1">
                <a:solidFill>
                  <a:srgbClr val="545659"/>
                </a:solidFill>
                <a:latin typeface="Arial" panose="020B0604020202020204" pitchFamily="34" charset="0"/>
                <a:ea typeface="+mn-ea"/>
                <a:cs typeface="Arial" panose="020B0604020202020204" pitchFamily="34" charset="0"/>
              </a:rPr>
              <a:t>Balance short- and long-term impacts</a:t>
            </a:r>
            <a:endParaRPr lang="en-US" sz="1100">
              <a:solidFill>
                <a:srgbClr val="545659"/>
              </a:solidFill>
              <a:latin typeface="Arial" panose="020B0604020202020204" pitchFamily="34" charset="0"/>
              <a:ea typeface="+mn-ea"/>
              <a:cs typeface="Arial" panose="020B0604020202020204" pitchFamily="34" charset="0"/>
            </a:endParaRPr>
          </a:p>
          <a:p>
            <a:pPr algn="ctr" defTabSz="685800" fontAlgn="auto">
              <a:spcBef>
                <a:spcPts val="0"/>
              </a:spcBef>
              <a:spcAft>
                <a:spcPts val="0"/>
              </a:spcAft>
            </a:pPr>
            <a:endParaRPr lang="en-US" sz="1100">
              <a:solidFill>
                <a:srgbClr val="545659"/>
              </a:solidFill>
              <a:latin typeface="Arial" panose="020B0604020202020204" pitchFamily="34" charset="0"/>
              <a:ea typeface="+mn-ea"/>
              <a:cs typeface="Arial" panose="020B0604020202020204" pitchFamily="34" charset="0"/>
            </a:endParaRPr>
          </a:p>
          <a:p>
            <a:pPr algn="ctr" defTabSz="685800" fontAlgn="auto">
              <a:spcBef>
                <a:spcPts val="0"/>
              </a:spcBef>
              <a:spcAft>
                <a:spcPts val="0"/>
              </a:spcAft>
            </a:pPr>
            <a:endParaRPr lang="en-US" sz="1100">
              <a:solidFill>
                <a:srgbClr val="545659"/>
              </a:solidFill>
              <a:latin typeface="Arial" panose="020B0604020202020204" pitchFamily="34" charset="0"/>
              <a:ea typeface="+mn-ea"/>
              <a:cs typeface="Arial" panose="020B0604020202020204" pitchFamily="34" charset="0"/>
            </a:endParaRPr>
          </a:p>
          <a:p>
            <a:pPr algn="ctr" defTabSz="685800" fontAlgn="auto">
              <a:spcBef>
                <a:spcPts val="0"/>
              </a:spcBef>
              <a:spcAft>
                <a:spcPts val="0"/>
              </a:spcAft>
            </a:pPr>
            <a:endParaRPr lang="en-US" sz="1100">
              <a:solidFill>
                <a:srgbClr val="545659"/>
              </a:solidFill>
              <a:latin typeface="Arial" panose="020B0604020202020204" pitchFamily="34" charset="0"/>
              <a:ea typeface="+mn-ea"/>
              <a:cs typeface="Arial" panose="020B0604020202020204" pitchFamily="34" charset="0"/>
            </a:endParaRPr>
          </a:p>
        </p:txBody>
      </p:sp>
      <p:sp>
        <p:nvSpPr>
          <p:cNvPr id="33" name="TextBox 32">
            <a:extLst>
              <a:ext uri="{FF2B5EF4-FFF2-40B4-BE49-F238E27FC236}">
                <a16:creationId xmlns:a16="http://schemas.microsoft.com/office/drawing/2014/main" id="{83AFE85B-FA1B-8765-561A-6149EE324E75}"/>
              </a:ext>
            </a:extLst>
          </p:cNvPr>
          <p:cNvSpPr txBox="1"/>
          <p:nvPr/>
        </p:nvSpPr>
        <p:spPr>
          <a:xfrm>
            <a:off x="7393645" y="2195619"/>
            <a:ext cx="1283629" cy="1277273"/>
          </a:xfrm>
          <a:prstGeom prst="rect">
            <a:avLst/>
          </a:prstGeom>
          <a:noFill/>
        </p:spPr>
        <p:txBody>
          <a:bodyPr wrap="square">
            <a:spAutoFit/>
          </a:bodyPr>
          <a:lstStyle/>
          <a:p>
            <a:pPr algn="ctr" defTabSz="685800" fontAlgn="auto">
              <a:spcBef>
                <a:spcPts val="0"/>
              </a:spcBef>
              <a:spcAft>
                <a:spcPts val="0"/>
              </a:spcAft>
            </a:pPr>
            <a:r>
              <a:rPr lang="en-US" sz="1100" b="1">
                <a:solidFill>
                  <a:srgbClr val="545659"/>
                </a:solidFill>
                <a:latin typeface="Arial" panose="020B0604020202020204" pitchFamily="34" charset="0"/>
                <a:ea typeface="+mn-ea"/>
                <a:cs typeface="Arial" panose="020B0604020202020204" pitchFamily="34" charset="0"/>
              </a:rPr>
              <a:t>Act with agility and adapt based on feedback</a:t>
            </a:r>
          </a:p>
          <a:p>
            <a:pPr algn="ctr" defTabSz="685800" fontAlgn="auto">
              <a:spcBef>
                <a:spcPts val="0"/>
              </a:spcBef>
              <a:spcAft>
                <a:spcPts val="0"/>
              </a:spcAft>
            </a:pPr>
            <a:endParaRPr lang="en-US" sz="1100">
              <a:solidFill>
                <a:srgbClr val="545659"/>
              </a:solidFill>
              <a:latin typeface="Arial" panose="020B0604020202020204" pitchFamily="34" charset="0"/>
              <a:ea typeface="+mn-ea"/>
              <a:cs typeface="Arial" panose="020B0604020202020204" pitchFamily="34" charset="0"/>
            </a:endParaRPr>
          </a:p>
          <a:p>
            <a:pPr algn="ctr" defTabSz="685800" fontAlgn="auto">
              <a:spcBef>
                <a:spcPts val="0"/>
              </a:spcBef>
              <a:spcAft>
                <a:spcPts val="0"/>
              </a:spcAft>
            </a:pPr>
            <a:endParaRPr lang="en-US" sz="1100">
              <a:solidFill>
                <a:srgbClr val="545659"/>
              </a:solidFill>
              <a:latin typeface="Arial" panose="020B0604020202020204" pitchFamily="34" charset="0"/>
              <a:ea typeface="+mn-ea"/>
              <a:cs typeface="Arial" panose="020B0604020202020204" pitchFamily="34" charset="0"/>
            </a:endParaRPr>
          </a:p>
          <a:p>
            <a:pPr algn="ctr" defTabSz="685800" fontAlgn="auto">
              <a:spcBef>
                <a:spcPts val="0"/>
              </a:spcBef>
              <a:spcAft>
                <a:spcPts val="0"/>
              </a:spcAft>
            </a:pPr>
            <a:endParaRPr lang="en-US" sz="1100">
              <a:solidFill>
                <a:srgbClr val="545659"/>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689460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subTnLst>
                                    <p:animClr clrSpc="rgb" dir="cw">
                                      <p:cBhvr override="childStyle">
                                        <p:cTn dur="1" fill="hold" display="0" masterRel="nextClick" afterEffect="1"/>
                                        <p:tgtEl>
                                          <p:spTgt spid="2"/>
                                        </p:tgtEl>
                                        <p:attrNameLst>
                                          <p:attrName>ppt_c</p:attrName>
                                        </p:attrNameLst>
                                      </p:cBhvr>
                                      <p:to>
                                        <a:srgbClr val="B2B2B2"/>
                                      </p:to>
                                    </p:animClr>
                                  </p:sub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subTnLst>
                                    <p:animClr clrSpc="rgb" dir="cw">
                                      <p:cBhvr override="childStyle">
                                        <p:cTn dur="1" fill="hold" display="0" masterRel="nextClick" afterEffect="1"/>
                                        <p:tgtEl>
                                          <p:spTgt spid="17"/>
                                        </p:tgtEl>
                                        <p:attrNameLst>
                                          <p:attrName>ppt_c</p:attrName>
                                        </p:attrNameLst>
                                      </p:cBhvr>
                                      <p:to>
                                        <a:srgbClr val="787A7E"/>
                                      </p:to>
                                    </p:animClr>
                                  </p:sub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subTnLst>
                                    <p:animClr clrSpc="rgb" dir="cw">
                                      <p:cBhvr override="childStyle">
                                        <p:cTn dur="1" fill="hold" display="0" masterRel="nextClick" afterEffect="1"/>
                                        <p:tgtEl>
                                          <p:spTgt spid="28"/>
                                        </p:tgtEl>
                                        <p:attrNameLst>
                                          <p:attrName>ppt_c</p:attrName>
                                        </p:attrNameLst>
                                      </p:cBhvr>
                                      <p:to>
                                        <a:srgbClr val="787A7E"/>
                                      </p:to>
                                    </p:animClr>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subTnLst>
                                    <p:animClr clrSpc="rgb" dir="cw">
                                      <p:cBhvr override="childStyle">
                                        <p:cTn dur="1" fill="hold" display="0" masterRel="nextClick" afterEffect="1"/>
                                        <p:tgtEl>
                                          <p:spTgt spid="11"/>
                                        </p:tgtEl>
                                        <p:attrNameLst>
                                          <p:attrName>ppt_c</p:attrName>
                                        </p:attrNameLst>
                                      </p:cBhvr>
                                      <p:to>
                                        <a:srgbClr val="B2B2B2"/>
                                      </p:to>
                                    </p:animClr>
                                  </p:subTnLst>
                                </p:cTn>
                              </p:par>
                              <p:par>
                                <p:cTn id="15" presetID="1"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subTnLst>
                                    <p:animClr clrSpc="rgb" dir="cw">
                                      <p:cBhvr override="childStyle">
                                        <p:cTn dur="1" fill="hold" display="0" masterRel="nextClick" afterEffect="1"/>
                                        <p:tgtEl>
                                          <p:spTgt spid="18"/>
                                        </p:tgtEl>
                                        <p:attrNameLst>
                                          <p:attrName>ppt_c</p:attrName>
                                        </p:attrNameLst>
                                      </p:cBhvr>
                                      <p:to>
                                        <a:srgbClr val="787A7E"/>
                                      </p:to>
                                    </p:animClr>
                                  </p:subTnLst>
                                </p:cTn>
                              </p:par>
                              <p:par>
                                <p:cTn id="17" presetID="1" presetClass="entr" presetSubtype="0" fill="hold" grpId="0" nodeType="withEffect">
                                  <p:stCondLst>
                                    <p:cond delay="0"/>
                                  </p:stCondLst>
                                  <p:childTnLst>
                                    <p:set>
                                      <p:cBhvr>
                                        <p:cTn id="18" dur="1" fill="hold">
                                          <p:stCondLst>
                                            <p:cond delay="0"/>
                                          </p:stCondLst>
                                        </p:cTn>
                                        <p:tgtEl>
                                          <p:spTgt spid="29"/>
                                        </p:tgtEl>
                                        <p:attrNameLst>
                                          <p:attrName>style.visibility</p:attrName>
                                        </p:attrNameLst>
                                      </p:cBhvr>
                                      <p:to>
                                        <p:strVal val="visible"/>
                                      </p:to>
                                    </p:set>
                                  </p:childTnLst>
                                  <p:subTnLst>
                                    <p:animClr clrSpc="rgb" dir="cw">
                                      <p:cBhvr override="childStyle">
                                        <p:cTn dur="1" fill="hold" display="0" masterRel="nextClick" afterEffect="1"/>
                                        <p:tgtEl>
                                          <p:spTgt spid="29"/>
                                        </p:tgtEl>
                                        <p:attrNameLst>
                                          <p:attrName>ppt_c</p:attrName>
                                        </p:attrNameLst>
                                      </p:cBhvr>
                                      <p:to>
                                        <a:srgbClr val="787A7E"/>
                                      </p:to>
                                    </p:animClr>
                                  </p:sub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subTnLst>
                                    <p:animClr clrSpc="rgb" dir="cw">
                                      <p:cBhvr override="childStyle">
                                        <p:cTn dur="1" fill="hold" display="0" masterRel="nextClick" afterEffect="1"/>
                                        <p:tgtEl>
                                          <p:spTgt spid="13"/>
                                        </p:tgtEl>
                                        <p:attrNameLst>
                                          <p:attrName>ppt_c</p:attrName>
                                        </p:attrNameLst>
                                      </p:cBhvr>
                                      <p:to>
                                        <a:srgbClr val="B2B2B2"/>
                                      </p:to>
                                    </p:animClr>
                                  </p:subTnLst>
                                </p:cTn>
                              </p:par>
                              <p:par>
                                <p:cTn id="23" presetID="1"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subTnLst>
                                    <p:animClr clrSpc="rgb" dir="cw">
                                      <p:cBhvr override="childStyle">
                                        <p:cTn dur="1" fill="hold" display="0" masterRel="nextClick" afterEffect="1"/>
                                        <p:tgtEl>
                                          <p:spTgt spid="19"/>
                                        </p:tgtEl>
                                        <p:attrNameLst>
                                          <p:attrName>ppt_c</p:attrName>
                                        </p:attrNameLst>
                                      </p:cBhvr>
                                      <p:to>
                                        <a:srgbClr val="787A7E"/>
                                      </p:to>
                                    </p:animClr>
                                  </p:subTnLst>
                                </p:cTn>
                              </p:par>
                              <p:par>
                                <p:cTn id="25" presetID="1"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subTnLst>
                                    <p:animClr clrSpc="rgb" dir="cw">
                                      <p:cBhvr override="childStyle">
                                        <p:cTn dur="1" fill="hold" display="0" masterRel="nextClick" afterEffect="1"/>
                                        <p:tgtEl>
                                          <p:spTgt spid="30"/>
                                        </p:tgtEl>
                                        <p:attrNameLst>
                                          <p:attrName>ppt_c</p:attrName>
                                        </p:attrNameLst>
                                      </p:cBhvr>
                                      <p:to>
                                        <a:srgbClr val="787A7E"/>
                                      </p:to>
                                    </p:animClr>
                                  </p:sub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subTnLst>
                                    <p:animClr clrSpc="rgb" dir="cw">
                                      <p:cBhvr override="childStyle">
                                        <p:cTn dur="1" fill="hold" display="0" masterRel="nextClick" afterEffect="1"/>
                                        <p:tgtEl>
                                          <p:spTgt spid="14"/>
                                        </p:tgtEl>
                                        <p:attrNameLst>
                                          <p:attrName>ppt_c</p:attrName>
                                        </p:attrNameLst>
                                      </p:cBhvr>
                                      <p:to>
                                        <a:srgbClr val="B2B2B2"/>
                                      </p:to>
                                    </p:animClr>
                                  </p:subTnLst>
                                </p:cTn>
                              </p:par>
                              <p:par>
                                <p:cTn id="31" presetID="1" presetClass="entr" presetSubtype="0" fill="hold" grpId="0" nodeType="withEffect">
                                  <p:stCondLst>
                                    <p:cond delay="0"/>
                                  </p:stCondLst>
                                  <p:childTnLst>
                                    <p:set>
                                      <p:cBhvr>
                                        <p:cTn id="32" dur="1" fill="hold">
                                          <p:stCondLst>
                                            <p:cond delay="0"/>
                                          </p:stCondLst>
                                        </p:cTn>
                                        <p:tgtEl>
                                          <p:spTgt spid="20"/>
                                        </p:tgtEl>
                                        <p:attrNameLst>
                                          <p:attrName>style.visibility</p:attrName>
                                        </p:attrNameLst>
                                      </p:cBhvr>
                                      <p:to>
                                        <p:strVal val="visible"/>
                                      </p:to>
                                    </p:set>
                                  </p:childTnLst>
                                  <p:subTnLst>
                                    <p:animClr clrSpc="rgb" dir="cw">
                                      <p:cBhvr override="childStyle">
                                        <p:cTn dur="1" fill="hold" display="0" masterRel="nextClick" afterEffect="1"/>
                                        <p:tgtEl>
                                          <p:spTgt spid="20"/>
                                        </p:tgtEl>
                                        <p:attrNameLst>
                                          <p:attrName>ppt_c</p:attrName>
                                        </p:attrNameLst>
                                      </p:cBhvr>
                                      <p:to>
                                        <a:srgbClr val="787A7E"/>
                                      </p:to>
                                    </p:animClr>
                                  </p:subTnLst>
                                </p:cTn>
                              </p:par>
                              <p:par>
                                <p:cTn id="33" presetID="1" presetClass="entr" presetSubtype="0"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childTnLst>
                                  <p:subTnLst>
                                    <p:animClr clrSpc="rgb" dir="cw">
                                      <p:cBhvr override="childStyle">
                                        <p:cTn dur="1" fill="hold" display="0" masterRel="nextClick" afterEffect="1"/>
                                        <p:tgtEl>
                                          <p:spTgt spid="31"/>
                                        </p:tgtEl>
                                        <p:attrNameLst>
                                          <p:attrName>ppt_c</p:attrName>
                                        </p:attrNameLst>
                                      </p:cBhvr>
                                      <p:to>
                                        <a:srgbClr val="787A7E"/>
                                      </p:to>
                                    </p:animClr>
                                  </p:sub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childTnLst>
                                  <p:subTnLst>
                                    <p:animClr clrSpc="rgb" dir="cw">
                                      <p:cBhvr override="childStyle">
                                        <p:cTn dur="1" fill="hold" display="0" masterRel="nextClick" afterEffect="1"/>
                                        <p:tgtEl>
                                          <p:spTgt spid="15"/>
                                        </p:tgtEl>
                                        <p:attrNameLst>
                                          <p:attrName>ppt_c</p:attrName>
                                        </p:attrNameLst>
                                      </p:cBhvr>
                                      <p:to>
                                        <a:srgbClr val="B2B2B2"/>
                                      </p:to>
                                    </p:animClr>
                                  </p:subTnLst>
                                </p:cTn>
                              </p:par>
                              <p:par>
                                <p:cTn id="39" presetID="1" presetClass="entr" presetSubtype="0" fill="hold" grpId="0" nodeType="withEffect">
                                  <p:stCondLst>
                                    <p:cond delay="0"/>
                                  </p:stCondLst>
                                  <p:childTnLst>
                                    <p:set>
                                      <p:cBhvr>
                                        <p:cTn id="40" dur="1" fill="hold">
                                          <p:stCondLst>
                                            <p:cond delay="0"/>
                                          </p:stCondLst>
                                        </p:cTn>
                                        <p:tgtEl>
                                          <p:spTgt spid="21"/>
                                        </p:tgtEl>
                                        <p:attrNameLst>
                                          <p:attrName>style.visibility</p:attrName>
                                        </p:attrNameLst>
                                      </p:cBhvr>
                                      <p:to>
                                        <p:strVal val="visible"/>
                                      </p:to>
                                    </p:set>
                                  </p:childTnLst>
                                  <p:subTnLst>
                                    <p:animClr clrSpc="rgb" dir="cw">
                                      <p:cBhvr override="childStyle">
                                        <p:cTn dur="1" fill="hold" display="0" masterRel="nextClick" afterEffect="1"/>
                                        <p:tgtEl>
                                          <p:spTgt spid="21"/>
                                        </p:tgtEl>
                                        <p:attrNameLst>
                                          <p:attrName>ppt_c</p:attrName>
                                        </p:attrNameLst>
                                      </p:cBhvr>
                                      <p:to>
                                        <a:srgbClr val="787A7E"/>
                                      </p:to>
                                    </p:animClr>
                                  </p:subTnLst>
                                </p:cTn>
                              </p:par>
                              <p:par>
                                <p:cTn id="41" presetID="1" presetClass="entr" presetSubtype="0" fill="hold" grpId="0" nodeType="withEffect">
                                  <p:stCondLst>
                                    <p:cond delay="0"/>
                                  </p:stCondLst>
                                  <p:childTnLst>
                                    <p:set>
                                      <p:cBhvr>
                                        <p:cTn id="42" dur="1" fill="hold">
                                          <p:stCondLst>
                                            <p:cond delay="0"/>
                                          </p:stCondLst>
                                        </p:cTn>
                                        <p:tgtEl>
                                          <p:spTgt spid="32"/>
                                        </p:tgtEl>
                                        <p:attrNameLst>
                                          <p:attrName>style.visibility</p:attrName>
                                        </p:attrNameLst>
                                      </p:cBhvr>
                                      <p:to>
                                        <p:strVal val="visible"/>
                                      </p:to>
                                    </p:set>
                                  </p:childTnLst>
                                  <p:subTnLst>
                                    <p:animClr clrSpc="rgb" dir="cw">
                                      <p:cBhvr override="childStyle">
                                        <p:cTn dur="1" fill="hold" display="0" masterRel="nextClick" afterEffect="1"/>
                                        <p:tgtEl>
                                          <p:spTgt spid="32"/>
                                        </p:tgtEl>
                                        <p:attrNameLst>
                                          <p:attrName>ppt_c</p:attrName>
                                        </p:attrNameLst>
                                      </p:cBhvr>
                                      <p:to>
                                        <a:srgbClr val="787A7E"/>
                                      </p:to>
                                    </p:animClr>
                                  </p:sub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6"/>
                                        </p:tgtEl>
                                        <p:attrNameLst>
                                          <p:attrName>style.visibility</p:attrName>
                                        </p:attrNameLst>
                                      </p:cBhvr>
                                      <p:to>
                                        <p:strVal val="visible"/>
                                      </p:to>
                                    </p:set>
                                  </p:childTnLst>
                                  <p:subTnLst>
                                    <p:animClr clrSpc="rgb" dir="cw">
                                      <p:cBhvr override="childStyle">
                                        <p:cTn dur="1" fill="hold" display="0" masterRel="nextClick" afterEffect="1"/>
                                        <p:tgtEl>
                                          <p:spTgt spid="16"/>
                                        </p:tgtEl>
                                        <p:attrNameLst>
                                          <p:attrName>ppt_c</p:attrName>
                                        </p:attrNameLst>
                                      </p:cBhvr>
                                      <p:to>
                                        <a:srgbClr val="B2B2B2"/>
                                      </p:to>
                                    </p:animClr>
                                  </p:subTnLst>
                                </p:cTn>
                              </p:par>
                              <p:par>
                                <p:cTn id="47" presetID="1" presetClass="entr" presetSubtype="0" fill="hold" grpId="0" nodeType="withEffect">
                                  <p:stCondLst>
                                    <p:cond delay="0"/>
                                  </p:stCondLst>
                                  <p:childTnLst>
                                    <p:set>
                                      <p:cBhvr>
                                        <p:cTn id="48" dur="1" fill="hold">
                                          <p:stCondLst>
                                            <p:cond delay="0"/>
                                          </p:stCondLst>
                                        </p:cTn>
                                        <p:tgtEl>
                                          <p:spTgt spid="22"/>
                                        </p:tgtEl>
                                        <p:attrNameLst>
                                          <p:attrName>style.visibility</p:attrName>
                                        </p:attrNameLst>
                                      </p:cBhvr>
                                      <p:to>
                                        <p:strVal val="visible"/>
                                      </p:to>
                                    </p:set>
                                  </p:childTnLst>
                                  <p:subTnLst>
                                    <p:animClr clrSpc="rgb" dir="cw">
                                      <p:cBhvr override="childStyle">
                                        <p:cTn dur="1" fill="hold" display="0" masterRel="nextClick" afterEffect="1"/>
                                        <p:tgtEl>
                                          <p:spTgt spid="22"/>
                                        </p:tgtEl>
                                        <p:attrNameLst>
                                          <p:attrName>ppt_c</p:attrName>
                                        </p:attrNameLst>
                                      </p:cBhvr>
                                      <p:to>
                                        <a:srgbClr val="787A7E"/>
                                      </p:to>
                                    </p:animClr>
                                  </p:subTnLst>
                                </p:cTn>
                              </p:par>
                              <p:par>
                                <p:cTn id="49" presetID="1" presetClass="entr" presetSubtype="0" fill="hold" grpId="0" nodeType="withEffect">
                                  <p:stCondLst>
                                    <p:cond delay="0"/>
                                  </p:stCondLst>
                                  <p:childTnLst>
                                    <p:set>
                                      <p:cBhvr>
                                        <p:cTn id="50" dur="1" fill="hold">
                                          <p:stCondLst>
                                            <p:cond delay="0"/>
                                          </p:stCondLst>
                                        </p:cTn>
                                        <p:tgtEl>
                                          <p:spTgt spid="33"/>
                                        </p:tgtEl>
                                        <p:attrNameLst>
                                          <p:attrName>style.visibility</p:attrName>
                                        </p:attrNameLst>
                                      </p:cBhvr>
                                      <p:to>
                                        <p:strVal val="visible"/>
                                      </p:to>
                                    </p:set>
                                  </p:childTnLst>
                                  <p:subTnLst>
                                    <p:animClr clrSpc="rgb" dir="cw">
                                      <p:cBhvr override="childStyle">
                                        <p:cTn dur="1" fill="hold" display="0" masterRel="nextClick" afterEffect="1"/>
                                        <p:tgtEl>
                                          <p:spTgt spid="33"/>
                                        </p:tgtEl>
                                        <p:attrNameLst>
                                          <p:attrName>ppt_c</p:attrName>
                                        </p:attrNameLst>
                                      </p:cBhvr>
                                      <p:to>
                                        <a:srgbClr val="787A7E"/>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1" grpId="0" animBg="1"/>
      <p:bldP spid="13" grpId="0" animBg="1"/>
      <p:bldP spid="14" grpId="0" animBg="1"/>
      <p:bldP spid="15" grpId="0" animBg="1"/>
      <p:bldP spid="16" grpId="0" animBg="1"/>
      <p:bldP spid="17" grpId="0"/>
      <p:bldP spid="18" grpId="0"/>
      <p:bldP spid="19" grpId="0"/>
      <p:bldP spid="20" grpId="0"/>
      <p:bldP spid="21" grpId="0"/>
      <p:bldP spid="22" grpId="0"/>
      <p:bldP spid="28" grpId="0"/>
      <p:bldP spid="29" grpId="0"/>
      <p:bldP spid="30" grpId="0"/>
      <p:bldP spid="31" grpId="0"/>
      <p:bldP spid="32" grpId="0"/>
      <p:bldP spid="33"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1546" y="42078"/>
            <a:ext cx="8106305" cy="513211"/>
          </a:xfrm>
        </p:spPr>
        <p:txBody>
          <a:bodyPr/>
          <a:lstStyle/>
          <a:p>
            <a:r>
              <a:rPr lang="en-US" sz="2400" dirty="0">
                <a:solidFill>
                  <a:srgbClr val="54565A"/>
                </a:solidFill>
              </a:rPr>
              <a:t>Data-Informed Decision-Making Checklist </a:t>
            </a:r>
            <a:endParaRPr lang="en-IN" sz="2400" dirty="0"/>
          </a:p>
        </p:txBody>
      </p:sp>
      <p:pic>
        <p:nvPicPr>
          <p:cNvPr id="3" name="Picture 2">
            <a:extLst>
              <a:ext uri="{FF2B5EF4-FFF2-40B4-BE49-F238E27FC236}">
                <a16:creationId xmlns:a16="http://schemas.microsoft.com/office/drawing/2014/main" id="{2CCD168D-B5DD-DD96-8D8D-3DE4A4F4371A}"/>
              </a:ext>
            </a:extLst>
          </p:cNvPr>
          <p:cNvPicPr>
            <a:picLocks noChangeAspect="1"/>
          </p:cNvPicPr>
          <p:nvPr/>
        </p:nvPicPr>
        <p:blipFill>
          <a:blip r:embed="rId2"/>
          <a:stretch>
            <a:fillRect/>
          </a:stretch>
        </p:blipFill>
        <p:spPr>
          <a:xfrm>
            <a:off x="521546" y="817980"/>
            <a:ext cx="2850660" cy="3689089"/>
          </a:xfrm>
          <a:prstGeom prst="rect">
            <a:avLst/>
          </a:prstGeom>
        </p:spPr>
      </p:pic>
      <p:pic>
        <p:nvPicPr>
          <p:cNvPr id="4" name="Picture 3">
            <a:extLst>
              <a:ext uri="{FF2B5EF4-FFF2-40B4-BE49-F238E27FC236}">
                <a16:creationId xmlns:a16="http://schemas.microsoft.com/office/drawing/2014/main" id="{706EBA43-E4E8-C185-F42B-4FA9E44A4019}"/>
              </a:ext>
            </a:extLst>
          </p:cNvPr>
          <p:cNvPicPr>
            <a:picLocks noChangeAspect="1"/>
          </p:cNvPicPr>
          <p:nvPr/>
        </p:nvPicPr>
        <p:blipFill>
          <a:blip r:embed="rId3"/>
          <a:stretch>
            <a:fillRect/>
          </a:stretch>
        </p:blipFill>
        <p:spPr>
          <a:xfrm>
            <a:off x="3258459" y="817980"/>
            <a:ext cx="2847525" cy="3685032"/>
          </a:xfrm>
          <a:prstGeom prst="rect">
            <a:avLst/>
          </a:prstGeom>
        </p:spPr>
      </p:pic>
      <p:pic>
        <p:nvPicPr>
          <p:cNvPr id="13" name="Picture 12">
            <a:extLst>
              <a:ext uri="{FF2B5EF4-FFF2-40B4-BE49-F238E27FC236}">
                <a16:creationId xmlns:a16="http://schemas.microsoft.com/office/drawing/2014/main" id="{AA6790B9-3066-F624-FB8E-FB7DEF7DFE8A}"/>
              </a:ext>
            </a:extLst>
          </p:cNvPr>
          <p:cNvPicPr>
            <a:picLocks noChangeAspect="1"/>
          </p:cNvPicPr>
          <p:nvPr/>
        </p:nvPicPr>
        <p:blipFill>
          <a:blip r:embed="rId4"/>
          <a:stretch>
            <a:fillRect/>
          </a:stretch>
        </p:blipFill>
        <p:spPr>
          <a:xfrm>
            <a:off x="5995372" y="813923"/>
            <a:ext cx="2847525" cy="3685032"/>
          </a:xfrm>
          <a:prstGeom prst="rect">
            <a:avLst/>
          </a:prstGeom>
        </p:spPr>
      </p:pic>
    </p:spTree>
    <p:extLst>
      <p:ext uri="{BB962C8B-B14F-4D97-AF65-F5344CB8AC3E}">
        <p14:creationId xmlns:p14="http://schemas.microsoft.com/office/powerpoint/2010/main" val="265928800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79106"/>
            <a:ext cx="8106305" cy="513211"/>
          </a:xfrm>
        </p:spPr>
        <p:txBody>
          <a:bodyPr/>
          <a:lstStyle/>
          <a:p>
            <a:r>
              <a:rPr lang="en-US" sz="2400" dirty="0">
                <a:solidFill>
                  <a:srgbClr val="54565A"/>
                </a:solidFill>
              </a:rPr>
              <a:t>Data-Informed Decision-Making Checklist </a:t>
            </a:r>
            <a:endParaRPr lang="en-IN" sz="2400" dirty="0"/>
          </a:p>
        </p:txBody>
      </p:sp>
      <p:pic>
        <p:nvPicPr>
          <p:cNvPr id="5" name="Picture 4">
            <a:extLst>
              <a:ext uri="{FF2B5EF4-FFF2-40B4-BE49-F238E27FC236}">
                <a16:creationId xmlns:a16="http://schemas.microsoft.com/office/drawing/2014/main" id="{1AE95088-A4C6-8457-717E-696DE425136B}"/>
              </a:ext>
            </a:extLst>
          </p:cNvPr>
          <p:cNvPicPr>
            <a:picLocks noChangeAspect="1"/>
          </p:cNvPicPr>
          <p:nvPr/>
        </p:nvPicPr>
        <p:blipFill>
          <a:blip r:embed="rId2"/>
          <a:stretch>
            <a:fillRect/>
          </a:stretch>
        </p:blipFill>
        <p:spPr>
          <a:xfrm>
            <a:off x="520451" y="824684"/>
            <a:ext cx="2826327" cy="3657600"/>
          </a:xfrm>
          <a:prstGeom prst="rect">
            <a:avLst/>
          </a:prstGeom>
        </p:spPr>
      </p:pic>
      <p:pic>
        <p:nvPicPr>
          <p:cNvPr id="6" name="Picture 5">
            <a:extLst>
              <a:ext uri="{FF2B5EF4-FFF2-40B4-BE49-F238E27FC236}">
                <a16:creationId xmlns:a16="http://schemas.microsoft.com/office/drawing/2014/main" id="{943F8EAC-9B20-6D29-0208-5EE6DF383EE6}"/>
              </a:ext>
            </a:extLst>
          </p:cNvPr>
          <p:cNvPicPr>
            <a:picLocks noChangeAspect="1"/>
          </p:cNvPicPr>
          <p:nvPr/>
        </p:nvPicPr>
        <p:blipFill>
          <a:blip r:embed="rId3"/>
          <a:stretch>
            <a:fillRect/>
          </a:stretch>
        </p:blipFill>
        <p:spPr>
          <a:xfrm>
            <a:off x="3346778" y="824684"/>
            <a:ext cx="2826327" cy="3657600"/>
          </a:xfrm>
          <a:prstGeom prst="rect">
            <a:avLst/>
          </a:prstGeom>
        </p:spPr>
      </p:pic>
      <p:pic>
        <p:nvPicPr>
          <p:cNvPr id="7" name="Picture 6">
            <a:extLst>
              <a:ext uri="{FF2B5EF4-FFF2-40B4-BE49-F238E27FC236}">
                <a16:creationId xmlns:a16="http://schemas.microsoft.com/office/drawing/2014/main" id="{D8854F65-F2EA-1EBD-0587-D906E3999A14}"/>
              </a:ext>
            </a:extLst>
          </p:cNvPr>
          <p:cNvPicPr>
            <a:picLocks noChangeAspect="1"/>
          </p:cNvPicPr>
          <p:nvPr/>
        </p:nvPicPr>
        <p:blipFill>
          <a:blip r:embed="rId4"/>
          <a:stretch>
            <a:fillRect/>
          </a:stretch>
        </p:blipFill>
        <p:spPr>
          <a:xfrm>
            <a:off x="6101742" y="824684"/>
            <a:ext cx="2826327" cy="3657600"/>
          </a:xfrm>
          <a:prstGeom prst="rect">
            <a:avLst/>
          </a:prstGeom>
        </p:spPr>
      </p:pic>
    </p:spTree>
    <p:extLst>
      <p:ext uri="{BB962C8B-B14F-4D97-AF65-F5344CB8AC3E}">
        <p14:creationId xmlns:p14="http://schemas.microsoft.com/office/powerpoint/2010/main" val="29185459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AC6F99-5645-27CE-FB68-79FACFC13F3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3F15CAB-1190-D35E-B41D-3471C7B341DC}"/>
              </a:ext>
            </a:extLst>
          </p:cNvPr>
          <p:cNvSpPr>
            <a:spLocks noGrp="1"/>
          </p:cNvSpPr>
          <p:nvPr>
            <p:ph type="title"/>
          </p:nvPr>
        </p:nvSpPr>
        <p:spPr>
          <a:xfrm>
            <a:off x="378078" y="49160"/>
            <a:ext cx="8106305" cy="513211"/>
          </a:xfrm>
        </p:spPr>
        <p:txBody>
          <a:bodyPr>
            <a:noAutofit/>
          </a:bodyPr>
          <a:lstStyle/>
          <a:p>
            <a:r>
              <a:rPr lang="en-US" sz="2100">
                <a:latin typeface="Arial" panose="020B0604020202020204" pitchFamily="34" charset="0"/>
                <a:cs typeface="Arial" panose="020B0604020202020204" pitchFamily="34" charset="0"/>
              </a:rPr>
              <a:t>The 4 Thinking Types for Informed Decision-Making</a:t>
            </a:r>
          </a:p>
        </p:txBody>
      </p:sp>
      <p:sp>
        <p:nvSpPr>
          <p:cNvPr id="7" name="Oval 6">
            <a:extLst>
              <a:ext uri="{FF2B5EF4-FFF2-40B4-BE49-F238E27FC236}">
                <a16:creationId xmlns:a16="http://schemas.microsoft.com/office/drawing/2014/main" id="{B92AC40A-5EAB-DAB8-57EB-27FE87A44875}"/>
              </a:ext>
            </a:extLst>
          </p:cNvPr>
          <p:cNvSpPr/>
          <p:nvPr/>
        </p:nvSpPr>
        <p:spPr>
          <a:xfrm>
            <a:off x="234551" y="1409287"/>
            <a:ext cx="1645920" cy="1645920"/>
          </a:xfrm>
          <a:prstGeom prst="ellipse">
            <a:avLst/>
          </a:prstGeom>
          <a:solidFill>
            <a:schemeClr val="tx2"/>
          </a:solidFill>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Inter"/>
              <a:ea typeface="+mn-ea"/>
              <a:cs typeface="+mn-cs"/>
            </a:endParaRPr>
          </a:p>
        </p:txBody>
      </p:sp>
      <p:sp>
        <p:nvSpPr>
          <p:cNvPr id="8" name="Oval 7">
            <a:extLst>
              <a:ext uri="{FF2B5EF4-FFF2-40B4-BE49-F238E27FC236}">
                <a16:creationId xmlns:a16="http://schemas.microsoft.com/office/drawing/2014/main" id="{6353F31D-CF56-211D-9488-BB87197824E3}"/>
              </a:ext>
            </a:extLst>
          </p:cNvPr>
          <p:cNvSpPr/>
          <p:nvPr/>
        </p:nvSpPr>
        <p:spPr>
          <a:xfrm>
            <a:off x="2643317" y="1412903"/>
            <a:ext cx="1645920" cy="1645920"/>
          </a:xfrm>
          <a:prstGeom prst="ellipse">
            <a:avLst/>
          </a:prstGeom>
          <a:solidFill>
            <a:schemeClr val="tx2"/>
          </a:solidFill>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Inter"/>
              <a:ea typeface="+mn-ea"/>
              <a:cs typeface="+mn-cs"/>
            </a:endParaRPr>
          </a:p>
        </p:txBody>
      </p:sp>
      <p:sp>
        <p:nvSpPr>
          <p:cNvPr id="9" name="Oval 8">
            <a:extLst>
              <a:ext uri="{FF2B5EF4-FFF2-40B4-BE49-F238E27FC236}">
                <a16:creationId xmlns:a16="http://schemas.microsoft.com/office/drawing/2014/main" id="{5A12D2E6-550D-6748-BE8C-85527DB27BD1}"/>
              </a:ext>
            </a:extLst>
          </p:cNvPr>
          <p:cNvSpPr/>
          <p:nvPr/>
        </p:nvSpPr>
        <p:spPr>
          <a:xfrm>
            <a:off x="5061992" y="1421045"/>
            <a:ext cx="1645920" cy="1645920"/>
          </a:xfrm>
          <a:prstGeom prst="ellipse">
            <a:avLst/>
          </a:prstGeom>
          <a:solidFill>
            <a:schemeClr val="tx2"/>
          </a:solidFill>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Inter"/>
              <a:ea typeface="+mn-ea"/>
              <a:cs typeface="+mn-cs"/>
            </a:endParaRPr>
          </a:p>
        </p:txBody>
      </p:sp>
      <p:sp>
        <p:nvSpPr>
          <p:cNvPr id="10" name="TextBox 9">
            <a:extLst>
              <a:ext uri="{FF2B5EF4-FFF2-40B4-BE49-F238E27FC236}">
                <a16:creationId xmlns:a16="http://schemas.microsoft.com/office/drawing/2014/main" id="{11E1344E-5F48-8386-441E-F4CC6387A49A}"/>
              </a:ext>
            </a:extLst>
          </p:cNvPr>
          <p:cNvSpPr txBox="1"/>
          <p:nvPr/>
        </p:nvSpPr>
        <p:spPr>
          <a:xfrm>
            <a:off x="406589" y="1660322"/>
            <a:ext cx="1323310" cy="52322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Analytical Thinking</a:t>
            </a:r>
          </a:p>
        </p:txBody>
      </p:sp>
      <p:sp>
        <p:nvSpPr>
          <p:cNvPr id="11" name="TextBox 10">
            <a:extLst>
              <a:ext uri="{FF2B5EF4-FFF2-40B4-BE49-F238E27FC236}">
                <a16:creationId xmlns:a16="http://schemas.microsoft.com/office/drawing/2014/main" id="{F22E799C-6083-3E1A-94AA-C564893E3ABA}"/>
              </a:ext>
            </a:extLst>
          </p:cNvPr>
          <p:cNvSpPr txBox="1"/>
          <p:nvPr/>
        </p:nvSpPr>
        <p:spPr>
          <a:xfrm>
            <a:off x="2897001" y="1677659"/>
            <a:ext cx="1145898" cy="52322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Critical Thinking</a:t>
            </a:r>
          </a:p>
        </p:txBody>
      </p:sp>
      <p:sp>
        <p:nvSpPr>
          <p:cNvPr id="12" name="TextBox 11">
            <a:extLst>
              <a:ext uri="{FF2B5EF4-FFF2-40B4-BE49-F238E27FC236}">
                <a16:creationId xmlns:a16="http://schemas.microsoft.com/office/drawing/2014/main" id="{FE30A0DD-C77A-9AE0-A6ED-141979B9612F}"/>
              </a:ext>
            </a:extLst>
          </p:cNvPr>
          <p:cNvSpPr txBox="1"/>
          <p:nvPr/>
        </p:nvSpPr>
        <p:spPr>
          <a:xfrm>
            <a:off x="5281339" y="1665265"/>
            <a:ext cx="1229223" cy="52322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Creative Thinking</a:t>
            </a:r>
          </a:p>
        </p:txBody>
      </p:sp>
      <p:sp>
        <p:nvSpPr>
          <p:cNvPr id="13" name="TextBox 12">
            <a:extLst>
              <a:ext uri="{FF2B5EF4-FFF2-40B4-BE49-F238E27FC236}">
                <a16:creationId xmlns:a16="http://schemas.microsoft.com/office/drawing/2014/main" id="{BA069682-E7E6-A176-D162-24CC0A99F6B4}"/>
              </a:ext>
            </a:extLst>
          </p:cNvPr>
          <p:cNvSpPr txBox="1"/>
          <p:nvPr/>
        </p:nvSpPr>
        <p:spPr>
          <a:xfrm>
            <a:off x="712504" y="2538758"/>
            <a:ext cx="694421" cy="253916"/>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Inter"/>
                <a:ea typeface="ＭＳ Ｐゴシック" charset="0"/>
                <a:cs typeface="+mn-cs"/>
              </a:rPr>
              <a:t>ANALYZE</a:t>
            </a:r>
          </a:p>
        </p:txBody>
      </p:sp>
      <p:sp>
        <p:nvSpPr>
          <p:cNvPr id="14" name="TextBox 13">
            <a:extLst>
              <a:ext uri="{FF2B5EF4-FFF2-40B4-BE49-F238E27FC236}">
                <a16:creationId xmlns:a16="http://schemas.microsoft.com/office/drawing/2014/main" id="{10997EDA-4AB9-08A8-21B6-DA2E2F79900B}"/>
              </a:ext>
            </a:extLst>
          </p:cNvPr>
          <p:cNvSpPr txBox="1"/>
          <p:nvPr/>
        </p:nvSpPr>
        <p:spPr>
          <a:xfrm>
            <a:off x="3089768" y="2540042"/>
            <a:ext cx="772968" cy="253916"/>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Inter"/>
                <a:ea typeface="ＭＳ Ｐゴシック" charset="0"/>
                <a:cs typeface="+mn-cs"/>
              </a:rPr>
              <a:t>EVALUATE</a:t>
            </a:r>
          </a:p>
        </p:txBody>
      </p:sp>
      <p:sp>
        <p:nvSpPr>
          <p:cNvPr id="15" name="TextBox 14">
            <a:extLst>
              <a:ext uri="{FF2B5EF4-FFF2-40B4-BE49-F238E27FC236}">
                <a16:creationId xmlns:a16="http://schemas.microsoft.com/office/drawing/2014/main" id="{55DFD940-DDC2-22B7-D120-373FBBB99F12}"/>
              </a:ext>
            </a:extLst>
          </p:cNvPr>
          <p:cNvSpPr txBox="1"/>
          <p:nvPr/>
        </p:nvSpPr>
        <p:spPr>
          <a:xfrm>
            <a:off x="5575797" y="2552849"/>
            <a:ext cx="611065" cy="253916"/>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Inter"/>
                <a:ea typeface="ＭＳ Ｐゴシック" charset="0"/>
                <a:cs typeface="+mn-cs"/>
              </a:rPr>
              <a:t>CREATE</a:t>
            </a:r>
          </a:p>
        </p:txBody>
      </p:sp>
      <p:sp>
        <p:nvSpPr>
          <p:cNvPr id="16" name="TextBox 15">
            <a:extLst>
              <a:ext uri="{FF2B5EF4-FFF2-40B4-BE49-F238E27FC236}">
                <a16:creationId xmlns:a16="http://schemas.microsoft.com/office/drawing/2014/main" id="{C65C163F-6D26-38EE-4CAE-09964B36E3E0}"/>
              </a:ext>
            </a:extLst>
          </p:cNvPr>
          <p:cNvSpPr txBox="1"/>
          <p:nvPr/>
        </p:nvSpPr>
        <p:spPr>
          <a:xfrm>
            <a:off x="541753" y="3207762"/>
            <a:ext cx="1243867"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Inter"/>
                <a:ea typeface="ＭＳ Ｐゴシック" charset="0"/>
                <a:cs typeface="+mn-cs"/>
              </a:rPr>
              <a:t>What do I know?</a:t>
            </a:r>
          </a:p>
        </p:txBody>
      </p:sp>
      <p:sp>
        <p:nvSpPr>
          <p:cNvPr id="17" name="TextBox 16">
            <a:extLst>
              <a:ext uri="{FF2B5EF4-FFF2-40B4-BE49-F238E27FC236}">
                <a16:creationId xmlns:a16="http://schemas.microsoft.com/office/drawing/2014/main" id="{970CF62B-E295-92B8-B8C5-D3AEBE79D6AE}"/>
              </a:ext>
            </a:extLst>
          </p:cNvPr>
          <p:cNvSpPr txBox="1"/>
          <p:nvPr/>
        </p:nvSpPr>
        <p:spPr>
          <a:xfrm>
            <a:off x="2728474" y="3200843"/>
            <a:ext cx="1441613"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Inter"/>
                <a:ea typeface="ＭＳ Ｐゴシック" charset="0"/>
                <a:cs typeface="+mn-cs"/>
              </a:rPr>
              <a:t>What does it mean?</a:t>
            </a:r>
          </a:p>
        </p:txBody>
      </p:sp>
      <p:sp>
        <p:nvSpPr>
          <p:cNvPr id="18" name="TextBox 17">
            <a:extLst>
              <a:ext uri="{FF2B5EF4-FFF2-40B4-BE49-F238E27FC236}">
                <a16:creationId xmlns:a16="http://schemas.microsoft.com/office/drawing/2014/main" id="{FA82A06C-47D3-764B-6736-9D3CACE6057A}"/>
              </a:ext>
            </a:extLst>
          </p:cNvPr>
          <p:cNvSpPr txBox="1"/>
          <p:nvPr/>
        </p:nvSpPr>
        <p:spPr>
          <a:xfrm>
            <a:off x="5058220" y="3208984"/>
            <a:ext cx="1695208"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Inter"/>
                <a:ea typeface="ＭＳ Ｐゴシック" charset="0"/>
                <a:cs typeface="+mn-cs"/>
              </a:rPr>
              <a:t>What can I do with this?</a:t>
            </a:r>
          </a:p>
        </p:txBody>
      </p:sp>
      <p:sp>
        <p:nvSpPr>
          <p:cNvPr id="25" name="Arrow: Right 24">
            <a:extLst>
              <a:ext uri="{FF2B5EF4-FFF2-40B4-BE49-F238E27FC236}">
                <a16:creationId xmlns:a16="http://schemas.microsoft.com/office/drawing/2014/main" id="{828A6C0F-1CC0-6240-EE20-7F1A80BC1601}"/>
              </a:ext>
            </a:extLst>
          </p:cNvPr>
          <p:cNvSpPr/>
          <p:nvPr/>
        </p:nvSpPr>
        <p:spPr>
          <a:xfrm>
            <a:off x="1895817" y="2005397"/>
            <a:ext cx="748782" cy="650810"/>
          </a:xfrm>
          <a:prstGeom prst="rightArrow">
            <a:avLst/>
          </a:prstGeom>
          <a:solidFill>
            <a:schemeClr val="accent2">
              <a:lumMod val="60000"/>
              <a:lumOff val="40000"/>
            </a:schemeClr>
          </a:solidFill>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Inter"/>
              <a:ea typeface="+mn-ea"/>
              <a:cs typeface="+mn-cs"/>
            </a:endParaRPr>
          </a:p>
        </p:txBody>
      </p:sp>
      <p:sp>
        <p:nvSpPr>
          <p:cNvPr id="26" name="Arrow: Right 25">
            <a:extLst>
              <a:ext uri="{FF2B5EF4-FFF2-40B4-BE49-F238E27FC236}">
                <a16:creationId xmlns:a16="http://schemas.microsoft.com/office/drawing/2014/main" id="{08FAE3CA-B8BD-9E31-3F50-C9B79BD704DC}"/>
              </a:ext>
            </a:extLst>
          </p:cNvPr>
          <p:cNvSpPr/>
          <p:nvPr/>
        </p:nvSpPr>
        <p:spPr>
          <a:xfrm>
            <a:off x="4317245" y="1985546"/>
            <a:ext cx="748782" cy="650810"/>
          </a:xfrm>
          <a:prstGeom prst="rightArrow">
            <a:avLst/>
          </a:prstGeom>
          <a:solidFill>
            <a:schemeClr val="accent2">
              <a:lumMod val="60000"/>
              <a:lumOff val="40000"/>
            </a:schemeClr>
          </a:solidFill>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Inter"/>
              <a:ea typeface="+mn-ea"/>
              <a:cs typeface="+mn-cs"/>
            </a:endParaRPr>
          </a:p>
        </p:txBody>
      </p:sp>
      <p:sp>
        <p:nvSpPr>
          <p:cNvPr id="27" name="TextBox 26">
            <a:extLst>
              <a:ext uri="{FF2B5EF4-FFF2-40B4-BE49-F238E27FC236}">
                <a16:creationId xmlns:a16="http://schemas.microsoft.com/office/drawing/2014/main" id="{43A24446-2BB2-414D-BBEF-22C643A04E98}"/>
              </a:ext>
            </a:extLst>
          </p:cNvPr>
          <p:cNvSpPr txBox="1"/>
          <p:nvPr/>
        </p:nvSpPr>
        <p:spPr>
          <a:xfrm>
            <a:off x="763120" y="3427510"/>
            <a:ext cx="694421"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545659"/>
                </a:solidFill>
                <a:effectLst/>
                <a:uLnTx/>
                <a:uFillTx/>
                <a:latin typeface="Inter"/>
                <a:ea typeface="ＭＳ Ｐゴシック" charset="0"/>
                <a:cs typeface="+mn-cs"/>
              </a:rPr>
              <a:t>Insight</a:t>
            </a:r>
          </a:p>
        </p:txBody>
      </p:sp>
      <p:sp>
        <p:nvSpPr>
          <p:cNvPr id="28" name="TextBox 27">
            <a:extLst>
              <a:ext uri="{FF2B5EF4-FFF2-40B4-BE49-F238E27FC236}">
                <a16:creationId xmlns:a16="http://schemas.microsoft.com/office/drawing/2014/main" id="{B7C2B3E4-12C4-B6CF-D806-58E809592407}"/>
              </a:ext>
            </a:extLst>
          </p:cNvPr>
          <p:cNvSpPr txBox="1"/>
          <p:nvPr/>
        </p:nvSpPr>
        <p:spPr>
          <a:xfrm>
            <a:off x="2913760" y="3427510"/>
            <a:ext cx="944489"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545659"/>
                </a:solidFill>
                <a:effectLst/>
                <a:uLnTx/>
                <a:uFillTx/>
                <a:latin typeface="Inter"/>
                <a:ea typeface="ＭＳ Ｐゴシック" charset="0"/>
                <a:cs typeface="+mn-cs"/>
              </a:rPr>
              <a:t>Validation</a:t>
            </a:r>
          </a:p>
        </p:txBody>
      </p:sp>
      <p:sp>
        <p:nvSpPr>
          <p:cNvPr id="29" name="TextBox 28">
            <a:extLst>
              <a:ext uri="{FF2B5EF4-FFF2-40B4-BE49-F238E27FC236}">
                <a16:creationId xmlns:a16="http://schemas.microsoft.com/office/drawing/2014/main" id="{FA519A14-19D5-D6EF-D926-EA1F30AE3C9E}"/>
              </a:ext>
            </a:extLst>
          </p:cNvPr>
          <p:cNvSpPr txBox="1"/>
          <p:nvPr/>
        </p:nvSpPr>
        <p:spPr>
          <a:xfrm>
            <a:off x="5352643" y="3446737"/>
            <a:ext cx="982961"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545659"/>
                </a:solidFill>
                <a:effectLst/>
                <a:uLnTx/>
                <a:uFillTx/>
                <a:latin typeface="Inter"/>
                <a:ea typeface="ＭＳ Ｐゴシック" charset="0"/>
                <a:cs typeface="+mn-cs"/>
              </a:rPr>
              <a:t>Innovation</a:t>
            </a:r>
          </a:p>
        </p:txBody>
      </p:sp>
      <p:sp>
        <p:nvSpPr>
          <p:cNvPr id="2" name="Oval 1">
            <a:extLst>
              <a:ext uri="{FF2B5EF4-FFF2-40B4-BE49-F238E27FC236}">
                <a16:creationId xmlns:a16="http://schemas.microsoft.com/office/drawing/2014/main" id="{00172FCD-18F9-9E09-3E6B-FD9CE998BB49}"/>
              </a:ext>
            </a:extLst>
          </p:cNvPr>
          <p:cNvSpPr/>
          <p:nvPr/>
        </p:nvSpPr>
        <p:spPr>
          <a:xfrm>
            <a:off x="7389085" y="1430457"/>
            <a:ext cx="1645920" cy="1645920"/>
          </a:xfrm>
          <a:prstGeom prst="ellipse">
            <a:avLst/>
          </a:prstGeom>
          <a:solidFill>
            <a:srgbClr val="205AA0"/>
          </a:solidFill>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Inter"/>
              <a:ea typeface="+mn-ea"/>
              <a:cs typeface="+mn-cs"/>
            </a:endParaRPr>
          </a:p>
        </p:txBody>
      </p:sp>
      <p:sp>
        <p:nvSpPr>
          <p:cNvPr id="3" name="TextBox 2">
            <a:extLst>
              <a:ext uri="{FF2B5EF4-FFF2-40B4-BE49-F238E27FC236}">
                <a16:creationId xmlns:a16="http://schemas.microsoft.com/office/drawing/2014/main" id="{16F46F97-7F36-0024-ACBD-5C86ACA85F21}"/>
              </a:ext>
            </a:extLst>
          </p:cNvPr>
          <p:cNvSpPr txBox="1"/>
          <p:nvPr/>
        </p:nvSpPr>
        <p:spPr>
          <a:xfrm>
            <a:off x="7644392" y="1676762"/>
            <a:ext cx="1187914" cy="52322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Decision-Making</a:t>
            </a:r>
          </a:p>
        </p:txBody>
      </p:sp>
      <p:sp>
        <p:nvSpPr>
          <p:cNvPr id="4" name="TextBox 3">
            <a:extLst>
              <a:ext uri="{FF2B5EF4-FFF2-40B4-BE49-F238E27FC236}">
                <a16:creationId xmlns:a16="http://schemas.microsoft.com/office/drawing/2014/main" id="{C3084D18-EC7E-FD68-5596-E66D32891677}"/>
              </a:ext>
            </a:extLst>
          </p:cNvPr>
          <p:cNvSpPr txBox="1"/>
          <p:nvPr/>
        </p:nvSpPr>
        <p:spPr>
          <a:xfrm>
            <a:off x="8051307" y="2564849"/>
            <a:ext cx="404277" cy="253916"/>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Inter"/>
                <a:ea typeface="ＭＳ Ｐゴシック" charset="0"/>
                <a:cs typeface="+mn-cs"/>
              </a:rPr>
              <a:t>ACT</a:t>
            </a:r>
            <a:endParaRPr kumimoji="0" lang="en-US" sz="825" b="1" i="0" u="none" strike="noStrike" kern="1200" cap="none" spc="0" normalizeH="0" baseline="0" noProof="0">
              <a:ln>
                <a:noFill/>
              </a:ln>
              <a:solidFill>
                <a:srgbClr val="FFFFFF"/>
              </a:solidFill>
              <a:effectLst/>
              <a:uLnTx/>
              <a:uFillTx/>
              <a:latin typeface="Inter"/>
              <a:ea typeface="ＭＳ Ｐゴシック" charset="0"/>
              <a:cs typeface="+mn-cs"/>
            </a:endParaRPr>
          </a:p>
        </p:txBody>
      </p:sp>
      <p:sp>
        <p:nvSpPr>
          <p:cNvPr id="5" name="TextBox 4">
            <a:extLst>
              <a:ext uri="{FF2B5EF4-FFF2-40B4-BE49-F238E27FC236}">
                <a16:creationId xmlns:a16="http://schemas.microsoft.com/office/drawing/2014/main" id="{909AF42E-60DE-7F1E-813C-D58E03863A93}"/>
              </a:ext>
            </a:extLst>
          </p:cNvPr>
          <p:cNvSpPr txBox="1"/>
          <p:nvPr/>
        </p:nvSpPr>
        <p:spPr>
          <a:xfrm>
            <a:off x="7585658" y="3133636"/>
            <a:ext cx="1319785"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9"/>
                </a:solidFill>
                <a:effectLst/>
                <a:uLnTx/>
                <a:uFillTx/>
                <a:latin typeface="Inter"/>
                <a:ea typeface="ＭＳ Ｐゴシック" charset="0"/>
                <a:cs typeface="+mn-cs"/>
              </a:rPr>
              <a:t>What should I do?</a:t>
            </a:r>
          </a:p>
        </p:txBody>
      </p:sp>
      <p:sp>
        <p:nvSpPr>
          <p:cNvPr id="19" name="TextBox 18">
            <a:extLst>
              <a:ext uri="{FF2B5EF4-FFF2-40B4-BE49-F238E27FC236}">
                <a16:creationId xmlns:a16="http://schemas.microsoft.com/office/drawing/2014/main" id="{7B97EAEB-8B6D-47FD-C070-3012852D72FC}"/>
              </a:ext>
            </a:extLst>
          </p:cNvPr>
          <p:cNvSpPr txBox="1"/>
          <p:nvPr/>
        </p:nvSpPr>
        <p:spPr>
          <a:xfrm>
            <a:off x="7741380" y="3427510"/>
            <a:ext cx="848309"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545659"/>
                </a:solidFill>
                <a:effectLst/>
                <a:uLnTx/>
                <a:uFillTx/>
                <a:latin typeface="Inter"/>
                <a:ea typeface="ＭＳ Ｐゴシック" charset="0"/>
                <a:cs typeface="+mn-cs"/>
              </a:rPr>
              <a:t>Decision</a:t>
            </a:r>
            <a:endParaRPr kumimoji="0" lang="en-US" sz="1125" b="0" i="0" u="none" strike="noStrike" kern="1200" cap="none" spc="0" normalizeH="0" baseline="0" noProof="0">
              <a:ln>
                <a:noFill/>
              </a:ln>
              <a:solidFill>
                <a:srgbClr val="545659"/>
              </a:solidFill>
              <a:effectLst/>
              <a:uLnTx/>
              <a:uFillTx/>
              <a:latin typeface="Inter"/>
              <a:ea typeface="ＭＳ Ｐゴシック" charset="0"/>
              <a:cs typeface="+mn-cs"/>
            </a:endParaRPr>
          </a:p>
        </p:txBody>
      </p:sp>
      <p:sp>
        <p:nvSpPr>
          <p:cNvPr id="23" name="Equals 22">
            <a:extLst>
              <a:ext uri="{FF2B5EF4-FFF2-40B4-BE49-F238E27FC236}">
                <a16:creationId xmlns:a16="http://schemas.microsoft.com/office/drawing/2014/main" id="{EB241CB3-E0FF-6229-763D-A16CDD574F7A}"/>
              </a:ext>
            </a:extLst>
          </p:cNvPr>
          <p:cNvSpPr/>
          <p:nvPr/>
        </p:nvSpPr>
        <p:spPr>
          <a:xfrm>
            <a:off x="6696183" y="1983874"/>
            <a:ext cx="647272" cy="575995"/>
          </a:xfrm>
          <a:prstGeom prst="mathEqual">
            <a:avLst/>
          </a:prstGeom>
          <a:solidFill>
            <a:srgbClr val="478BD4"/>
          </a:solidFill>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45659"/>
              </a:solidFill>
              <a:effectLst/>
              <a:uLnTx/>
              <a:uFillTx/>
              <a:latin typeface="Inter"/>
              <a:ea typeface="+mn-ea"/>
              <a:cs typeface="+mn-cs"/>
            </a:endParaRPr>
          </a:p>
        </p:txBody>
      </p:sp>
      <p:sp>
        <p:nvSpPr>
          <p:cNvPr id="32" name="Rectangle 31">
            <a:extLst>
              <a:ext uri="{FF2B5EF4-FFF2-40B4-BE49-F238E27FC236}">
                <a16:creationId xmlns:a16="http://schemas.microsoft.com/office/drawing/2014/main" id="{27C698BE-9E48-AC8C-129D-4D5E65299656}"/>
              </a:ext>
            </a:extLst>
          </p:cNvPr>
          <p:cNvSpPr/>
          <p:nvPr/>
        </p:nvSpPr>
        <p:spPr>
          <a:xfrm>
            <a:off x="8661193" y="3745134"/>
            <a:ext cx="140465" cy="148728"/>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Inter"/>
              <a:ea typeface="+mn-ea"/>
              <a:cs typeface="+mn-cs"/>
            </a:endParaRPr>
          </a:p>
        </p:txBody>
      </p:sp>
      <p:sp>
        <p:nvSpPr>
          <p:cNvPr id="33" name="Rectangle: Rounded Corners 32">
            <a:extLst>
              <a:ext uri="{FF2B5EF4-FFF2-40B4-BE49-F238E27FC236}">
                <a16:creationId xmlns:a16="http://schemas.microsoft.com/office/drawing/2014/main" id="{38B1A24E-9CB4-131C-2EB1-8BC39E8C9BBB}"/>
              </a:ext>
            </a:extLst>
          </p:cNvPr>
          <p:cNvSpPr/>
          <p:nvPr/>
        </p:nvSpPr>
        <p:spPr>
          <a:xfrm>
            <a:off x="406589" y="4072187"/>
            <a:ext cx="8425717" cy="616675"/>
          </a:xfrm>
          <a:prstGeom prst="roundRect">
            <a:avLst/>
          </a:prstGeom>
          <a:solidFill>
            <a:srgbClr val="1C345E"/>
          </a:solidFill>
          <a:ln w="1905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id="{9811668E-EDF2-F892-BE13-A9242354017D}"/>
              </a:ext>
            </a:extLst>
          </p:cNvPr>
          <p:cNvSpPr txBox="1"/>
          <p:nvPr/>
        </p:nvSpPr>
        <p:spPr>
          <a:xfrm>
            <a:off x="406589" y="4210395"/>
            <a:ext cx="8425717"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Systems</a:t>
            </a:r>
            <a:r>
              <a:rPr kumimoji="0" lang="en-US" sz="1400" b="1" i="0" u="none" strike="noStrike" kern="0" cap="none" spc="0" normalizeH="0" baseline="0" noProof="0">
                <a:ln>
                  <a:noFill/>
                </a:ln>
                <a:solidFill>
                  <a:srgbClr val="1C345E"/>
                </a:solidFill>
                <a:effectLst/>
                <a:uLnTx/>
                <a:uFillTx/>
                <a:latin typeface="Arial" panose="020B0604020202020204" pitchFamily="34" charset="0"/>
                <a:cs typeface="Arial" panose="020B0604020202020204" pitchFamily="34" charset="0"/>
              </a:rPr>
              <a:t> </a:t>
            </a:r>
            <a:r>
              <a:rPr kumimoji="0" lang="en-US" sz="14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Thinking</a:t>
            </a:r>
          </a:p>
        </p:txBody>
      </p:sp>
    </p:spTree>
    <p:extLst>
      <p:ext uri="{BB962C8B-B14F-4D97-AF65-F5344CB8AC3E}">
        <p14:creationId xmlns:p14="http://schemas.microsoft.com/office/powerpoint/2010/main" val="42862420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9"/>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5"/>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p:bldP spid="11" grpId="0"/>
      <p:bldP spid="12" grpId="0"/>
      <p:bldP spid="13" grpId="0"/>
      <p:bldP spid="14" grpId="0"/>
      <p:bldP spid="15" grpId="0"/>
      <p:bldP spid="16" grpId="0"/>
      <p:bldP spid="17" grpId="0"/>
      <p:bldP spid="18" grpId="0"/>
      <p:bldP spid="25" grpId="0" animBg="1"/>
      <p:bldP spid="26" grpId="0" animBg="1"/>
      <p:bldP spid="27" grpId="0"/>
      <p:bldP spid="28" grpId="0"/>
      <p:bldP spid="29" grpId="0"/>
      <p:bldP spid="2" grpId="0" animBg="1"/>
      <p:bldP spid="3" grpId="0"/>
      <p:bldP spid="4" grpId="0"/>
      <p:bldP spid="5" grpId="0"/>
      <p:bldP spid="19" grpId="0"/>
      <p:bldP spid="23" grpId="0" animBg="1"/>
      <p:bldP spid="33" grpId="0" animBg="1"/>
      <p:bldP spid="3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95300" y="87826"/>
            <a:ext cx="8395157" cy="443818"/>
          </a:xfrm>
        </p:spPr>
        <p:txBody>
          <a:bodyPr/>
          <a:lstStyle/>
          <a:p>
            <a:r>
              <a:rPr lang="en-US" sz="2100"/>
              <a:t>Define the Problem/Question and Decision to be Made</a:t>
            </a:r>
          </a:p>
        </p:txBody>
      </p:sp>
      <p:sp>
        <p:nvSpPr>
          <p:cNvPr id="11" name="Text Placeholder 4">
            <a:extLst>
              <a:ext uri="{FF2B5EF4-FFF2-40B4-BE49-F238E27FC236}">
                <a16:creationId xmlns:a16="http://schemas.microsoft.com/office/drawing/2014/main" id="{C368F772-953D-A87C-77E7-22532099511C}"/>
              </a:ext>
            </a:extLst>
          </p:cNvPr>
          <p:cNvSpPr>
            <a:spLocks noGrp="1"/>
          </p:cNvSpPr>
          <p:nvPr>
            <p:ph type="body" sz="quarter" idx="14"/>
          </p:nvPr>
        </p:nvSpPr>
        <p:spPr>
          <a:xfrm>
            <a:off x="5464135" y="1017191"/>
            <a:ext cx="3679865" cy="1241391"/>
          </a:xfrm>
        </p:spPr>
        <p:txBody>
          <a:bodyPr/>
          <a:lstStyle/>
          <a:p>
            <a:pPr algn="l"/>
            <a:r>
              <a:rPr lang="en-US" sz="1800" b="1">
                <a:solidFill>
                  <a:schemeClr val="bg2"/>
                </a:solidFill>
                <a:latin typeface="Arial" panose="020B0604020202020204" pitchFamily="34" charset="0"/>
                <a:ea typeface="PS TT Commons DemiBold" charset="0"/>
                <a:cs typeface="Arial" panose="020B0604020202020204" pitchFamily="34" charset="0"/>
              </a:rPr>
              <a:t>Define the Problem / Decision</a:t>
            </a:r>
          </a:p>
          <a:p>
            <a:pPr algn="l"/>
            <a:r>
              <a:rPr lang="en-US" sz="1600"/>
              <a:t>Motive, Context, Success measures, and Boundary Conditions </a:t>
            </a:r>
          </a:p>
        </p:txBody>
      </p:sp>
      <p:sp>
        <p:nvSpPr>
          <p:cNvPr id="12" name="Text Placeholder 5">
            <a:extLst>
              <a:ext uri="{FF2B5EF4-FFF2-40B4-BE49-F238E27FC236}">
                <a16:creationId xmlns:a16="http://schemas.microsoft.com/office/drawing/2014/main" id="{41DA8BA3-7055-2BE2-D39E-6C8D47FBCED2}"/>
              </a:ext>
            </a:extLst>
          </p:cNvPr>
          <p:cNvSpPr>
            <a:spLocks noGrp="1"/>
          </p:cNvSpPr>
          <p:nvPr>
            <p:ph type="body" sz="quarter" idx="16"/>
          </p:nvPr>
        </p:nvSpPr>
        <p:spPr>
          <a:xfrm>
            <a:off x="5454177" y="3825578"/>
            <a:ext cx="3521012" cy="1241391"/>
          </a:xfrm>
        </p:spPr>
        <p:txBody>
          <a:bodyPr/>
          <a:lstStyle/>
          <a:p>
            <a:pPr algn="l"/>
            <a:r>
              <a:rPr lang="en-US" sz="1800" b="1">
                <a:solidFill>
                  <a:schemeClr val="bg2"/>
                </a:solidFill>
                <a:latin typeface="Arial" panose="020B0604020202020204" pitchFamily="34" charset="0"/>
                <a:ea typeface="PS TT Commons DemiBold" charset="0"/>
                <a:cs typeface="Arial" panose="020B0604020202020204" pitchFamily="34" charset="0"/>
              </a:rPr>
              <a:t>Convert to Data Questions</a:t>
            </a:r>
          </a:p>
          <a:p>
            <a:pPr algn="l"/>
            <a:r>
              <a:rPr lang="en-US" sz="1600"/>
              <a:t>Convert Business Questions to Data Questions</a:t>
            </a:r>
          </a:p>
        </p:txBody>
      </p:sp>
      <p:sp>
        <p:nvSpPr>
          <p:cNvPr id="13" name="Text Placeholder 6">
            <a:extLst>
              <a:ext uri="{FF2B5EF4-FFF2-40B4-BE49-F238E27FC236}">
                <a16:creationId xmlns:a16="http://schemas.microsoft.com/office/drawing/2014/main" id="{53C575F1-A028-68D6-EA0C-DB4411BDBD23}"/>
              </a:ext>
            </a:extLst>
          </p:cNvPr>
          <p:cNvSpPr>
            <a:spLocks noGrp="1"/>
          </p:cNvSpPr>
          <p:nvPr>
            <p:ph type="body" sz="quarter" idx="18"/>
          </p:nvPr>
        </p:nvSpPr>
        <p:spPr>
          <a:xfrm>
            <a:off x="5440108" y="2368502"/>
            <a:ext cx="3858636" cy="1241391"/>
          </a:xfrm>
          <a:prstGeom prst="rect">
            <a:avLst/>
          </a:prstGeom>
          <a:ln>
            <a:noFill/>
          </a:ln>
        </p:spPr>
        <p:txBody>
          <a:bodyPr/>
          <a:lstStyle/>
          <a:p>
            <a:pPr algn="l"/>
            <a:r>
              <a:rPr lang="en-US" sz="1800" b="1">
                <a:solidFill>
                  <a:schemeClr val="bg2"/>
                </a:solidFill>
                <a:latin typeface="Arial" panose="020B0604020202020204" pitchFamily="34" charset="0"/>
                <a:ea typeface="PS TT Commons DemiBold" charset="0"/>
                <a:cs typeface="Arial" panose="020B0604020202020204" pitchFamily="34" charset="0"/>
              </a:rPr>
              <a:t>Classify the Problem / Decision</a:t>
            </a:r>
          </a:p>
          <a:p>
            <a:pPr algn="l"/>
            <a:r>
              <a:rPr lang="en-US" sz="1600"/>
              <a:t>Complexity, Risk, Uncertainty, Time, Impact, Reversibility, Frequency</a:t>
            </a:r>
          </a:p>
        </p:txBody>
      </p:sp>
      <p:pic>
        <p:nvPicPr>
          <p:cNvPr id="16" name="Picture 8">
            <a:extLst>
              <a:ext uri="{FF2B5EF4-FFF2-40B4-BE49-F238E27FC236}">
                <a16:creationId xmlns:a16="http://schemas.microsoft.com/office/drawing/2014/main" id="{7CBB357B-61EE-A54D-F11E-EBC7893CD686}"/>
              </a:ext>
            </a:extLst>
          </p:cNvPr>
          <p:cNvPicPr>
            <a:picLocks noChangeAspect="1" noChangeArrowheads="1"/>
          </p:cNvPicPr>
          <p:nvPr/>
        </p:nvPicPr>
        <p:blipFill>
          <a:blip r:embed="rId3">
            <a:extLst>
              <a:ext uri="{96DAC541-7B7A-43D3-8B79-37D633B846F1}">
                <asvg:svgBlip xmlns:asvg="http://schemas.microsoft.com/office/drawing/2016/SVG/main" r:embed="rId4"/>
              </a:ext>
            </a:extLst>
          </a:blip>
          <a:srcRect/>
          <a:stretch/>
        </p:blipFill>
        <p:spPr bwMode="auto">
          <a:xfrm>
            <a:off x="4454241" y="3728718"/>
            <a:ext cx="1051560" cy="1051560"/>
          </a:xfrm>
          <a:prstGeom prst="rect">
            <a:avLst/>
          </a:prstGeom>
          <a:noFill/>
        </p:spPr>
      </p:pic>
      <p:pic>
        <p:nvPicPr>
          <p:cNvPr id="4" name="Picture 3">
            <a:extLst>
              <a:ext uri="{FF2B5EF4-FFF2-40B4-BE49-F238E27FC236}">
                <a16:creationId xmlns:a16="http://schemas.microsoft.com/office/drawing/2014/main" id="{43114147-1550-203A-A2C0-3B9323C68C66}"/>
              </a:ext>
            </a:extLst>
          </p:cNvPr>
          <p:cNvPicPr>
            <a:picLocks noChangeAspect="1"/>
          </p:cNvPicPr>
          <p:nvPr/>
        </p:nvPicPr>
        <p:blipFill>
          <a:blip r:embed="rId5"/>
          <a:stretch>
            <a:fillRect/>
          </a:stretch>
        </p:blipFill>
        <p:spPr>
          <a:xfrm>
            <a:off x="417444" y="1241557"/>
            <a:ext cx="3392624" cy="3016169"/>
          </a:xfrm>
          <a:prstGeom prst="rect">
            <a:avLst/>
          </a:prstGeom>
        </p:spPr>
      </p:pic>
      <p:sp>
        <p:nvSpPr>
          <p:cNvPr id="2" name="Oval 1">
            <a:extLst>
              <a:ext uri="{FF2B5EF4-FFF2-40B4-BE49-F238E27FC236}">
                <a16:creationId xmlns:a16="http://schemas.microsoft.com/office/drawing/2014/main" id="{F38A8E68-54AE-09C2-20D5-9B71EA155542}"/>
              </a:ext>
            </a:extLst>
          </p:cNvPr>
          <p:cNvSpPr/>
          <p:nvPr/>
        </p:nvSpPr>
        <p:spPr>
          <a:xfrm>
            <a:off x="1509623" y="2571750"/>
            <a:ext cx="776377" cy="4388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5" name="Graphic 4">
            <a:extLst>
              <a:ext uri="{FF2B5EF4-FFF2-40B4-BE49-F238E27FC236}">
                <a16:creationId xmlns:a16="http://schemas.microsoft.com/office/drawing/2014/main" id="{27C4935F-7ECD-7630-D009-4D8AEF63E1C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067175" y="1895475"/>
            <a:ext cx="1737360" cy="1737360"/>
          </a:xfrm>
          <a:prstGeom prst="rect">
            <a:avLst/>
          </a:prstGeom>
        </p:spPr>
      </p:pic>
      <p:pic>
        <p:nvPicPr>
          <p:cNvPr id="7" name="Graphic 6">
            <a:extLst>
              <a:ext uri="{FF2B5EF4-FFF2-40B4-BE49-F238E27FC236}">
                <a16:creationId xmlns:a16="http://schemas.microsoft.com/office/drawing/2014/main" id="{B7322E99-A1C5-DB86-E149-5AC82C7D2D4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324350" y="771525"/>
            <a:ext cx="1188720" cy="1188720"/>
          </a:xfrm>
          <a:prstGeom prst="rect">
            <a:avLst/>
          </a:prstGeom>
        </p:spPr>
      </p:pic>
    </p:spTree>
    <p:extLst>
      <p:ext uri="{BB962C8B-B14F-4D97-AF65-F5344CB8AC3E}">
        <p14:creationId xmlns:p14="http://schemas.microsoft.com/office/powerpoint/2010/main" val="22402824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subTnLst>
                                    <p:animClr clrSpc="rgb" dir="cw">
                                      <p:cBhvr override="childStyle">
                                        <p:cTn dur="1" fill="hold" display="0" masterRel="nextClick" afterEffect="1"/>
                                        <p:tgtEl>
                                          <p:spTgt spid="7"/>
                                        </p:tgtEl>
                                        <p:attrNameLst>
                                          <p:attrName>ppt_c</p:attrName>
                                        </p:attrNameLst>
                                      </p:cBhvr>
                                      <p:to>
                                        <a:srgbClr val="B2B2B2"/>
                                      </p:to>
                                    </p:animClr>
                                  </p:subTnLst>
                                </p:cTn>
                              </p:par>
                              <p:par>
                                <p:cTn id="7" presetID="1" presetClass="entr" presetSubtype="0" fill="hold" grpId="0" nodeType="withEffect">
                                  <p:stCondLst>
                                    <p:cond delay="0"/>
                                  </p:stCondLst>
                                  <p:childTnLst>
                                    <p:set>
                                      <p:cBhvr>
                                        <p:cTn id="8" dur="1" fill="hold">
                                          <p:stCondLst>
                                            <p:cond delay="0"/>
                                          </p:stCondLst>
                                        </p:cTn>
                                        <p:tgtEl>
                                          <p:spTgt spid="11">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11">
                                            <p:txEl>
                                              <p:pRg st="0" end="0"/>
                                            </p:txEl>
                                          </p:spTgt>
                                        </p:tgtEl>
                                        <p:attrNameLst>
                                          <p:attrName>ppt_c</p:attrName>
                                        </p:attrNameLst>
                                      </p:cBhvr>
                                      <p:to>
                                        <a:schemeClr val="tx1"/>
                                      </p:to>
                                    </p:animClr>
                                  </p:subTnLst>
                                </p:cTn>
                              </p:par>
                              <p:par>
                                <p:cTn id="9" presetID="1" presetClass="entr" presetSubtype="0" fill="hold" grpId="0" nodeType="withEffect">
                                  <p:stCondLst>
                                    <p:cond delay="0"/>
                                  </p:stCondLst>
                                  <p:childTnLst>
                                    <p:set>
                                      <p:cBhvr>
                                        <p:cTn id="10" dur="1" fill="hold">
                                          <p:stCondLst>
                                            <p:cond delay="0"/>
                                          </p:stCondLst>
                                        </p:cTn>
                                        <p:tgtEl>
                                          <p:spTgt spid="11">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11">
                                            <p:txEl>
                                              <p:pRg st="1" end="1"/>
                                            </p:txEl>
                                          </p:spTgt>
                                        </p:tgtEl>
                                        <p:attrNameLst>
                                          <p:attrName>ppt_c</p:attrName>
                                        </p:attrNameLst>
                                      </p:cBhvr>
                                      <p:to>
                                        <a:schemeClr val="tx1"/>
                                      </p:to>
                                    </p:animClr>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subTnLst>
                                    <p:animClr clrSpc="rgb" dir="cw">
                                      <p:cBhvr override="childStyle">
                                        <p:cTn dur="1" fill="hold" display="0" masterRel="nextClick" afterEffect="1"/>
                                        <p:tgtEl>
                                          <p:spTgt spid="5"/>
                                        </p:tgtEl>
                                        <p:attrNameLst>
                                          <p:attrName>ppt_c</p:attrName>
                                        </p:attrNameLst>
                                      </p:cBhvr>
                                      <p:to>
                                        <a:srgbClr val="B2B2B2"/>
                                      </p:to>
                                    </p:animClr>
                                  </p:subTnLst>
                                </p:cTn>
                              </p:par>
                              <p:par>
                                <p:cTn id="15" presetID="1" presetClass="entr" presetSubtype="0" fill="hold" grpId="0" nodeType="withEffect">
                                  <p:stCondLst>
                                    <p:cond delay="0"/>
                                  </p:stCondLst>
                                  <p:childTnLst>
                                    <p:set>
                                      <p:cBhvr>
                                        <p:cTn id="16" dur="1" fill="hold">
                                          <p:stCondLst>
                                            <p:cond delay="0"/>
                                          </p:stCondLst>
                                        </p:cTn>
                                        <p:tgtEl>
                                          <p:spTgt spid="13">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13">
                                            <p:txEl>
                                              <p:pRg st="0" end="0"/>
                                            </p:txEl>
                                          </p:spTgt>
                                        </p:tgtEl>
                                        <p:attrNameLst>
                                          <p:attrName>ppt_c</p:attrName>
                                        </p:attrNameLst>
                                      </p:cBhvr>
                                      <p:to>
                                        <a:schemeClr val="tx1"/>
                                      </p:to>
                                    </p:animClr>
                                  </p:subTnLst>
                                </p:cTn>
                              </p:par>
                              <p:par>
                                <p:cTn id="17" presetID="1" presetClass="entr" presetSubtype="0" fill="hold" grpId="0" nodeType="withEffect">
                                  <p:stCondLst>
                                    <p:cond delay="0"/>
                                  </p:stCondLst>
                                  <p:childTnLst>
                                    <p:set>
                                      <p:cBhvr>
                                        <p:cTn id="18" dur="1" fill="hold">
                                          <p:stCondLst>
                                            <p:cond delay="0"/>
                                          </p:stCondLst>
                                        </p:cTn>
                                        <p:tgtEl>
                                          <p:spTgt spid="13">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13">
                                            <p:txEl>
                                              <p:pRg st="1" end="1"/>
                                            </p:txEl>
                                          </p:spTgt>
                                        </p:tgtEl>
                                        <p:attrNameLst>
                                          <p:attrName>ppt_c</p:attrName>
                                        </p:attrNameLst>
                                      </p:cBhvr>
                                      <p:to>
                                        <a:schemeClr val="tx1"/>
                                      </p:to>
                                    </p:animClr>
                                  </p:sub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subTnLst>
                                    <p:animClr clrSpc="rgb" dir="cw">
                                      <p:cBhvr override="childStyle">
                                        <p:cTn dur="1" fill="hold" display="0" masterRel="nextClick" afterEffect="1"/>
                                        <p:tgtEl>
                                          <p:spTgt spid="16"/>
                                        </p:tgtEl>
                                        <p:attrNameLst>
                                          <p:attrName>ppt_c</p:attrName>
                                        </p:attrNameLst>
                                      </p:cBhvr>
                                      <p:to>
                                        <a:srgbClr val="B2B2B2"/>
                                      </p:to>
                                    </p:animClr>
                                  </p:subTnLst>
                                </p:cTn>
                              </p:par>
                              <p:par>
                                <p:cTn id="23" presetID="1" presetClass="entr" presetSubtype="0" fill="hold" grpId="0" nodeType="withEffect">
                                  <p:stCondLst>
                                    <p:cond delay="0"/>
                                  </p:stCondLst>
                                  <p:childTnLst>
                                    <p:set>
                                      <p:cBhvr>
                                        <p:cTn id="24" dur="1" fill="hold">
                                          <p:stCondLst>
                                            <p:cond delay="0"/>
                                          </p:stCondLst>
                                        </p:cTn>
                                        <p:tgtEl>
                                          <p:spTgt spid="12">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12">
                                            <p:txEl>
                                              <p:pRg st="0" end="0"/>
                                            </p:txEl>
                                          </p:spTgt>
                                        </p:tgtEl>
                                        <p:attrNameLst>
                                          <p:attrName>ppt_c</p:attrName>
                                        </p:attrNameLst>
                                      </p:cBhvr>
                                      <p:to>
                                        <a:schemeClr val="tx1"/>
                                      </p:to>
                                    </p:animClr>
                                  </p:subTnLst>
                                </p:cTn>
                              </p:par>
                              <p:par>
                                <p:cTn id="25" presetID="1" presetClass="entr" presetSubtype="0" fill="hold" grpId="0" nodeType="withEffect">
                                  <p:stCondLst>
                                    <p:cond delay="0"/>
                                  </p:stCondLst>
                                  <p:childTnLst>
                                    <p:set>
                                      <p:cBhvr>
                                        <p:cTn id="26" dur="1" fill="hold">
                                          <p:stCondLst>
                                            <p:cond delay="0"/>
                                          </p:stCondLst>
                                        </p:cTn>
                                        <p:tgtEl>
                                          <p:spTgt spid="12">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12">
                                            <p:txEl>
                                              <p:pRg st="1" end="1"/>
                                            </p:txEl>
                                          </p:spTgt>
                                        </p:tgtEl>
                                        <p:attrNameLst>
                                          <p:attrName>ppt_c</p:attrName>
                                        </p:attrNameLst>
                                      </p:cBhvr>
                                      <p:to>
                                        <a:schemeClr val="tx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uiExpand="1" build="p"/>
      <p:bldP spid="12" grpId="0" uiExpand="1" build="p"/>
      <p:bldP spid="13"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5AAB1-F9EB-7E27-26AA-48BA9BBA3EA1}"/>
              </a:ext>
            </a:extLst>
          </p:cNvPr>
          <p:cNvSpPr>
            <a:spLocks noGrp="1"/>
          </p:cNvSpPr>
          <p:nvPr>
            <p:ph type="title"/>
          </p:nvPr>
        </p:nvSpPr>
        <p:spPr>
          <a:xfrm>
            <a:off x="495300" y="117323"/>
            <a:ext cx="8639706" cy="391380"/>
          </a:xfrm>
        </p:spPr>
        <p:txBody>
          <a:bodyPr/>
          <a:lstStyle/>
          <a:p>
            <a:r>
              <a:rPr lang="en-US" sz="2100"/>
              <a:t>Define the Problem/Decision </a:t>
            </a:r>
          </a:p>
        </p:txBody>
      </p:sp>
      <p:sp>
        <p:nvSpPr>
          <p:cNvPr id="7" name="Rectangle: Rounded Corners 6">
            <a:extLst>
              <a:ext uri="{FF2B5EF4-FFF2-40B4-BE49-F238E27FC236}">
                <a16:creationId xmlns:a16="http://schemas.microsoft.com/office/drawing/2014/main" id="{32565A04-B3CD-9545-7E34-A2FAB3DD0A5F}"/>
              </a:ext>
            </a:extLst>
          </p:cNvPr>
          <p:cNvSpPr/>
          <p:nvPr/>
        </p:nvSpPr>
        <p:spPr>
          <a:xfrm>
            <a:off x="431310" y="1537239"/>
            <a:ext cx="2321706" cy="2543733"/>
          </a:xfrm>
          <a:prstGeom prst="roundRect">
            <a:avLst>
              <a:gd name="adj" fmla="val 11397"/>
            </a:avLst>
          </a:prstGeom>
          <a:solidFill>
            <a:srgbClr val="768491">
              <a:lumMod val="20000"/>
              <a:lumOff val="80000"/>
              <a:alpha val="56000"/>
            </a:srgbClr>
          </a:solidFill>
          <a:ln w="28575" cap="flat" cmpd="sng" algn="ctr">
            <a:solidFill>
              <a:schemeClr val="bg2"/>
            </a:solidFill>
            <a:prstDash val="solid"/>
            <a:miter lim="800000"/>
          </a:ln>
          <a:effectLst/>
        </p:spPr>
        <p:txBody>
          <a:bodyPr rtlCol="0" anchor="ctr"/>
          <a:lstStyle/>
          <a:p>
            <a:pPr marL="0" marR="0" lvl="0" indent="0" algn="ctr" defTabSz="816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ＭＳ Ｐゴシック" charset="0"/>
              <a:cs typeface="+mn-cs"/>
            </a:endParaRPr>
          </a:p>
        </p:txBody>
      </p:sp>
      <p:sp>
        <p:nvSpPr>
          <p:cNvPr id="9" name="Rectangle: Rounded Corners 8">
            <a:extLst>
              <a:ext uri="{FF2B5EF4-FFF2-40B4-BE49-F238E27FC236}">
                <a16:creationId xmlns:a16="http://schemas.microsoft.com/office/drawing/2014/main" id="{9731539A-5A1F-5E93-54B2-F3611413EEF8}"/>
              </a:ext>
            </a:extLst>
          </p:cNvPr>
          <p:cNvSpPr/>
          <p:nvPr/>
        </p:nvSpPr>
        <p:spPr>
          <a:xfrm>
            <a:off x="3554987" y="1537240"/>
            <a:ext cx="2321706" cy="2532955"/>
          </a:xfrm>
          <a:prstGeom prst="roundRect">
            <a:avLst>
              <a:gd name="adj" fmla="val 11802"/>
            </a:avLst>
          </a:prstGeom>
          <a:solidFill>
            <a:srgbClr val="768491">
              <a:lumMod val="20000"/>
              <a:lumOff val="80000"/>
              <a:alpha val="56000"/>
            </a:srgbClr>
          </a:solidFill>
          <a:ln w="28575" cap="flat" cmpd="sng" algn="ctr">
            <a:solidFill>
              <a:schemeClr val="bg2"/>
            </a:solidFill>
            <a:prstDash val="solid"/>
            <a:miter lim="800000"/>
          </a:ln>
          <a:effectLst/>
        </p:spPr>
        <p:txBody>
          <a:bodyPr rtlCol="0" anchor="ctr"/>
          <a:lstStyle/>
          <a:p>
            <a:pPr marL="0" marR="0" lvl="0" indent="0" algn="ctr" defTabSz="816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ＭＳ Ｐゴシック" charset="0"/>
              <a:cs typeface="+mn-cs"/>
            </a:endParaRPr>
          </a:p>
        </p:txBody>
      </p:sp>
      <p:sp>
        <p:nvSpPr>
          <p:cNvPr id="10" name="TextBox 9">
            <a:extLst>
              <a:ext uri="{FF2B5EF4-FFF2-40B4-BE49-F238E27FC236}">
                <a16:creationId xmlns:a16="http://schemas.microsoft.com/office/drawing/2014/main" id="{99A57A58-3865-708F-9850-0E9D579F3014}"/>
              </a:ext>
            </a:extLst>
          </p:cNvPr>
          <p:cNvSpPr txBox="1"/>
          <p:nvPr/>
        </p:nvSpPr>
        <p:spPr>
          <a:xfrm>
            <a:off x="3602090" y="2078027"/>
            <a:ext cx="2227500" cy="1723549"/>
          </a:xfrm>
          <a:prstGeom prst="rect">
            <a:avLst/>
          </a:prstGeom>
          <a:noFill/>
        </p:spPr>
        <p:txBody>
          <a:bodyPr wrap="square" rtlCol="0" anchor="ctr">
            <a:spAutoFit/>
          </a:bodyPr>
          <a:lstStyle/>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45659"/>
                </a:solidFill>
                <a:effectLst/>
                <a:uLnTx/>
                <a:uFillTx/>
                <a:latin typeface="Calibri" charset="0"/>
                <a:ea typeface="ＭＳ Ｐゴシック" charset="0"/>
              </a:rPr>
              <a:t>Actions and levers</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45659"/>
              </a:solidFill>
              <a:effectLst/>
              <a:uLnTx/>
              <a:uFillTx/>
              <a:latin typeface="Calibri" charset="0"/>
              <a:ea typeface="ＭＳ Ｐゴシック" charset="0"/>
            </a:endParaRP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45659"/>
                </a:solidFill>
                <a:effectLst/>
                <a:uLnTx/>
                <a:uFillTx/>
                <a:latin typeface="Calibri" charset="0"/>
                <a:ea typeface="ＭＳ Ｐゴシック" charset="0"/>
              </a:rPr>
              <a:t>Anticipated outcomes</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545659"/>
              </a:solidFill>
              <a:effectLst/>
              <a:uLnTx/>
              <a:uFillTx/>
              <a:latin typeface="Calibri" charset="0"/>
              <a:ea typeface="ＭＳ Ｐゴシック" charset="0"/>
            </a:endParaRP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45659"/>
                </a:solidFill>
                <a:effectLst/>
                <a:uLnTx/>
                <a:uFillTx/>
                <a:latin typeface="Calibri" charset="0"/>
                <a:ea typeface="ＭＳ Ｐゴシック" charset="0"/>
              </a:rPr>
              <a:t>Contingencies for risks</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545659"/>
              </a:solidFill>
              <a:effectLst/>
              <a:uLnTx/>
              <a:uFillTx/>
              <a:latin typeface="Calibri" charset="0"/>
              <a:ea typeface="ＭＳ Ｐゴシック" charset="0"/>
            </a:endParaRP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45659"/>
                </a:solidFill>
                <a:effectLst/>
                <a:uLnTx/>
                <a:uFillTx/>
                <a:latin typeface="Calibri" charset="0"/>
                <a:ea typeface="ＭＳ Ｐゴシック" charset="0"/>
              </a:rPr>
              <a:t>Boundary conditions</a:t>
            </a:r>
            <a:endParaRPr kumimoji="0" lang="en-US" sz="1400" b="0" i="0" u="none" strike="noStrike" kern="1200" cap="none" spc="0" normalizeH="0" baseline="0" noProof="0">
              <a:ln>
                <a:noFill/>
              </a:ln>
              <a:solidFill>
                <a:srgbClr val="545659"/>
              </a:solidFill>
              <a:effectLst/>
              <a:uLnTx/>
              <a:uFillTx/>
              <a:latin typeface="Calibri" charset="0"/>
              <a:ea typeface="PS TT Commons DemiBold" charset="0"/>
              <a:cs typeface="PS TT Commons DemiBold" charset="0"/>
            </a:endParaRPr>
          </a:p>
          <a:p>
            <a:pPr marL="0" marR="0" lvl="0" indent="0" algn="l" defTabSz="457200" rtl="0" eaLnBrk="1" fontAlgn="base"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545659"/>
              </a:solidFill>
              <a:effectLst/>
              <a:uLnTx/>
              <a:uFillTx/>
              <a:latin typeface="Calibri" panose="020F0502020204030204" pitchFamily="34" charset="0"/>
              <a:ea typeface="ＭＳ Ｐゴシック" charset="0"/>
            </a:endParaRPr>
          </a:p>
        </p:txBody>
      </p:sp>
      <p:sp>
        <p:nvSpPr>
          <p:cNvPr id="11" name="Rectangle: Rounded Corners 10">
            <a:extLst>
              <a:ext uri="{FF2B5EF4-FFF2-40B4-BE49-F238E27FC236}">
                <a16:creationId xmlns:a16="http://schemas.microsoft.com/office/drawing/2014/main" id="{D1EC0BF5-ECAA-1316-784F-FA451C30A5CA}"/>
              </a:ext>
            </a:extLst>
          </p:cNvPr>
          <p:cNvSpPr/>
          <p:nvPr/>
        </p:nvSpPr>
        <p:spPr>
          <a:xfrm>
            <a:off x="6594902" y="1527130"/>
            <a:ext cx="2321705" cy="2542393"/>
          </a:xfrm>
          <a:prstGeom prst="roundRect">
            <a:avLst>
              <a:gd name="adj" fmla="val 11397"/>
            </a:avLst>
          </a:prstGeom>
          <a:solidFill>
            <a:srgbClr val="768491">
              <a:lumMod val="20000"/>
              <a:lumOff val="80000"/>
              <a:alpha val="56000"/>
            </a:srgbClr>
          </a:solidFill>
          <a:ln w="28575" cap="flat" cmpd="sng" algn="ctr">
            <a:solidFill>
              <a:schemeClr val="bg2"/>
            </a:solidFill>
            <a:prstDash val="solid"/>
            <a:miter lim="800000"/>
          </a:ln>
          <a:effectLst/>
        </p:spPr>
        <p:txBody>
          <a:bodyPr rtlCol="0" anchor="ctr"/>
          <a:lstStyle/>
          <a:p>
            <a:pPr marL="0" marR="0" lvl="0" indent="0" algn="ctr" defTabSz="816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ＭＳ Ｐゴシック" charset="0"/>
              <a:cs typeface="+mn-cs"/>
            </a:endParaRPr>
          </a:p>
        </p:txBody>
      </p:sp>
      <p:sp>
        <p:nvSpPr>
          <p:cNvPr id="12" name="TextBox 11">
            <a:extLst>
              <a:ext uri="{FF2B5EF4-FFF2-40B4-BE49-F238E27FC236}">
                <a16:creationId xmlns:a16="http://schemas.microsoft.com/office/drawing/2014/main" id="{ACCB2764-0107-93CD-9E1C-A6681DD8DD18}"/>
              </a:ext>
            </a:extLst>
          </p:cNvPr>
          <p:cNvSpPr txBox="1"/>
          <p:nvPr/>
        </p:nvSpPr>
        <p:spPr>
          <a:xfrm>
            <a:off x="6667500" y="2089178"/>
            <a:ext cx="1964657" cy="738664"/>
          </a:xfrm>
          <a:prstGeom prst="rect">
            <a:avLst/>
          </a:prstGeom>
          <a:noFill/>
        </p:spPr>
        <p:txBody>
          <a:bodyPr wrap="square" rtlCol="0" anchor="ctr">
            <a:sp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45659"/>
                </a:solidFill>
                <a:effectLst/>
                <a:uLnTx/>
                <a:uFillTx/>
                <a:latin typeface="Calibri" panose="020F0502020204030204" pitchFamily="34" charset="0"/>
                <a:ea typeface="ＭＳ Ｐゴシック" charset="0"/>
              </a:rPr>
              <a:t>Clear and measurable outcomes</a:t>
            </a:r>
          </a:p>
          <a:p>
            <a:pPr marL="0" marR="0" lvl="0" indent="0" algn="l" defTabSz="4572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45659"/>
              </a:solidFill>
              <a:effectLst/>
              <a:uLnTx/>
              <a:uFillTx/>
              <a:latin typeface="Calibri" panose="020F0502020204030204" pitchFamily="34" charset="0"/>
              <a:ea typeface="ＭＳ Ｐゴシック" charset="0"/>
            </a:endParaRPr>
          </a:p>
        </p:txBody>
      </p:sp>
      <p:sp>
        <p:nvSpPr>
          <p:cNvPr id="19" name="TextBox 18">
            <a:extLst>
              <a:ext uri="{FF2B5EF4-FFF2-40B4-BE49-F238E27FC236}">
                <a16:creationId xmlns:a16="http://schemas.microsoft.com/office/drawing/2014/main" id="{593C6CCA-4A85-63FD-2B80-489ACD890E95}"/>
              </a:ext>
            </a:extLst>
          </p:cNvPr>
          <p:cNvSpPr txBox="1"/>
          <p:nvPr/>
        </p:nvSpPr>
        <p:spPr>
          <a:xfrm>
            <a:off x="430682" y="1584895"/>
            <a:ext cx="2321706" cy="338554"/>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rPr>
              <a:t>Identify the Problem</a:t>
            </a:r>
          </a:p>
        </p:txBody>
      </p:sp>
      <p:sp>
        <p:nvSpPr>
          <p:cNvPr id="20" name="TextBox 19">
            <a:extLst>
              <a:ext uri="{FF2B5EF4-FFF2-40B4-BE49-F238E27FC236}">
                <a16:creationId xmlns:a16="http://schemas.microsoft.com/office/drawing/2014/main" id="{5991525D-05A6-1CF2-BE60-6B2F81FD480B}"/>
              </a:ext>
            </a:extLst>
          </p:cNvPr>
          <p:cNvSpPr txBox="1"/>
          <p:nvPr/>
        </p:nvSpPr>
        <p:spPr>
          <a:xfrm>
            <a:off x="3549991" y="1567660"/>
            <a:ext cx="2351792" cy="338554"/>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rPr>
              <a:t>Describe the Decision</a:t>
            </a:r>
          </a:p>
        </p:txBody>
      </p:sp>
      <p:sp>
        <p:nvSpPr>
          <p:cNvPr id="21" name="TextBox 20">
            <a:extLst>
              <a:ext uri="{FF2B5EF4-FFF2-40B4-BE49-F238E27FC236}">
                <a16:creationId xmlns:a16="http://schemas.microsoft.com/office/drawing/2014/main" id="{67CA6E2E-AB84-FF5C-818A-38BF7594B4B9}"/>
              </a:ext>
            </a:extLst>
          </p:cNvPr>
          <p:cNvSpPr txBox="1"/>
          <p:nvPr/>
        </p:nvSpPr>
        <p:spPr>
          <a:xfrm>
            <a:off x="6619992" y="1537240"/>
            <a:ext cx="2296615" cy="584775"/>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rPr>
              <a:t>Define Success Measures</a:t>
            </a:r>
          </a:p>
        </p:txBody>
      </p:sp>
      <p:sp>
        <p:nvSpPr>
          <p:cNvPr id="8" name="TextBox 7">
            <a:extLst>
              <a:ext uri="{FF2B5EF4-FFF2-40B4-BE49-F238E27FC236}">
                <a16:creationId xmlns:a16="http://schemas.microsoft.com/office/drawing/2014/main" id="{439DAF4B-8891-5543-8E43-55E4E8C1AC61}"/>
              </a:ext>
            </a:extLst>
          </p:cNvPr>
          <p:cNvSpPr txBox="1"/>
          <p:nvPr/>
        </p:nvSpPr>
        <p:spPr>
          <a:xfrm>
            <a:off x="-20094" y="2064776"/>
            <a:ext cx="2856872" cy="2154436"/>
          </a:xfrm>
          <a:prstGeom prst="rect">
            <a:avLst/>
          </a:prstGeom>
          <a:noFill/>
        </p:spPr>
        <p:txBody>
          <a:bodyPr wrap="square" rtlCol="0" anchor="ctr">
            <a:spAutoFit/>
          </a:bodyPr>
          <a:lstStyle/>
          <a:p>
            <a:pPr marL="628650" marR="0" lvl="1"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45659"/>
                </a:solidFill>
                <a:effectLst/>
                <a:uLnTx/>
                <a:uFillTx/>
                <a:latin typeface="Calibri" charset="0"/>
                <a:ea typeface="PS TT Commons DemiBold" charset="0"/>
                <a:cs typeface="PS TT Commons DemiBold" charset="0"/>
              </a:rPr>
              <a:t>What is the problem we are trying to solve or situation we are trying to improve?</a:t>
            </a:r>
          </a:p>
          <a:p>
            <a:pPr marL="628650" marR="0" lvl="1"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545659"/>
              </a:solidFill>
              <a:effectLst/>
              <a:uLnTx/>
              <a:uFillTx/>
              <a:latin typeface="Calibri" charset="0"/>
              <a:ea typeface="PS TT Commons DemiBold" charset="0"/>
              <a:cs typeface="PS TT Commons DemiBold" charset="0"/>
            </a:endParaRPr>
          </a:p>
          <a:p>
            <a:pPr marL="628650" marR="0" lvl="1"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45659"/>
                </a:solidFill>
                <a:effectLst/>
                <a:uLnTx/>
                <a:uFillTx/>
                <a:latin typeface="Calibri" charset="0"/>
                <a:ea typeface="PS TT Commons DemiBold" charset="0"/>
                <a:cs typeface="PS TT Commons DemiBold" charset="0"/>
              </a:rPr>
              <a:t>What is the decision to be made?</a:t>
            </a:r>
          </a:p>
          <a:p>
            <a:pPr marL="628650" marR="0" lvl="1"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545659"/>
              </a:solidFill>
              <a:effectLst/>
              <a:uLnTx/>
              <a:uFillTx/>
              <a:latin typeface="Calibri" charset="0"/>
              <a:ea typeface="PS TT Commons DemiBold" charset="0"/>
              <a:cs typeface="PS TT Commons DemiBold" charset="0"/>
            </a:endParaRPr>
          </a:p>
          <a:p>
            <a:pPr marL="628650" marR="0" lvl="1"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45659"/>
                </a:solidFill>
                <a:effectLst/>
                <a:uLnTx/>
                <a:uFillTx/>
                <a:latin typeface="Calibri" charset="0"/>
                <a:ea typeface="PS TT Commons DemiBold" charset="0"/>
                <a:cs typeface="PS TT Commons DemiBold" charset="0"/>
              </a:rPr>
              <a:t>What motive for making a decision?</a:t>
            </a:r>
            <a:endParaRPr kumimoji="0" lang="en-US" sz="1400" b="0" i="0" u="none" strike="noStrike" kern="1200" cap="none" spc="0" normalizeH="0" baseline="0" noProof="0">
              <a:ln>
                <a:noFill/>
              </a:ln>
              <a:solidFill>
                <a:srgbClr val="545659"/>
              </a:solidFill>
              <a:effectLst/>
              <a:uLnTx/>
              <a:uFillTx/>
              <a:latin typeface="Calibri" panose="020F0502020204030204" pitchFamily="34" charset="0"/>
              <a:ea typeface="ＭＳ Ｐゴシック" charset="0"/>
            </a:endParaRPr>
          </a:p>
          <a:p>
            <a:pPr marL="0" marR="0" lvl="0" indent="0" algn="l" defTabSz="4572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45659"/>
              </a:solidFill>
              <a:effectLst/>
              <a:uLnTx/>
              <a:uFillTx/>
              <a:latin typeface="Calibri" panose="020F0502020204030204" pitchFamily="34" charset="0"/>
              <a:ea typeface="ＭＳ Ｐゴシック" charset="0"/>
            </a:endParaRPr>
          </a:p>
        </p:txBody>
      </p:sp>
    </p:spTree>
    <p:extLst>
      <p:ext uri="{BB962C8B-B14F-4D97-AF65-F5344CB8AC3E}">
        <p14:creationId xmlns:p14="http://schemas.microsoft.com/office/powerpoint/2010/main" val="472887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subTnLst>
                                    <p:animClr clrSpc="rgb" dir="cw">
                                      <p:cBhvr override="childStyle">
                                        <p:cTn dur="1" fill="hold" display="0" masterRel="nextClick" afterEffect="1"/>
                                        <p:tgtEl>
                                          <p:spTgt spid="7"/>
                                        </p:tgtEl>
                                        <p:attrNameLst>
                                          <p:attrName>ppt_c</p:attrName>
                                        </p:attrNameLst>
                                      </p:cBhvr>
                                      <p:to>
                                        <a:srgbClr val="B2B2B2"/>
                                      </p:to>
                                    </p:animClr>
                                  </p:sub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subTnLst>
                                    <p:animClr clrSpc="rgb" dir="cw">
                                      <p:cBhvr override="childStyle">
                                        <p:cTn dur="1" fill="hold" display="0" masterRel="nextClick" afterEffect="1"/>
                                        <p:tgtEl>
                                          <p:spTgt spid="19"/>
                                        </p:tgtEl>
                                        <p:attrNameLst>
                                          <p:attrName>ppt_c</p:attrName>
                                        </p:attrNameLst>
                                      </p:cBhvr>
                                      <p:to>
                                        <a:schemeClr val="tx1"/>
                                      </p:to>
                                    </p:animClr>
                                  </p:sub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subTnLst>
                                    <p:animClr clrSpc="rgb" dir="cw">
                                      <p:cBhvr override="childStyle">
                                        <p:cTn dur="1" fill="hold" display="0" masterRel="nextClick" afterEffect="1"/>
                                        <p:tgtEl>
                                          <p:spTgt spid="8"/>
                                        </p:tgtEl>
                                        <p:attrNameLst>
                                          <p:attrName>ppt_c</p:attrName>
                                        </p:attrNameLst>
                                      </p:cBhvr>
                                      <p:to>
                                        <a:schemeClr val="tx1"/>
                                      </p:to>
                                    </p:animClr>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subTnLst>
                                    <p:animClr clrSpc="rgb" dir="cw">
                                      <p:cBhvr override="childStyle">
                                        <p:cTn dur="1" fill="hold" display="0" masterRel="nextClick" afterEffect="1"/>
                                        <p:tgtEl>
                                          <p:spTgt spid="9"/>
                                        </p:tgtEl>
                                        <p:attrNameLst>
                                          <p:attrName>ppt_c</p:attrName>
                                        </p:attrNameLst>
                                      </p:cBhvr>
                                      <p:to>
                                        <a:srgbClr val="B2B2B2"/>
                                      </p:to>
                                    </p:animClr>
                                  </p:sub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subTnLst>
                                    <p:animClr clrSpc="rgb" dir="cw">
                                      <p:cBhvr override="childStyle">
                                        <p:cTn dur="1" fill="hold" display="0" masterRel="nextClick" afterEffect="1"/>
                                        <p:tgtEl>
                                          <p:spTgt spid="10"/>
                                        </p:tgtEl>
                                        <p:attrNameLst>
                                          <p:attrName>ppt_c</p:attrName>
                                        </p:attrNameLst>
                                      </p:cBhvr>
                                      <p:to>
                                        <a:schemeClr val="tx1"/>
                                      </p:to>
                                    </p:animClr>
                                  </p:sub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subTnLst>
                                    <p:animClr clrSpc="rgb" dir="cw">
                                      <p:cBhvr override="childStyle">
                                        <p:cTn dur="1" fill="hold" display="0" masterRel="nextClick" afterEffect="1"/>
                                        <p:tgtEl>
                                          <p:spTgt spid="20"/>
                                        </p:tgtEl>
                                        <p:attrNameLst>
                                          <p:attrName>ppt_c</p:attrName>
                                        </p:attrNameLst>
                                      </p:cBhvr>
                                      <p:to>
                                        <a:schemeClr val="tx1"/>
                                      </p:to>
                                    </p:animClr>
                                  </p:sub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subTnLst>
                                    <p:animClr clrSpc="rgb" dir="cw">
                                      <p:cBhvr override="childStyle">
                                        <p:cTn dur="1" fill="hold" display="0" masterRel="nextClick" afterEffect="1"/>
                                        <p:tgtEl>
                                          <p:spTgt spid="11"/>
                                        </p:tgtEl>
                                        <p:attrNameLst>
                                          <p:attrName>ppt_c</p:attrName>
                                        </p:attrNameLst>
                                      </p:cBhvr>
                                      <p:to>
                                        <a:srgbClr val="B2B2B2"/>
                                      </p:to>
                                    </p:animClr>
                                  </p:sub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subTnLst>
                                    <p:animClr clrSpc="rgb" dir="cw">
                                      <p:cBhvr override="childStyle">
                                        <p:cTn dur="1" fill="hold" display="0" masterRel="nextClick" afterEffect="1"/>
                                        <p:tgtEl>
                                          <p:spTgt spid="12"/>
                                        </p:tgtEl>
                                        <p:attrNameLst>
                                          <p:attrName>ppt_c</p:attrName>
                                        </p:attrNameLst>
                                      </p:cBhvr>
                                      <p:to>
                                        <a:schemeClr val="tx1"/>
                                      </p:to>
                                    </p:animClr>
                                  </p:subTnLst>
                                </p:cTn>
                              </p:par>
                              <p:par>
                                <p:cTn id="25" presetID="1"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subTnLst>
                                    <p:animClr clrSpc="rgb" dir="cw">
                                      <p:cBhvr override="childStyle">
                                        <p:cTn dur="1" fill="hold" display="0" masterRel="nextClick" afterEffect="1"/>
                                        <p:tgtEl>
                                          <p:spTgt spid="21"/>
                                        </p:tgtEl>
                                        <p:attrNameLst>
                                          <p:attrName>ppt_c</p:attrName>
                                        </p:attrNameLst>
                                      </p:cBhvr>
                                      <p:to>
                                        <a:schemeClr val="tx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0" grpId="0"/>
      <p:bldP spid="11" grpId="0" animBg="1"/>
      <p:bldP spid="12" grpId="0"/>
      <p:bldP spid="19" grpId="0"/>
      <p:bldP spid="20" grpId="0"/>
      <p:bldP spid="21" grpId="0"/>
      <p:bldP spid="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87826"/>
            <a:ext cx="8106305" cy="443818"/>
          </a:xfrm>
        </p:spPr>
        <p:txBody>
          <a:bodyPr/>
          <a:lstStyle/>
          <a:p>
            <a:r>
              <a:rPr lang="en-US" sz="2100"/>
              <a:t>Classify the Decision - Dimensions</a:t>
            </a:r>
          </a:p>
        </p:txBody>
      </p:sp>
      <p:sp>
        <p:nvSpPr>
          <p:cNvPr id="4" name="Rectangle: Rounded Corners 3">
            <a:extLst>
              <a:ext uri="{FF2B5EF4-FFF2-40B4-BE49-F238E27FC236}">
                <a16:creationId xmlns:a16="http://schemas.microsoft.com/office/drawing/2014/main" id="{0C165D28-B976-8290-796D-093E4140B70F}"/>
              </a:ext>
            </a:extLst>
          </p:cNvPr>
          <p:cNvSpPr/>
          <p:nvPr/>
        </p:nvSpPr>
        <p:spPr>
          <a:xfrm>
            <a:off x="4624706" y="1083036"/>
            <a:ext cx="2034025" cy="1661346"/>
          </a:xfrm>
          <a:prstGeom prst="roundRect">
            <a:avLst>
              <a:gd name="adj" fmla="val 11397"/>
            </a:avLst>
          </a:prstGeom>
          <a:solidFill>
            <a:srgbClr val="768491">
              <a:lumMod val="20000"/>
              <a:lumOff val="80000"/>
              <a:alpha val="56000"/>
            </a:srgbClr>
          </a:solidFill>
          <a:ln w="28575" cap="flat" cmpd="sng" algn="ctr">
            <a:solidFill>
              <a:schemeClr val="tx2"/>
            </a:solidFill>
            <a:prstDash val="solid"/>
            <a:miter lim="800000"/>
          </a:ln>
          <a:effectLst/>
        </p:spPr>
        <p:txBody>
          <a:bodyPr rtlCol="0" anchor="ctr"/>
          <a:lstStyle/>
          <a:p>
            <a:pPr marL="0" marR="0" lvl="0" indent="0" algn="ctr" defTabSz="816388" rtl="0" eaLnBrk="1" fontAlgn="auto" latinLnBrk="0" hangingPunct="1">
              <a:lnSpc>
                <a:spcPct val="100000"/>
              </a:lnSpc>
              <a:spcBef>
                <a:spcPts val="0"/>
              </a:spcBef>
              <a:spcAft>
                <a:spcPts val="0"/>
              </a:spcAft>
              <a:buClrTx/>
              <a:buSzTx/>
              <a:buFontTx/>
              <a:buNone/>
              <a:tabLst/>
              <a:defRPr/>
            </a:pPr>
            <a:endParaRPr kumimoji="0" lang="en-US" sz="1950" b="0" i="0" u="none" strike="noStrike" kern="0" cap="none" spc="0" normalizeH="0" baseline="0" noProof="0">
              <a:ln>
                <a:noFill/>
              </a:ln>
              <a:solidFill>
                <a:srgbClr val="FFFFFF"/>
              </a:solidFill>
              <a:effectLst/>
              <a:uLnTx/>
              <a:uFillTx/>
              <a:latin typeface="Calibri"/>
              <a:ea typeface="ＭＳ Ｐゴシック" charset="0"/>
              <a:cs typeface="+mn-cs"/>
            </a:endParaRPr>
          </a:p>
        </p:txBody>
      </p:sp>
      <p:sp>
        <p:nvSpPr>
          <p:cNvPr id="5" name="Rectangle: Rounded Corners 4">
            <a:extLst>
              <a:ext uri="{FF2B5EF4-FFF2-40B4-BE49-F238E27FC236}">
                <a16:creationId xmlns:a16="http://schemas.microsoft.com/office/drawing/2014/main" id="{29D19987-136D-7F54-AF03-1DD82063C20B}"/>
              </a:ext>
            </a:extLst>
          </p:cNvPr>
          <p:cNvSpPr/>
          <p:nvPr/>
        </p:nvSpPr>
        <p:spPr>
          <a:xfrm>
            <a:off x="2414876" y="1094235"/>
            <a:ext cx="2034025" cy="1654307"/>
          </a:xfrm>
          <a:prstGeom prst="roundRect">
            <a:avLst>
              <a:gd name="adj" fmla="val 11802"/>
            </a:avLst>
          </a:prstGeom>
          <a:solidFill>
            <a:srgbClr val="768491">
              <a:lumMod val="20000"/>
              <a:lumOff val="80000"/>
              <a:alpha val="56000"/>
            </a:srgbClr>
          </a:solidFill>
          <a:ln w="28575" cap="flat" cmpd="sng" algn="ctr">
            <a:solidFill>
              <a:schemeClr val="accent2"/>
            </a:solidFill>
            <a:prstDash val="solid"/>
            <a:miter lim="800000"/>
          </a:ln>
          <a:effectLst/>
        </p:spPr>
        <p:txBody>
          <a:bodyPr rtlCol="0" anchor="ctr"/>
          <a:lstStyle/>
          <a:p>
            <a:pPr marL="0" marR="0" lvl="0" indent="0" algn="ctr" defTabSz="816388" rtl="0" eaLnBrk="1" fontAlgn="auto" latinLnBrk="0" hangingPunct="1">
              <a:lnSpc>
                <a:spcPct val="100000"/>
              </a:lnSpc>
              <a:spcBef>
                <a:spcPts val="0"/>
              </a:spcBef>
              <a:spcAft>
                <a:spcPts val="0"/>
              </a:spcAft>
              <a:buClrTx/>
              <a:buSzTx/>
              <a:buFontTx/>
              <a:buNone/>
              <a:tabLst/>
              <a:defRPr/>
            </a:pPr>
            <a:endParaRPr kumimoji="0" lang="en-US" sz="1950" b="0" i="0" u="none" strike="noStrike" kern="0" cap="none" spc="0" normalizeH="0" baseline="0" noProof="0">
              <a:ln>
                <a:noFill/>
              </a:ln>
              <a:solidFill>
                <a:srgbClr val="FFFFFF"/>
              </a:solidFill>
              <a:effectLst/>
              <a:uLnTx/>
              <a:uFillTx/>
              <a:latin typeface="Calibri"/>
              <a:ea typeface="ＭＳ Ｐゴシック" charset="0"/>
              <a:cs typeface="+mn-cs"/>
            </a:endParaRPr>
          </a:p>
        </p:txBody>
      </p:sp>
      <p:sp>
        <p:nvSpPr>
          <p:cNvPr id="7" name="Rectangle: Rounded Corners 6">
            <a:extLst>
              <a:ext uri="{FF2B5EF4-FFF2-40B4-BE49-F238E27FC236}">
                <a16:creationId xmlns:a16="http://schemas.microsoft.com/office/drawing/2014/main" id="{C2333EDD-18B8-EA3F-FC2B-C7F93FD36424}"/>
              </a:ext>
            </a:extLst>
          </p:cNvPr>
          <p:cNvSpPr/>
          <p:nvPr/>
        </p:nvSpPr>
        <p:spPr>
          <a:xfrm>
            <a:off x="193156" y="1084126"/>
            <a:ext cx="2034024" cy="1660471"/>
          </a:xfrm>
          <a:prstGeom prst="roundRect">
            <a:avLst>
              <a:gd name="adj" fmla="val 11397"/>
            </a:avLst>
          </a:prstGeom>
          <a:solidFill>
            <a:srgbClr val="768491">
              <a:lumMod val="20000"/>
              <a:lumOff val="80000"/>
              <a:alpha val="56000"/>
            </a:srgbClr>
          </a:solidFill>
          <a:ln w="28575" cap="flat" cmpd="sng" algn="ctr">
            <a:solidFill>
              <a:schemeClr val="accent4"/>
            </a:solidFill>
            <a:prstDash val="solid"/>
            <a:miter lim="800000"/>
          </a:ln>
          <a:effectLst/>
        </p:spPr>
        <p:txBody>
          <a:bodyPr rtlCol="0" anchor="ctr"/>
          <a:lstStyle/>
          <a:p>
            <a:pPr marL="0" marR="0" lvl="0" indent="0" algn="ctr" defTabSz="816388" rtl="0" eaLnBrk="1" fontAlgn="auto" latinLnBrk="0" hangingPunct="1">
              <a:lnSpc>
                <a:spcPct val="100000"/>
              </a:lnSpc>
              <a:spcBef>
                <a:spcPts val="0"/>
              </a:spcBef>
              <a:spcAft>
                <a:spcPts val="0"/>
              </a:spcAft>
              <a:buClrTx/>
              <a:buSzTx/>
              <a:buFontTx/>
              <a:buNone/>
              <a:tabLst/>
              <a:defRPr/>
            </a:pPr>
            <a:endParaRPr kumimoji="0" lang="en-US" sz="1950" b="0" i="0" u="none" strike="noStrike" kern="0" cap="none" spc="0" normalizeH="0" baseline="0" noProof="0">
              <a:ln>
                <a:noFill/>
              </a:ln>
              <a:solidFill>
                <a:srgbClr val="FFFFFF"/>
              </a:solidFill>
              <a:effectLst/>
              <a:uLnTx/>
              <a:uFillTx/>
              <a:latin typeface="Calibri"/>
              <a:ea typeface="ＭＳ Ｐゴシック" charset="0"/>
              <a:cs typeface="+mn-cs"/>
            </a:endParaRPr>
          </a:p>
        </p:txBody>
      </p:sp>
      <p:sp>
        <p:nvSpPr>
          <p:cNvPr id="9" name="TextBox 8">
            <a:extLst>
              <a:ext uri="{FF2B5EF4-FFF2-40B4-BE49-F238E27FC236}">
                <a16:creationId xmlns:a16="http://schemas.microsoft.com/office/drawing/2014/main" id="{9A831057-4ED9-8D6C-C1DE-E98FA49B82F5}"/>
              </a:ext>
            </a:extLst>
          </p:cNvPr>
          <p:cNvSpPr txBox="1"/>
          <p:nvPr/>
        </p:nvSpPr>
        <p:spPr>
          <a:xfrm>
            <a:off x="4624078" y="1130691"/>
            <a:ext cx="2034025" cy="338554"/>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244B59"/>
                </a:solidFill>
                <a:effectLst/>
                <a:uLnTx/>
                <a:uFillTx/>
                <a:latin typeface="Arial" panose="020B0604020202020204" pitchFamily="34" charset="0"/>
                <a:ea typeface="ＭＳ Ｐゴシック" charset="0"/>
                <a:cs typeface="Arial" panose="020B0604020202020204" pitchFamily="34" charset="0"/>
              </a:rPr>
              <a:t>Uncertainty</a:t>
            </a:r>
          </a:p>
        </p:txBody>
      </p:sp>
      <p:sp>
        <p:nvSpPr>
          <p:cNvPr id="10" name="TextBox 9">
            <a:extLst>
              <a:ext uri="{FF2B5EF4-FFF2-40B4-BE49-F238E27FC236}">
                <a16:creationId xmlns:a16="http://schemas.microsoft.com/office/drawing/2014/main" id="{63308A5B-9FBE-0409-B23F-56B004807702}"/>
              </a:ext>
            </a:extLst>
          </p:cNvPr>
          <p:cNvSpPr txBox="1"/>
          <p:nvPr/>
        </p:nvSpPr>
        <p:spPr>
          <a:xfrm>
            <a:off x="2454484" y="1124655"/>
            <a:ext cx="1877839" cy="338554"/>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870064"/>
                </a:solidFill>
                <a:effectLst/>
                <a:uLnTx/>
                <a:uFillTx/>
                <a:latin typeface="Arial" panose="020B0604020202020204" pitchFamily="34" charset="0"/>
                <a:ea typeface="ＭＳ Ｐゴシック" charset="0"/>
                <a:cs typeface="Arial" panose="020B0604020202020204" pitchFamily="34" charset="0"/>
              </a:rPr>
              <a:t>Reversibility</a:t>
            </a:r>
          </a:p>
        </p:txBody>
      </p:sp>
      <p:sp>
        <p:nvSpPr>
          <p:cNvPr id="11" name="TextBox 10">
            <a:extLst>
              <a:ext uri="{FF2B5EF4-FFF2-40B4-BE49-F238E27FC236}">
                <a16:creationId xmlns:a16="http://schemas.microsoft.com/office/drawing/2014/main" id="{B8560F48-36BE-B9E7-55C3-83E7363ACCE0}"/>
              </a:ext>
            </a:extLst>
          </p:cNvPr>
          <p:cNvSpPr txBox="1"/>
          <p:nvPr/>
        </p:nvSpPr>
        <p:spPr>
          <a:xfrm>
            <a:off x="262849" y="1094235"/>
            <a:ext cx="1877839" cy="584775"/>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156838"/>
                </a:solidFill>
                <a:effectLst/>
                <a:uLnTx/>
                <a:uFillTx/>
                <a:latin typeface="Arial" panose="020B0604020202020204" pitchFamily="34" charset="0"/>
                <a:ea typeface="ＭＳ Ｐゴシック" charset="0"/>
                <a:cs typeface="Arial" panose="020B0604020202020204" pitchFamily="34" charset="0"/>
              </a:rPr>
              <a:t>Impact of the Decision</a:t>
            </a:r>
          </a:p>
        </p:txBody>
      </p:sp>
      <p:sp>
        <p:nvSpPr>
          <p:cNvPr id="13" name="Rectangle: Rounded Corners 12">
            <a:extLst>
              <a:ext uri="{FF2B5EF4-FFF2-40B4-BE49-F238E27FC236}">
                <a16:creationId xmlns:a16="http://schemas.microsoft.com/office/drawing/2014/main" id="{40D952C4-48B0-B01D-46C1-7826EE2F947E}"/>
              </a:ext>
            </a:extLst>
          </p:cNvPr>
          <p:cNvSpPr/>
          <p:nvPr/>
        </p:nvSpPr>
        <p:spPr>
          <a:xfrm>
            <a:off x="6863620" y="1083036"/>
            <a:ext cx="2034024" cy="1660471"/>
          </a:xfrm>
          <a:prstGeom prst="roundRect">
            <a:avLst>
              <a:gd name="adj" fmla="val 11397"/>
            </a:avLst>
          </a:prstGeom>
          <a:solidFill>
            <a:srgbClr val="768491">
              <a:lumMod val="20000"/>
              <a:lumOff val="80000"/>
              <a:alpha val="56000"/>
            </a:srgbClr>
          </a:solidFill>
          <a:ln w="28575" cap="flat" cmpd="sng" algn="ctr">
            <a:solidFill>
              <a:schemeClr val="accent1"/>
            </a:solidFill>
            <a:prstDash val="solid"/>
            <a:miter lim="800000"/>
          </a:ln>
          <a:effectLst/>
        </p:spPr>
        <p:txBody>
          <a:bodyPr rtlCol="0" anchor="ctr"/>
          <a:lstStyle/>
          <a:p>
            <a:pPr marL="0" marR="0" lvl="0" indent="0" algn="ctr" defTabSz="816388" rtl="0" eaLnBrk="1" fontAlgn="auto" latinLnBrk="0" hangingPunct="1">
              <a:lnSpc>
                <a:spcPct val="100000"/>
              </a:lnSpc>
              <a:spcBef>
                <a:spcPts val="0"/>
              </a:spcBef>
              <a:spcAft>
                <a:spcPts val="0"/>
              </a:spcAft>
              <a:buClrTx/>
              <a:buSzTx/>
              <a:buFontTx/>
              <a:buNone/>
              <a:tabLst/>
              <a:defRPr/>
            </a:pPr>
            <a:endParaRPr kumimoji="0" lang="en-US" sz="1950" b="0" i="0" u="none" strike="noStrike" kern="0" cap="none" spc="0" normalizeH="0" baseline="0" noProof="0">
              <a:ln>
                <a:noFill/>
              </a:ln>
              <a:solidFill>
                <a:srgbClr val="FFFFFF"/>
              </a:solidFill>
              <a:effectLst/>
              <a:uLnTx/>
              <a:uFillTx/>
              <a:latin typeface="Calibri"/>
              <a:ea typeface="ＭＳ Ｐゴシック" charset="0"/>
              <a:cs typeface="+mn-cs"/>
            </a:endParaRPr>
          </a:p>
        </p:txBody>
      </p:sp>
      <p:sp>
        <p:nvSpPr>
          <p:cNvPr id="14" name="TextBox 13">
            <a:extLst>
              <a:ext uri="{FF2B5EF4-FFF2-40B4-BE49-F238E27FC236}">
                <a16:creationId xmlns:a16="http://schemas.microsoft.com/office/drawing/2014/main" id="{2E6FFEC3-05A1-F81E-DA41-501050856379}"/>
              </a:ext>
            </a:extLst>
          </p:cNvPr>
          <p:cNvSpPr txBox="1"/>
          <p:nvPr/>
        </p:nvSpPr>
        <p:spPr>
          <a:xfrm>
            <a:off x="6933313" y="1093145"/>
            <a:ext cx="1877839" cy="338554"/>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6580"/>
                </a:solidFill>
                <a:effectLst/>
                <a:uLnTx/>
                <a:uFillTx/>
                <a:latin typeface="Arial" panose="020B0604020202020204" pitchFamily="34" charset="0"/>
                <a:ea typeface="ＭＳ Ｐゴシック" charset="0"/>
                <a:cs typeface="Arial" panose="020B0604020202020204" pitchFamily="34" charset="0"/>
              </a:rPr>
              <a:t>Frequency</a:t>
            </a:r>
          </a:p>
        </p:txBody>
      </p:sp>
      <p:sp>
        <p:nvSpPr>
          <p:cNvPr id="15" name="Rectangle: Rounded Corners 14">
            <a:extLst>
              <a:ext uri="{FF2B5EF4-FFF2-40B4-BE49-F238E27FC236}">
                <a16:creationId xmlns:a16="http://schemas.microsoft.com/office/drawing/2014/main" id="{1CBA8B29-F068-0F3D-7E38-D6D3643D2FA4}"/>
              </a:ext>
            </a:extLst>
          </p:cNvPr>
          <p:cNvSpPr/>
          <p:nvPr/>
        </p:nvSpPr>
        <p:spPr>
          <a:xfrm>
            <a:off x="4639106" y="2921257"/>
            <a:ext cx="2034025" cy="1661346"/>
          </a:xfrm>
          <a:prstGeom prst="roundRect">
            <a:avLst>
              <a:gd name="adj" fmla="val 11397"/>
            </a:avLst>
          </a:prstGeom>
          <a:solidFill>
            <a:srgbClr val="768491">
              <a:lumMod val="20000"/>
              <a:lumOff val="80000"/>
              <a:alpha val="56000"/>
            </a:srgbClr>
          </a:solidFill>
          <a:ln w="28575" cap="flat" cmpd="sng" algn="ctr">
            <a:solidFill>
              <a:schemeClr val="accent5"/>
            </a:solidFill>
            <a:prstDash val="solid"/>
            <a:miter lim="800000"/>
          </a:ln>
          <a:effectLst/>
        </p:spPr>
        <p:txBody>
          <a:bodyPr rtlCol="0" anchor="ctr"/>
          <a:lstStyle/>
          <a:p>
            <a:pPr marL="0" marR="0" lvl="0" indent="0" algn="ctr" defTabSz="816388" rtl="0" eaLnBrk="1" fontAlgn="auto" latinLnBrk="0" hangingPunct="1">
              <a:lnSpc>
                <a:spcPct val="100000"/>
              </a:lnSpc>
              <a:spcBef>
                <a:spcPts val="0"/>
              </a:spcBef>
              <a:spcAft>
                <a:spcPts val="0"/>
              </a:spcAft>
              <a:buClrTx/>
              <a:buSzTx/>
              <a:buFontTx/>
              <a:buNone/>
              <a:tabLst/>
              <a:defRPr/>
            </a:pPr>
            <a:endParaRPr kumimoji="0" lang="en-US" sz="1950" b="0" i="0" u="none" strike="noStrike" kern="0" cap="none" spc="0" normalizeH="0" baseline="0" noProof="0">
              <a:ln>
                <a:noFill/>
              </a:ln>
              <a:solidFill>
                <a:srgbClr val="FFFFFF"/>
              </a:solidFill>
              <a:effectLst/>
              <a:uLnTx/>
              <a:uFillTx/>
              <a:latin typeface="Calibri"/>
              <a:ea typeface="ＭＳ Ｐゴシック" charset="0"/>
              <a:cs typeface="+mn-cs"/>
            </a:endParaRPr>
          </a:p>
        </p:txBody>
      </p:sp>
      <p:sp>
        <p:nvSpPr>
          <p:cNvPr id="16" name="Rectangle: Rounded Corners 15">
            <a:extLst>
              <a:ext uri="{FF2B5EF4-FFF2-40B4-BE49-F238E27FC236}">
                <a16:creationId xmlns:a16="http://schemas.microsoft.com/office/drawing/2014/main" id="{6D460F8C-A30E-1771-20FA-7B19CC7D71FF}"/>
              </a:ext>
            </a:extLst>
          </p:cNvPr>
          <p:cNvSpPr/>
          <p:nvPr/>
        </p:nvSpPr>
        <p:spPr>
          <a:xfrm>
            <a:off x="2429276" y="2932456"/>
            <a:ext cx="2034025" cy="1654307"/>
          </a:xfrm>
          <a:prstGeom prst="roundRect">
            <a:avLst>
              <a:gd name="adj" fmla="val 11802"/>
            </a:avLst>
          </a:prstGeom>
          <a:solidFill>
            <a:srgbClr val="768491">
              <a:lumMod val="20000"/>
              <a:lumOff val="80000"/>
              <a:alpha val="56000"/>
            </a:srgbClr>
          </a:solidFill>
          <a:ln w="28575" cap="flat" cmpd="sng" algn="ctr">
            <a:solidFill>
              <a:schemeClr val="accent6"/>
            </a:solidFill>
            <a:prstDash val="solid"/>
            <a:miter lim="800000"/>
          </a:ln>
          <a:effectLst/>
        </p:spPr>
        <p:txBody>
          <a:bodyPr rtlCol="0" anchor="ctr"/>
          <a:lstStyle/>
          <a:p>
            <a:pPr marL="0" marR="0" lvl="0" indent="0" algn="ctr" defTabSz="816388" rtl="0" eaLnBrk="1" fontAlgn="auto" latinLnBrk="0" hangingPunct="1">
              <a:lnSpc>
                <a:spcPct val="100000"/>
              </a:lnSpc>
              <a:spcBef>
                <a:spcPts val="0"/>
              </a:spcBef>
              <a:spcAft>
                <a:spcPts val="0"/>
              </a:spcAft>
              <a:buClrTx/>
              <a:buSzTx/>
              <a:buFontTx/>
              <a:buNone/>
              <a:tabLst/>
              <a:defRPr/>
            </a:pPr>
            <a:endParaRPr kumimoji="0" lang="en-US" sz="1950" b="0" i="0" u="none" strike="noStrike" kern="0" cap="none" spc="0" normalizeH="0" baseline="0" noProof="0">
              <a:ln>
                <a:noFill/>
              </a:ln>
              <a:solidFill>
                <a:srgbClr val="FFFFFF"/>
              </a:solidFill>
              <a:effectLst/>
              <a:uLnTx/>
              <a:uFillTx/>
              <a:latin typeface="Calibri"/>
              <a:ea typeface="ＭＳ Ｐゴシック" charset="0"/>
              <a:cs typeface="+mn-cs"/>
            </a:endParaRPr>
          </a:p>
        </p:txBody>
      </p:sp>
      <p:sp>
        <p:nvSpPr>
          <p:cNvPr id="18" name="Rectangle: Rounded Corners 17">
            <a:extLst>
              <a:ext uri="{FF2B5EF4-FFF2-40B4-BE49-F238E27FC236}">
                <a16:creationId xmlns:a16="http://schemas.microsoft.com/office/drawing/2014/main" id="{00DDECC3-1FA7-0AE9-C043-FF62E5CD844B}"/>
              </a:ext>
            </a:extLst>
          </p:cNvPr>
          <p:cNvSpPr/>
          <p:nvPr/>
        </p:nvSpPr>
        <p:spPr>
          <a:xfrm>
            <a:off x="207556" y="2922347"/>
            <a:ext cx="2034024" cy="1660471"/>
          </a:xfrm>
          <a:prstGeom prst="roundRect">
            <a:avLst>
              <a:gd name="adj" fmla="val 11397"/>
            </a:avLst>
          </a:prstGeom>
          <a:solidFill>
            <a:srgbClr val="768491">
              <a:lumMod val="20000"/>
              <a:lumOff val="80000"/>
              <a:alpha val="56000"/>
            </a:srgbClr>
          </a:solidFill>
          <a:ln w="28575" cap="flat" cmpd="sng" algn="ctr">
            <a:solidFill>
              <a:schemeClr val="bg2"/>
            </a:solidFill>
            <a:prstDash val="solid"/>
            <a:miter lim="800000"/>
          </a:ln>
          <a:effectLst/>
        </p:spPr>
        <p:txBody>
          <a:bodyPr rtlCol="0" anchor="ctr"/>
          <a:lstStyle/>
          <a:p>
            <a:pPr marL="0" marR="0" lvl="0" indent="0" algn="ctr" defTabSz="816388" rtl="0" eaLnBrk="1" fontAlgn="auto" latinLnBrk="0" hangingPunct="1">
              <a:lnSpc>
                <a:spcPct val="100000"/>
              </a:lnSpc>
              <a:spcBef>
                <a:spcPts val="0"/>
              </a:spcBef>
              <a:spcAft>
                <a:spcPts val="0"/>
              </a:spcAft>
              <a:buClrTx/>
              <a:buSzTx/>
              <a:buFontTx/>
              <a:buNone/>
              <a:tabLst/>
              <a:defRPr/>
            </a:pPr>
            <a:endParaRPr kumimoji="0" lang="en-US" sz="1950" b="0" i="0" u="none" strike="noStrike" kern="0" cap="none" spc="0" normalizeH="0" baseline="0" noProof="0">
              <a:ln>
                <a:noFill/>
              </a:ln>
              <a:solidFill>
                <a:srgbClr val="FFFFFF"/>
              </a:solidFill>
              <a:effectLst/>
              <a:uLnTx/>
              <a:uFillTx/>
              <a:latin typeface="Calibri"/>
              <a:ea typeface="ＭＳ Ｐゴシック" charset="0"/>
              <a:cs typeface="+mn-cs"/>
            </a:endParaRPr>
          </a:p>
        </p:txBody>
      </p:sp>
      <p:sp>
        <p:nvSpPr>
          <p:cNvPr id="20" name="TextBox 19">
            <a:extLst>
              <a:ext uri="{FF2B5EF4-FFF2-40B4-BE49-F238E27FC236}">
                <a16:creationId xmlns:a16="http://schemas.microsoft.com/office/drawing/2014/main" id="{EC12B8DD-2545-B767-E19F-13E68B1F5449}"/>
              </a:ext>
            </a:extLst>
          </p:cNvPr>
          <p:cNvSpPr txBox="1"/>
          <p:nvPr/>
        </p:nvSpPr>
        <p:spPr>
          <a:xfrm>
            <a:off x="4638478" y="2968912"/>
            <a:ext cx="2034025" cy="584775"/>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accent5"/>
                </a:solidFill>
                <a:effectLst/>
                <a:uLnTx/>
                <a:uFillTx/>
                <a:latin typeface="Arial" panose="020B0604020202020204" pitchFamily="34" charset="0"/>
                <a:ea typeface="ＭＳ Ｐゴシック" charset="0"/>
                <a:cs typeface="Arial" panose="020B0604020202020204" pitchFamily="34" charset="0"/>
              </a:rPr>
              <a:t>Stakeholder Involvement</a:t>
            </a:r>
          </a:p>
        </p:txBody>
      </p:sp>
      <p:sp>
        <p:nvSpPr>
          <p:cNvPr id="21" name="TextBox 20">
            <a:extLst>
              <a:ext uri="{FF2B5EF4-FFF2-40B4-BE49-F238E27FC236}">
                <a16:creationId xmlns:a16="http://schemas.microsoft.com/office/drawing/2014/main" id="{482E1047-569E-8635-10E2-3B39275E589E}"/>
              </a:ext>
            </a:extLst>
          </p:cNvPr>
          <p:cNvSpPr txBox="1"/>
          <p:nvPr/>
        </p:nvSpPr>
        <p:spPr>
          <a:xfrm>
            <a:off x="2468884" y="2962876"/>
            <a:ext cx="1877839" cy="338554"/>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accent6"/>
                </a:solidFill>
                <a:effectLst/>
                <a:uLnTx/>
                <a:uFillTx/>
                <a:latin typeface="Arial" panose="020B0604020202020204" pitchFamily="34" charset="0"/>
                <a:ea typeface="ＭＳ Ｐゴシック" charset="0"/>
                <a:cs typeface="Arial" panose="020B0604020202020204" pitchFamily="34" charset="0"/>
              </a:rPr>
              <a:t>Complexity</a:t>
            </a:r>
          </a:p>
        </p:txBody>
      </p:sp>
      <p:sp>
        <p:nvSpPr>
          <p:cNvPr id="22" name="TextBox 21">
            <a:extLst>
              <a:ext uri="{FF2B5EF4-FFF2-40B4-BE49-F238E27FC236}">
                <a16:creationId xmlns:a16="http://schemas.microsoft.com/office/drawing/2014/main" id="{84B29A0C-8231-E8E1-EB8F-B030E0DBD89F}"/>
              </a:ext>
            </a:extLst>
          </p:cNvPr>
          <p:cNvSpPr txBox="1"/>
          <p:nvPr/>
        </p:nvSpPr>
        <p:spPr>
          <a:xfrm>
            <a:off x="277249" y="2932456"/>
            <a:ext cx="1877839" cy="338554"/>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bg2"/>
                </a:solidFill>
                <a:effectLst/>
                <a:uLnTx/>
                <a:uFillTx/>
                <a:latin typeface="Arial" panose="020B0604020202020204" pitchFamily="34" charset="0"/>
                <a:ea typeface="ＭＳ Ｐゴシック" charset="0"/>
                <a:cs typeface="Arial" panose="020B0604020202020204" pitchFamily="34" charset="0"/>
              </a:rPr>
              <a:t>Risk Level</a:t>
            </a:r>
          </a:p>
        </p:txBody>
      </p:sp>
      <p:sp>
        <p:nvSpPr>
          <p:cNvPr id="24" name="Rectangle: Rounded Corners 23">
            <a:extLst>
              <a:ext uri="{FF2B5EF4-FFF2-40B4-BE49-F238E27FC236}">
                <a16:creationId xmlns:a16="http://schemas.microsoft.com/office/drawing/2014/main" id="{3F199393-20BC-CFD6-C5B4-4C1E50AE95BC}"/>
              </a:ext>
            </a:extLst>
          </p:cNvPr>
          <p:cNvSpPr/>
          <p:nvPr/>
        </p:nvSpPr>
        <p:spPr>
          <a:xfrm>
            <a:off x="6878020" y="2921257"/>
            <a:ext cx="2034024" cy="1660471"/>
          </a:xfrm>
          <a:prstGeom prst="roundRect">
            <a:avLst>
              <a:gd name="adj" fmla="val 11397"/>
            </a:avLst>
          </a:prstGeom>
          <a:solidFill>
            <a:srgbClr val="768491">
              <a:lumMod val="20000"/>
              <a:lumOff val="80000"/>
              <a:alpha val="56000"/>
            </a:srgbClr>
          </a:solidFill>
          <a:ln w="28575" cap="flat" cmpd="sng" algn="ctr">
            <a:solidFill>
              <a:schemeClr val="accent3"/>
            </a:solidFill>
            <a:prstDash val="solid"/>
            <a:miter lim="800000"/>
          </a:ln>
          <a:effectLst/>
        </p:spPr>
        <p:txBody>
          <a:bodyPr rtlCol="0" anchor="ctr"/>
          <a:lstStyle/>
          <a:p>
            <a:pPr marL="0" marR="0" lvl="0" indent="0" algn="ctr" defTabSz="816388" rtl="0" eaLnBrk="1" fontAlgn="auto" latinLnBrk="0" hangingPunct="1">
              <a:lnSpc>
                <a:spcPct val="100000"/>
              </a:lnSpc>
              <a:spcBef>
                <a:spcPts val="0"/>
              </a:spcBef>
              <a:spcAft>
                <a:spcPts val="0"/>
              </a:spcAft>
              <a:buClrTx/>
              <a:buSzTx/>
              <a:buFontTx/>
              <a:buNone/>
              <a:tabLst/>
              <a:defRPr/>
            </a:pPr>
            <a:endParaRPr kumimoji="0" lang="en-US" sz="1950" b="0" i="0" u="none" strike="noStrike" kern="0" cap="none" spc="0" normalizeH="0" baseline="0" noProof="0">
              <a:ln>
                <a:noFill/>
              </a:ln>
              <a:solidFill>
                <a:srgbClr val="FFFFFF"/>
              </a:solidFill>
              <a:effectLst/>
              <a:uLnTx/>
              <a:uFillTx/>
              <a:latin typeface="Calibri"/>
              <a:ea typeface="ＭＳ Ｐゴシック" charset="0"/>
              <a:cs typeface="+mn-cs"/>
            </a:endParaRPr>
          </a:p>
        </p:txBody>
      </p:sp>
      <p:sp>
        <p:nvSpPr>
          <p:cNvPr id="25" name="TextBox 24">
            <a:extLst>
              <a:ext uri="{FF2B5EF4-FFF2-40B4-BE49-F238E27FC236}">
                <a16:creationId xmlns:a16="http://schemas.microsoft.com/office/drawing/2014/main" id="{17D59128-77E8-0655-1A84-C56B6BC74B36}"/>
              </a:ext>
            </a:extLst>
          </p:cNvPr>
          <p:cNvSpPr txBox="1"/>
          <p:nvPr/>
        </p:nvSpPr>
        <p:spPr>
          <a:xfrm>
            <a:off x="6947713" y="2931366"/>
            <a:ext cx="1877839" cy="338554"/>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accent3"/>
                </a:solidFill>
                <a:effectLst/>
                <a:uLnTx/>
                <a:uFillTx/>
                <a:latin typeface="Arial" panose="020B0604020202020204" pitchFamily="34" charset="0"/>
                <a:ea typeface="ＭＳ Ｐゴシック" charset="0"/>
                <a:cs typeface="Arial" panose="020B0604020202020204" pitchFamily="34" charset="0"/>
              </a:rPr>
              <a:t>Time Horizon</a:t>
            </a:r>
          </a:p>
        </p:txBody>
      </p:sp>
      <p:pic>
        <p:nvPicPr>
          <p:cNvPr id="28" name="Graphic 27" descr="Hourglass Full with solid fill">
            <a:extLst>
              <a:ext uri="{FF2B5EF4-FFF2-40B4-BE49-F238E27FC236}">
                <a16:creationId xmlns:a16="http://schemas.microsoft.com/office/drawing/2014/main" id="{1330464D-57BC-F3FE-24E0-D7CC92D86E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05114" y="3380643"/>
            <a:ext cx="822960" cy="822960"/>
          </a:xfrm>
          <a:prstGeom prst="rect">
            <a:avLst/>
          </a:prstGeom>
        </p:spPr>
      </p:pic>
      <p:pic>
        <p:nvPicPr>
          <p:cNvPr id="30" name="Graphic 29" descr="Handshake with solid fill">
            <a:extLst>
              <a:ext uri="{FF2B5EF4-FFF2-40B4-BE49-F238E27FC236}">
                <a16:creationId xmlns:a16="http://schemas.microsoft.com/office/drawing/2014/main" id="{7E129682-1CFE-E933-EE21-028CE2C7C35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21403" y="3432168"/>
            <a:ext cx="914400" cy="914400"/>
          </a:xfrm>
          <a:prstGeom prst="rect">
            <a:avLst/>
          </a:prstGeom>
        </p:spPr>
      </p:pic>
      <p:pic>
        <p:nvPicPr>
          <p:cNvPr id="32" name="Graphic 31" descr="Rope Knot with solid fill">
            <a:extLst>
              <a:ext uri="{FF2B5EF4-FFF2-40B4-BE49-F238E27FC236}">
                <a16:creationId xmlns:a16="http://schemas.microsoft.com/office/drawing/2014/main" id="{38DF01B9-6C14-5123-22A6-0525AC34C8A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937693" y="3399289"/>
            <a:ext cx="914400" cy="914400"/>
          </a:xfrm>
          <a:prstGeom prst="rect">
            <a:avLst/>
          </a:prstGeom>
        </p:spPr>
      </p:pic>
      <p:pic>
        <p:nvPicPr>
          <p:cNvPr id="34" name="Graphic 33" descr="Radioactive with solid fill">
            <a:extLst>
              <a:ext uri="{FF2B5EF4-FFF2-40B4-BE49-F238E27FC236}">
                <a16:creationId xmlns:a16="http://schemas.microsoft.com/office/drawing/2014/main" id="{E33E7634-F54B-4B1A-C46A-9ACF7DA654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2455" y="3408611"/>
            <a:ext cx="914400" cy="914400"/>
          </a:xfrm>
          <a:prstGeom prst="rect">
            <a:avLst/>
          </a:prstGeom>
        </p:spPr>
      </p:pic>
      <p:pic>
        <p:nvPicPr>
          <p:cNvPr id="36" name="Graphic 35" descr="Daily calendar with solid fill">
            <a:extLst>
              <a:ext uri="{FF2B5EF4-FFF2-40B4-BE49-F238E27FC236}">
                <a16:creationId xmlns:a16="http://schemas.microsoft.com/office/drawing/2014/main" id="{73B957F8-A4E4-4EED-DF01-9E8FB985D44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01729" y="1490660"/>
            <a:ext cx="914400" cy="914400"/>
          </a:xfrm>
          <a:prstGeom prst="rect">
            <a:avLst/>
          </a:prstGeom>
        </p:spPr>
      </p:pic>
      <p:pic>
        <p:nvPicPr>
          <p:cNvPr id="38" name="Graphic 37" descr="Question Mark with solid fill">
            <a:extLst>
              <a:ext uri="{FF2B5EF4-FFF2-40B4-BE49-F238E27FC236}">
                <a16:creationId xmlns:a16="http://schemas.microsoft.com/office/drawing/2014/main" id="{BB442DB2-C3F3-01DF-00AA-345C8ACC147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132086" y="1528120"/>
            <a:ext cx="914400" cy="914400"/>
          </a:xfrm>
          <a:prstGeom prst="rect">
            <a:avLst/>
          </a:prstGeom>
        </p:spPr>
      </p:pic>
      <p:pic>
        <p:nvPicPr>
          <p:cNvPr id="40" name="Graphic 39" descr="Arrow: Vertical U-turn with solid fill">
            <a:extLst>
              <a:ext uri="{FF2B5EF4-FFF2-40B4-BE49-F238E27FC236}">
                <a16:creationId xmlns:a16="http://schemas.microsoft.com/office/drawing/2014/main" id="{ABB2F4BA-9521-C501-2A38-F57D42B818B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890579" y="1593713"/>
            <a:ext cx="914400" cy="914400"/>
          </a:xfrm>
          <a:prstGeom prst="rect">
            <a:avLst/>
          </a:prstGeom>
        </p:spPr>
      </p:pic>
      <p:pic>
        <p:nvPicPr>
          <p:cNvPr id="42" name="Graphic 41" descr="Target with solid fill">
            <a:extLst>
              <a:ext uri="{FF2B5EF4-FFF2-40B4-BE49-F238E27FC236}">
                <a16:creationId xmlns:a16="http://schemas.microsoft.com/office/drawing/2014/main" id="{0351E97F-37BE-8ACA-86BF-9D171614F9B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19410" y="1631172"/>
            <a:ext cx="914400" cy="914400"/>
          </a:xfrm>
          <a:prstGeom prst="rect">
            <a:avLst/>
          </a:prstGeom>
        </p:spPr>
      </p:pic>
    </p:spTree>
    <p:extLst>
      <p:ext uri="{BB962C8B-B14F-4D97-AF65-F5344CB8AC3E}">
        <p14:creationId xmlns:p14="http://schemas.microsoft.com/office/powerpoint/2010/main" val="3764610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subTnLst>
                                    <p:animClr clrSpc="rgb" dir="cw">
                                      <p:cBhvr override="childStyle">
                                        <p:cTn dur="1" fill="hold" display="0" masterRel="nextClick" afterEffect="1"/>
                                        <p:tgtEl>
                                          <p:spTgt spid="7"/>
                                        </p:tgtEl>
                                        <p:attrNameLst>
                                          <p:attrName>ppt_c</p:attrName>
                                        </p:attrNameLst>
                                      </p:cBhvr>
                                      <p:to>
                                        <a:srgbClr val="B2B2B2"/>
                                      </p:to>
                                    </p:animClr>
                                  </p:sub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subTnLst>
                                    <p:animClr clrSpc="rgb" dir="cw">
                                      <p:cBhvr override="childStyle">
                                        <p:cTn dur="1" fill="hold" display="0" masterRel="nextClick" afterEffect="1"/>
                                        <p:tgtEl>
                                          <p:spTgt spid="11"/>
                                        </p:tgtEl>
                                        <p:attrNameLst>
                                          <p:attrName>ppt_c</p:attrName>
                                        </p:attrNameLst>
                                      </p:cBhvr>
                                      <p:to>
                                        <a:schemeClr val="tx1"/>
                                      </p:to>
                                    </p:animClr>
                                  </p:subTnLst>
                                </p:cTn>
                              </p:par>
                              <p:par>
                                <p:cTn id="9" presetID="1" presetClass="entr" presetSubtype="0" fill="hold" nodeType="withEffect">
                                  <p:stCondLst>
                                    <p:cond delay="0"/>
                                  </p:stCondLst>
                                  <p:childTnLst>
                                    <p:set>
                                      <p:cBhvr>
                                        <p:cTn id="10" dur="1" fill="hold">
                                          <p:stCondLst>
                                            <p:cond delay="0"/>
                                          </p:stCondLst>
                                        </p:cTn>
                                        <p:tgtEl>
                                          <p:spTgt spid="42"/>
                                        </p:tgtEl>
                                        <p:attrNameLst>
                                          <p:attrName>style.visibility</p:attrName>
                                        </p:attrNameLst>
                                      </p:cBhvr>
                                      <p:to>
                                        <p:strVal val="visible"/>
                                      </p:to>
                                    </p:set>
                                  </p:childTnLst>
                                  <p:subTnLst>
                                    <p:animClr clrSpc="rgb" dir="cw">
                                      <p:cBhvr override="childStyle">
                                        <p:cTn dur="1" fill="hold" display="0" masterRel="nextClick" afterEffect="1"/>
                                        <p:tgtEl>
                                          <p:spTgt spid="42"/>
                                        </p:tgtEl>
                                        <p:attrNameLst>
                                          <p:attrName>ppt_c</p:attrName>
                                        </p:attrNameLst>
                                      </p:cBhvr>
                                      <p:to>
                                        <a:srgbClr val="B2B2B2"/>
                                      </p:to>
                                    </p:animClr>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subTnLst>
                                    <p:animClr clrSpc="rgb" dir="cw">
                                      <p:cBhvr override="childStyle">
                                        <p:cTn dur="1" fill="hold" display="0" masterRel="nextClick" afterEffect="1"/>
                                        <p:tgtEl>
                                          <p:spTgt spid="5"/>
                                        </p:tgtEl>
                                        <p:attrNameLst>
                                          <p:attrName>ppt_c</p:attrName>
                                        </p:attrNameLst>
                                      </p:cBhvr>
                                      <p:to>
                                        <a:srgbClr val="B2B2B2"/>
                                      </p:to>
                                    </p:animClr>
                                  </p:sub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subTnLst>
                                    <p:animClr clrSpc="rgb" dir="cw">
                                      <p:cBhvr override="childStyle">
                                        <p:cTn dur="1" fill="hold" display="0" masterRel="nextClick" afterEffect="1"/>
                                        <p:tgtEl>
                                          <p:spTgt spid="10"/>
                                        </p:tgtEl>
                                        <p:attrNameLst>
                                          <p:attrName>ppt_c</p:attrName>
                                        </p:attrNameLst>
                                      </p:cBhvr>
                                      <p:to>
                                        <a:schemeClr val="tx1"/>
                                      </p:to>
                                    </p:animClr>
                                  </p:subTnLst>
                                </p:cTn>
                              </p:par>
                              <p:par>
                                <p:cTn id="17" presetID="1" presetClass="entr" presetSubtype="0" fill="hold" nodeType="withEffect">
                                  <p:stCondLst>
                                    <p:cond delay="0"/>
                                  </p:stCondLst>
                                  <p:childTnLst>
                                    <p:set>
                                      <p:cBhvr>
                                        <p:cTn id="18" dur="1" fill="hold">
                                          <p:stCondLst>
                                            <p:cond delay="0"/>
                                          </p:stCondLst>
                                        </p:cTn>
                                        <p:tgtEl>
                                          <p:spTgt spid="40"/>
                                        </p:tgtEl>
                                        <p:attrNameLst>
                                          <p:attrName>style.visibility</p:attrName>
                                        </p:attrNameLst>
                                      </p:cBhvr>
                                      <p:to>
                                        <p:strVal val="visible"/>
                                      </p:to>
                                    </p:set>
                                  </p:childTnLst>
                                  <p:subTnLst>
                                    <p:animClr clrSpc="rgb" dir="cw">
                                      <p:cBhvr override="childStyle">
                                        <p:cTn dur="1" fill="hold" display="0" masterRel="nextClick" afterEffect="1"/>
                                        <p:tgtEl>
                                          <p:spTgt spid="40"/>
                                        </p:tgtEl>
                                        <p:attrNameLst>
                                          <p:attrName>ppt_c</p:attrName>
                                        </p:attrNameLst>
                                      </p:cBhvr>
                                      <p:to>
                                        <a:srgbClr val="B2B2B2"/>
                                      </p:to>
                                    </p:animClr>
                                  </p:sub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subTnLst>
                                    <p:animClr clrSpc="rgb" dir="cw">
                                      <p:cBhvr override="childStyle">
                                        <p:cTn dur="1" fill="hold" display="0" masterRel="nextClick" afterEffect="1"/>
                                        <p:tgtEl>
                                          <p:spTgt spid="4"/>
                                        </p:tgtEl>
                                        <p:attrNameLst>
                                          <p:attrName>ppt_c</p:attrName>
                                        </p:attrNameLst>
                                      </p:cBhvr>
                                      <p:to>
                                        <a:srgbClr val="B2B2B2"/>
                                      </p:to>
                                    </p:animClr>
                                  </p:sub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subTnLst>
                                    <p:animClr clrSpc="rgb" dir="cw">
                                      <p:cBhvr override="childStyle">
                                        <p:cTn dur="1" fill="hold" display="0" masterRel="nextClick" afterEffect="1"/>
                                        <p:tgtEl>
                                          <p:spTgt spid="9"/>
                                        </p:tgtEl>
                                        <p:attrNameLst>
                                          <p:attrName>ppt_c</p:attrName>
                                        </p:attrNameLst>
                                      </p:cBhvr>
                                      <p:to>
                                        <a:schemeClr val="tx1"/>
                                      </p:to>
                                    </p:animClr>
                                  </p:subTnLst>
                                </p:cTn>
                              </p:par>
                              <p:par>
                                <p:cTn id="25" presetID="1" presetClass="entr" presetSubtype="0" fill="hold" nodeType="withEffect">
                                  <p:stCondLst>
                                    <p:cond delay="0"/>
                                  </p:stCondLst>
                                  <p:childTnLst>
                                    <p:set>
                                      <p:cBhvr>
                                        <p:cTn id="26" dur="1" fill="hold">
                                          <p:stCondLst>
                                            <p:cond delay="0"/>
                                          </p:stCondLst>
                                        </p:cTn>
                                        <p:tgtEl>
                                          <p:spTgt spid="38"/>
                                        </p:tgtEl>
                                        <p:attrNameLst>
                                          <p:attrName>style.visibility</p:attrName>
                                        </p:attrNameLst>
                                      </p:cBhvr>
                                      <p:to>
                                        <p:strVal val="visible"/>
                                      </p:to>
                                    </p:set>
                                  </p:childTnLst>
                                  <p:subTnLst>
                                    <p:animClr clrSpc="rgb" dir="cw">
                                      <p:cBhvr override="childStyle">
                                        <p:cTn dur="1" fill="hold" display="0" masterRel="nextClick" afterEffect="1"/>
                                        <p:tgtEl>
                                          <p:spTgt spid="38"/>
                                        </p:tgtEl>
                                        <p:attrNameLst>
                                          <p:attrName>ppt_c</p:attrName>
                                        </p:attrNameLst>
                                      </p:cBhvr>
                                      <p:to>
                                        <a:srgbClr val="B2B2B2"/>
                                      </p:to>
                                    </p:animClr>
                                  </p:sub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subTnLst>
                                    <p:animClr clrSpc="rgb" dir="cw">
                                      <p:cBhvr override="childStyle">
                                        <p:cTn dur="1" fill="hold" display="0" masterRel="nextClick" afterEffect="1"/>
                                        <p:tgtEl>
                                          <p:spTgt spid="13"/>
                                        </p:tgtEl>
                                        <p:attrNameLst>
                                          <p:attrName>ppt_c</p:attrName>
                                        </p:attrNameLst>
                                      </p:cBhvr>
                                      <p:to>
                                        <a:srgbClr val="B2B2B2"/>
                                      </p:to>
                                    </p:animClr>
                                  </p:subTnLst>
                                </p:cTn>
                              </p:par>
                              <p:par>
                                <p:cTn id="31" presetID="1"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childTnLst>
                                  <p:subTnLst>
                                    <p:animClr clrSpc="rgb" dir="cw">
                                      <p:cBhvr override="childStyle">
                                        <p:cTn dur="1" fill="hold" display="0" masterRel="nextClick" afterEffect="1"/>
                                        <p:tgtEl>
                                          <p:spTgt spid="14"/>
                                        </p:tgtEl>
                                        <p:attrNameLst>
                                          <p:attrName>ppt_c</p:attrName>
                                        </p:attrNameLst>
                                      </p:cBhvr>
                                      <p:to>
                                        <a:schemeClr val="tx1"/>
                                      </p:to>
                                    </p:animClr>
                                  </p:subTnLst>
                                </p:cTn>
                              </p:par>
                              <p:par>
                                <p:cTn id="33" presetID="1" presetClass="entr" presetSubtype="0"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childTnLst>
                                  <p:subTnLst>
                                    <p:animClr clrSpc="rgb" dir="cw">
                                      <p:cBhvr override="childStyle">
                                        <p:cTn dur="1" fill="hold" display="0" masterRel="nextClick" afterEffect="1"/>
                                        <p:tgtEl>
                                          <p:spTgt spid="36"/>
                                        </p:tgtEl>
                                        <p:attrNameLst>
                                          <p:attrName>ppt_c</p:attrName>
                                        </p:attrNameLst>
                                      </p:cBhvr>
                                      <p:to>
                                        <a:srgbClr val="B2B2B2"/>
                                      </p:to>
                                    </p:animClr>
                                  </p:sub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childTnLst>
                                  <p:subTnLst>
                                    <p:animClr clrSpc="rgb" dir="cw">
                                      <p:cBhvr override="childStyle">
                                        <p:cTn dur="1" fill="hold" display="0" masterRel="nextClick" afterEffect="1"/>
                                        <p:tgtEl>
                                          <p:spTgt spid="18"/>
                                        </p:tgtEl>
                                        <p:attrNameLst>
                                          <p:attrName>ppt_c</p:attrName>
                                        </p:attrNameLst>
                                      </p:cBhvr>
                                      <p:to>
                                        <a:srgbClr val="B2B2B2"/>
                                      </p:to>
                                    </p:animClr>
                                  </p:subTnLst>
                                </p:cTn>
                              </p:par>
                              <p:par>
                                <p:cTn id="39" presetID="1" presetClass="entr" presetSubtype="0" fill="hold" grpId="0" nodeType="withEffect">
                                  <p:stCondLst>
                                    <p:cond delay="0"/>
                                  </p:stCondLst>
                                  <p:childTnLst>
                                    <p:set>
                                      <p:cBhvr>
                                        <p:cTn id="40" dur="1" fill="hold">
                                          <p:stCondLst>
                                            <p:cond delay="0"/>
                                          </p:stCondLst>
                                        </p:cTn>
                                        <p:tgtEl>
                                          <p:spTgt spid="22"/>
                                        </p:tgtEl>
                                        <p:attrNameLst>
                                          <p:attrName>style.visibility</p:attrName>
                                        </p:attrNameLst>
                                      </p:cBhvr>
                                      <p:to>
                                        <p:strVal val="visible"/>
                                      </p:to>
                                    </p:set>
                                  </p:childTnLst>
                                  <p:subTnLst>
                                    <p:animClr clrSpc="rgb" dir="cw">
                                      <p:cBhvr override="childStyle">
                                        <p:cTn dur="1" fill="hold" display="0" masterRel="nextClick" afterEffect="1"/>
                                        <p:tgtEl>
                                          <p:spTgt spid="22"/>
                                        </p:tgtEl>
                                        <p:attrNameLst>
                                          <p:attrName>ppt_c</p:attrName>
                                        </p:attrNameLst>
                                      </p:cBhvr>
                                      <p:to>
                                        <a:schemeClr val="tx1"/>
                                      </p:to>
                                    </p:animClr>
                                  </p:subTnLst>
                                </p:cTn>
                              </p:par>
                              <p:par>
                                <p:cTn id="41" presetID="1" presetClass="entr" presetSubtype="0" fill="hold" nodeType="withEffect">
                                  <p:stCondLst>
                                    <p:cond delay="0"/>
                                  </p:stCondLst>
                                  <p:childTnLst>
                                    <p:set>
                                      <p:cBhvr>
                                        <p:cTn id="42" dur="1" fill="hold">
                                          <p:stCondLst>
                                            <p:cond delay="0"/>
                                          </p:stCondLst>
                                        </p:cTn>
                                        <p:tgtEl>
                                          <p:spTgt spid="34"/>
                                        </p:tgtEl>
                                        <p:attrNameLst>
                                          <p:attrName>style.visibility</p:attrName>
                                        </p:attrNameLst>
                                      </p:cBhvr>
                                      <p:to>
                                        <p:strVal val="visible"/>
                                      </p:to>
                                    </p:set>
                                  </p:childTnLst>
                                  <p:subTnLst>
                                    <p:animClr clrSpc="rgb" dir="cw">
                                      <p:cBhvr override="childStyle">
                                        <p:cTn dur="1" fill="hold" display="0" masterRel="nextClick" afterEffect="1"/>
                                        <p:tgtEl>
                                          <p:spTgt spid="34"/>
                                        </p:tgtEl>
                                        <p:attrNameLst>
                                          <p:attrName>ppt_c</p:attrName>
                                        </p:attrNameLst>
                                      </p:cBhvr>
                                      <p:to>
                                        <a:srgbClr val="B2B2B2"/>
                                      </p:to>
                                    </p:animClr>
                                  </p:sub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6"/>
                                        </p:tgtEl>
                                        <p:attrNameLst>
                                          <p:attrName>style.visibility</p:attrName>
                                        </p:attrNameLst>
                                      </p:cBhvr>
                                      <p:to>
                                        <p:strVal val="visible"/>
                                      </p:to>
                                    </p:set>
                                  </p:childTnLst>
                                  <p:subTnLst>
                                    <p:animClr clrSpc="rgb" dir="cw">
                                      <p:cBhvr override="childStyle">
                                        <p:cTn dur="1" fill="hold" display="0" masterRel="nextClick" afterEffect="1"/>
                                        <p:tgtEl>
                                          <p:spTgt spid="16"/>
                                        </p:tgtEl>
                                        <p:attrNameLst>
                                          <p:attrName>ppt_c</p:attrName>
                                        </p:attrNameLst>
                                      </p:cBhvr>
                                      <p:to>
                                        <a:srgbClr val="B2B2B2"/>
                                      </p:to>
                                    </p:animClr>
                                  </p:subTnLst>
                                </p:cTn>
                              </p:par>
                              <p:par>
                                <p:cTn id="47" presetID="1" presetClass="entr" presetSubtype="0" fill="hold" grpId="0" nodeType="withEffect">
                                  <p:stCondLst>
                                    <p:cond delay="0"/>
                                  </p:stCondLst>
                                  <p:childTnLst>
                                    <p:set>
                                      <p:cBhvr>
                                        <p:cTn id="48" dur="1" fill="hold">
                                          <p:stCondLst>
                                            <p:cond delay="0"/>
                                          </p:stCondLst>
                                        </p:cTn>
                                        <p:tgtEl>
                                          <p:spTgt spid="21"/>
                                        </p:tgtEl>
                                        <p:attrNameLst>
                                          <p:attrName>style.visibility</p:attrName>
                                        </p:attrNameLst>
                                      </p:cBhvr>
                                      <p:to>
                                        <p:strVal val="visible"/>
                                      </p:to>
                                    </p:set>
                                  </p:childTnLst>
                                  <p:subTnLst>
                                    <p:animClr clrSpc="rgb" dir="cw">
                                      <p:cBhvr override="childStyle">
                                        <p:cTn dur="1" fill="hold" display="0" masterRel="nextClick" afterEffect="1"/>
                                        <p:tgtEl>
                                          <p:spTgt spid="21"/>
                                        </p:tgtEl>
                                        <p:attrNameLst>
                                          <p:attrName>ppt_c</p:attrName>
                                        </p:attrNameLst>
                                      </p:cBhvr>
                                      <p:to>
                                        <a:schemeClr val="tx1"/>
                                      </p:to>
                                    </p:animClr>
                                  </p:subTnLst>
                                </p:cTn>
                              </p:par>
                              <p:par>
                                <p:cTn id="49" presetID="1" presetClass="entr" presetSubtype="0" fill="hold" nodeType="withEffect">
                                  <p:stCondLst>
                                    <p:cond delay="0"/>
                                  </p:stCondLst>
                                  <p:childTnLst>
                                    <p:set>
                                      <p:cBhvr>
                                        <p:cTn id="50" dur="1" fill="hold">
                                          <p:stCondLst>
                                            <p:cond delay="0"/>
                                          </p:stCondLst>
                                        </p:cTn>
                                        <p:tgtEl>
                                          <p:spTgt spid="32"/>
                                        </p:tgtEl>
                                        <p:attrNameLst>
                                          <p:attrName>style.visibility</p:attrName>
                                        </p:attrNameLst>
                                      </p:cBhvr>
                                      <p:to>
                                        <p:strVal val="visible"/>
                                      </p:to>
                                    </p:set>
                                  </p:childTnLst>
                                  <p:subTnLst>
                                    <p:animClr clrSpc="rgb" dir="cw">
                                      <p:cBhvr override="childStyle">
                                        <p:cTn dur="1" fill="hold" display="0" masterRel="nextClick" afterEffect="1"/>
                                        <p:tgtEl>
                                          <p:spTgt spid="32"/>
                                        </p:tgtEl>
                                        <p:attrNameLst>
                                          <p:attrName>ppt_c</p:attrName>
                                        </p:attrNameLst>
                                      </p:cBhvr>
                                      <p:to>
                                        <a:srgbClr val="B2B2B2"/>
                                      </p:to>
                                    </p:animClr>
                                  </p:sub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5"/>
                                        </p:tgtEl>
                                        <p:attrNameLst>
                                          <p:attrName>style.visibility</p:attrName>
                                        </p:attrNameLst>
                                      </p:cBhvr>
                                      <p:to>
                                        <p:strVal val="visible"/>
                                      </p:to>
                                    </p:set>
                                  </p:childTnLst>
                                  <p:subTnLst>
                                    <p:animClr clrSpc="rgb" dir="cw">
                                      <p:cBhvr override="childStyle">
                                        <p:cTn dur="1" fill="hold" display="0" masterRel="nextClick" afterEffect="1"/>
                                        <p:tgtEl>
                                          <p:spTgt spid="15"/>
                                        </p:tgtEl>
                                        <p:attrNameLst>
                                          <p:attrName>ppt_c</p:attrName>
                                        </p:attrNameLst>
                                      </p:cBhvr>
                                      <p:to>
                                        <a:srgbClr val="B2B2B2"/>
                                      </p:to>
                                    </p:animClr>
                                  </p:subTnLst>
                                </p:cTn>
                              </p:par>
                              <p:par>
                                <p:cTn id="55" presetID="1" presetClass="entr" presetSubtype="0" fill="hold" grpId="0" nodeType="withEffect">
                                  <p:stCondLst>
                                    <p:cond delay="0"/>
                                  </p:stCondLst>
                                  <p:childTnLst>
                                    <p:set>
                                      <p:cBhvr>
                                        <p:cTn id="56" dur="1" fill="hold">
                                          <p:stCondLst>
                                            <p:cond delay="0"/>
                                          </p:stCondLst>
                                        </p:cTn>
                                        <p:tgtEl>
                                          <p:spTgt spid="20"/>
                                        </p:tgtEl>
                                        <p:attrNameLst>
                                          <p:attrName>style.visibility</p:attrName>
                                        </p:attrNameLst>
                                      </p:cBhvr>
                                      <p:to>
                                        <p:strVal val="visible"/>
                                      </p:to>
                                    </p:set>
                                  </p:childTnLst>
                                  <p:subTnLst>
                                    <p:animClr clrSpc="rgb" dir="cw">
                                      <p:cBhvr override="childStyle">
                                        <p:cTn dur="1" fill="hold" display="0" masterRel="nextClick" afterEffect="1"/>
                                        <p:tgtEl>
                                          <p:spTgt spid="20"/>
                                        </p:tgtEl>
                                        <p:attrNameLst>
                                          <p:attrName>ppt_c</p:attrName>
                                        </p:attrNameLst>
                                      </p:cBhvr>
                                      <p:to>
                                        <a:schemeClr val="tx1"/>
                                      </p:to>
                                    </p:animClr>
                                  </p:subTnLst>
                                </p:cTn>
                              </p:par>
                              <p:par>
                                <p:cTn id="57" presetID="1" presetClass="entr" presetSubtype="0" fill="hold" nodeType="withEffect">
                                  <p:stCondLst>
                                    <p:cond delay="0"/>
                                  </p:stCondLst>
                                  <p:childTnLst>
                                    <p:set>
                                      <p:cBhvr>
                                        <p:cTn id="58" dur="1" fill="hold">
                                          <p:stCondLst>
                                            <p:cond delay="0"/>
                                          </p:stCondLst>
                                        </p:cTn>
                                        <p:tgtEl>
                                          <p:spTgt spid="30"/>
                                        </p:tgtEl>
                                        <p:attrNameLst>
                                          <p:attrName>style.visibility</p:attrName>
                                        </p:attrNameLst>
                                      </p:cBhvr>
                                      <p:to>
                                        <p:strVal val="visible"/>
                                      </p:to>
                                    </p:set>
                                  </p:childTnLst>
                                  <p:subTnLst>
                                    <p:animClr clrSpc="rgb" dir="cw">
                                      <p:cBhvr override="childStyle">
                                        <p:cTn dur="1" fill="hold" display="0" masterRel="nextClick" afterEffect="1"/>
                                        <p:tgtEl>
                                          <p:spTgt spid="30"/>
                                        </p:tgtEl>
                                        <p:attrNameLst>
                                          <p:attrName>ppt_c</p:attrName>
                                        </p:attrNameLst>
                                      </p:cBhvr>
                                      <p:to>
                                        <a:srgbClr val="B2B2B2"/>
                                      </p:to>
                                    </p:animClr>
                                  </p:sub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24"/>
                                        </p:tgtEl>
                                        <p:attrNameLst>
                                          <p:attrName>style.visibility</p:attrName>
                                        </p:attrNameLst>
                                      </p:cBhvr>
                                      <p:to>
                                        <p:strVal val="visible"/>
                                      </p:to>
                                    </p:set>
                                  </p:childTnLst>
                                  <p:subTnLst>
                                    <p:animClr clrSpc="rgb" dir="cw">
                                      <p:cBhvr override="childStyle">
                                        <p:cTn dur="1" fill="hold" display="0" masterRel="nextClick" afterEffect="1"/>
                                        <p:tgtEl>
                                          <p:spTgt spid="24"/>
                                        </p:tgtEl>
                                        <p:attrNameLst>
                                          <p:attrName>ppt_c</p:attrName>
                                        </p:attrNameLst>
                                      </p:cBhvr>
                                      <p:to>
                                        <a:srgbClr val="B2B2B2"/>
                                      </p:to>
                                    </p:animClr>
                                  </p:subTnLst>
                                </p:cTn>
                              </p:par>
                              <p:par>
                                <p:cTn id="63" presetID="1" presetClass="entr" presetSubtype="0" fill="hold" grpId="0" nodeType="withEffect">
                                  <p:stCondLst>
                                    <p:cond delay="0"/>
                                  </p:stCondLst>
                                  <p:childTnLst>
                                    <p:set>
                                      <p:cBhvr>
                                        <p:cTn id="64" dur="1" fill="hold">
                                          <p:stCondLst>
                                            <p:cond delay="0"/>
                                          </p:stCondLst>
                                        </p:cTn>
                                        <p:tgtEl>
                                          <p:spTgt spid="25"/>
                                        </p:tgtEl>
                                        <p:attrNameLst>
                                          <p:attrName>style.visibility</p:attrName>
                                        </p:attrNameLst>
                                      </p:cBhvr>
                                      <p:to>
                                        <p:strVal val="visible"/>
                                      </p:to>
                                    </p:set>
                                  </p:childTnLst>
                                  <p:subTnLst>
                                    <p:animClr clrSpc="rgb" dir="cw">
                                      <p:cBhvr override="childStyle">
                                        <p:cTn dur="1" fill="hold" display="0" masterRel="nextClick" afterEffect="1"/>
                                        <p:tgtEl>
                                          <p:spTgt spid="25"/>
                                        </p:tgtEl>
                                        <p:attrNameLst>
                                          <p:attrName>ppt_c</p:attrName>
                                        </p:attrNameLst>
                                      </p:cBhvr>
                                      <p:to>
                                        <a:schemeClr val="tx1"/>
                                      </p:to>
                                    </p:animClr>
                                  </p:subTnLst>
                                </p:cTn>
                              </p:par>
                              <p:par>
                                <p:cTn id="65" presetID="1" presetClass="entr" presetSubtype="0" fill="hold" nodeType="withEffect">
                                  <p:stCondLst>
                                    <p:cond delay="0"/>
                                  </p:stCondLst>
                                  <p:childTnLst>
                                    <p:set>
                                      <p:cBhvr>
                                        <p:cTn id="66" dur="1" fill="hold">
                                          <p:stCondLst>
                                            <p:cond delay="0"/>
                                          </p:stCondLst>
                                        </p:cTn>
                                        <p:tgtEl>
                                          <p:spTgt spid="28"/>
                                        </p:tgtEl>
                                        <p:attrNameLst>
                                          <p:attrName>style.visibility</p:attrName>
                                        </p:attrNameLst>
                                      </p:cBhvr>
                                      <p:to>
                                        <p:strVal val="visible"/>
                                      </p:to>
                                    </p:set>
                                  </p:childTnLst>
                                  <p:subTnLst>
                                    <p:animClr clrSpc="rgb" dir="cw">
                                      <p:cBhvr override="childStyle">
                                        <p:cTn dur="1" fill="hold" display="0" masterRel="nextClick" afterEffect="1"/>
                                        <p:tgtEl>
                                          <p:spTgt spid="28"/>
                                        </p:tgtEl>
                                        <p:attrNameLst>
                                          <p:attrName>ppt_c</p:attrName>
                                        </p:attrNameLst>
                                      </p:cBhvr>
                                      <p:to>
                                        <a:srgbClr val="B2B2B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P spid="9" grpId="0"/>
      <p:bldP spid="10" grpId="0"/>
      <p:bldP spid="11" grpId="0"/>
      <p:bldP spid="13" grpId="0" animBg="1"/>
      <p:bldP spid="14" grpId="0"/>
      <p:bldP spid="15" grpId="0" animBg="1"/>
      <p:bldP spid="16" grpId="0" animBg="1"/>
      <p:bldP spid="18" grpId="0" animBg="1"/>
      <p:bldP spid="20" grpId="0"/>
      <p:bldP spid="21" grpId="0"/>
      <p:bldP spid="22" grpId="0"/>
      <p:bldP spid="24" grpId="0" animBg="1"/>
      <p:bldP spid="25" grpId="0"/>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DESIGN_ID_OFFICE THEME" val="qID4PeLS"/>
  <p:tag name="ARTICULATE_DESIGN_ID_BOXI_TALEND_CORPORATE_DECK_2015" val="6DtGgixa"/>
  <p:tag name="ARTICULATE_DESIGN_ID_AGI-BLUE" val="u6tvGqZP"/>
  <p:tag name="ARTICULATE_PROJECT_OPEN" val="0"/>
  <p:tag name="ARTICULATE_SLIDE_COUNT" val="29"/>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boxi_talend_corporate_deck_2015">
  <a:themeElements>
    <a:clrScheme name="Custom 11">
      <a:dk1>
        <a:srgbClr val="545659"/>
      </a:dk1>
      <a:lt1>
        <a:srgbClr val="FFFFFF"/>
      </a:lt1>
      <a:dk2>
        <a:srgbClr val="244B59"/>
      </a:dk2>
      <a:lt2>
        <a:srgbClr val="1C345E"/>
      </a:lt2>
      <a:accent1>
        <a:srgbClr val="006580"/>
      </a:accent1>
      <a:accent2>
        <a:srgbClr val="870064"/>
      </a:accent2>
      <a:accent3>
        <a:srgbClr val="005CB9"/>
      </a:accent3>
      <a:accent4>
        <a:srgbClr val="156838"/>
      </a:accent4>
      <a:accent5>
        <a:srgbClr val="009845"/>
      </a:accent5>
      <a:accent6>
        <a:srgbClr val="655DC6"/>
      </a:accent6>
      <a:hlink>
        <a:srgbClr val="274B5A"/>
      </a:hlink>
      <a:folHlink>
        <a:srgbClr val="18678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Qlik_PPT_Template_091118" id="{E34E95C5-CE3F-044A-891C-98E438D1BEE7}" vid="{5BFE0B8E-2B30-9E41-9920-86294CEFF643}"/>
    </a:ext>
  </a:extLst>
</a:theme>
</file>

<file path=ppt/theme/theme2.xml><?xml version="1.0" encoding="utf-8"?>
<a:theme xmlns:a="http://schemas.openxmlformats.org/drawingml/2006/main" name="QlikCorp Deck 2022">
  <a:themeElements>
    <a:clrScheme name="Custom 11">
      <a:dk1>
        <a:srgbClr val="545659"/>
      </a:dk1>
      <a:lt1>
        <a:srgbClr val="FFFFFF"/>
      </a:lt1>
      <a:dk2>
        <a:srgbClr val="244B59"/>
      </a:dk2>
      <a:lt2>
        <a:srgbClr val="1C345E"/>
      </a:lt2>
      <a:accent1>
        <a:srgbClr val="006580"/>
      </a:accent1>
      <a:accent2>
        <a:srgbClr val="870064"/>
      </a:accent2>
      <a:accent3>
        <a:srgbClr val="005CB9"/>
      </a:accent3>
      <a:accent4>
        <a:srgbClr val="156838"/>
      </a:accent4>
      <a:accent5>
        <a:srgbClr val="009845"/>
      </a:accent5>
      <a:accent6>
        <a:srgbClr val="655DC6"/>
      </a:accent6>
      <a:hlink>
        <a:srgbClr val="274B5A"/>
      </a:hlink>
      <a:folHlink>
        <a:srgbClr val="18678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Qlik_2022-PPT-Template2" id="{B07C105F-330A-3F4F-A1E6-FDED2C564E06}" vid="{E094C9BA-50AF-ED4B-9CFD-9BDB405E00A3}"/>
    </a:ext>
  </a:extLst>
</a:theme>
</file>

<file path=ppt/theme/theme3.xml><?xml version="1.0" encoding="utf-8"?>
<a:theme xmlns:a="http://schemas.openxmlformats.org/drawingml/2006/main" name="Office Theme">
  <a:themeElements>
    <a:clrScheme name="Qlik Color Palette">
      <a:dk1>
        <a:srgbClr val="545659"/>
      </a:dk1>
      <a:lt1>
        <a:srgbClr val="FFFFFF"/>
      </a:lt1>
      <a:dk2>
        <a:srgbClr val="19416C"/>
      </a:dk2>
      <a:lt2>
        <a:srgbClr val="F6F7F8"/>
      </a:lt2>
      <a:accent1>
        <a:srgbClr val="009845"/>
      </a:accent1>
      <a:accent2>
        <a:srgbClr val="19416C"/>
      </a:accent2>
      <a:accent3>
        <a:srgbClr val="006580"/>
      </a:accent3>
      <a:accent4>
        <a:srgbClr val="10CFC9"/>
      </a:accent4>
      <a:accent5>
        <a:srgbClr val="93579C"/>
      </a:accent5>
      <a:accent6>
        <a:srgbClr val="A9B3B6"/>
      </a:accent6>
      <a:hlink>
        <a:srgbClr val="19406C"/>
      </a:hlink>
      <a:folHlink>
        <a:srgbClr val="2D3543"/>
      </a:folHlink>
    </a:clrScheme>
    <a:fontScheme name="Inter">
      <a:majorFont>
        <a:latin typeface="Inter"/>
        <a:ea typeface=""/>
        <a:cs typeface=""/>
      </a:majorFont>
      <a:minorFont>
        <a:latin typeface="Int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objectDefaults>
  <a:extraClrSchemeLst/>
  <a:extLst>
    <a:ext uri="{05A4C25C-085E-4340-85A3-A5531E510DB2}">
      <thm15:themeFamily xmlns:thm15="http://schemas.microsoft.com/office/thememl/2012/main" name="Presentation4" id="{D62CFE7B-12E2-1B4D-BD51-F278ADA99104}" vid="{ED4F33FE-88E5-D94E-A5B0-16F88A3F9F1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7CC1116FC043746950095B932FCBFD1" ma:contentTypeVersion="8" ma:contentTypeDescription="Create a new document." ma:contentTypeScope="" ma:versionID="0f3f2b81e2e293fd4eda308e46026e3a">
  <xsd:schema xmlns:xsd="http://www.w3.org/2001/XMLSchema" xmlns:xs="http://www.w3.org/2001/XMLSchema" xmlns:p="http://schemas.microsoft.com/office/2006/metadata/properties" xmlns:ns2="e0c4a483-1c1e-47eb-a8f8-b4a12f86008e" targetNamespace="http://schemas.microsoft.com/office/2006/metadata/properties" ma:root="true" ma:fieldsID="f761ad3784b9c9c9684bd9b172936cdc" ns2:_="">
    <xsd:import namespace="e0c4a483-1c1e-47eb-a8f8-b4a12f86008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c4a483-1c1e-47eb-a8f8-b4a12f8600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C4F917E-CBBA-4CCF-9ED0-F813B305CE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c4a483-1c1e-47eb-a8f8-b4a12f86008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BBB4165-F74F-4BC2-A7AB-DD491152EB41}">
  <ds:schemaRefs>
    <ds:schemaRef ds:uri="http://schemas.microsoft.com/sharepoint/v3/contenttype/forms"/>
  </ds:schemaRefs>
</ds:datastoreItem>
</file>

<file path=customXml/itemProps3.xml><?xml version="1.0" encoding="utf-8"?>
<ds:datastoreItem xmlns:ds="http://schemas.openxmlformats.org/officeDocument/2006/customXml" ds:itemID="{0B3E2E52-8F9A-4B59-861F-C1303513C176}">
  <ds:schemaRefs>
    <ds:schemaRef ds:uri="http://purl.org/dc/elements/1.1/"/>
    <ds:schemaRef ds:uri="http://schemas.microsoft.com/office/infopath/2007/PartnerControls"/>
    <ds:schemaRef ds:uri="http://purl.org/dc/dcmitype/"/>
    <ds:schemaRef ds:uri="http://www.w3.org/XML/1998/namespace"/>
    <ds:schemaRef ds:uri="http://purl.org/dc/terms/"/>
    <ds:schemaRef ds:uri="http://schemas.microsoft.com/office/2006/documentManagement/types"/>
    <ds:schemaRef ds:uri="4ac8049b-21ac-40f4-9aca-9e3c1b113752"/>
    <ds:schemaRef ds:uri="http://schemas.openxmlformats.org/package/2006/metadata/core-properties"/>
    <ds:schemaRef ds:uri="ee96b53a-21d9-4e6e-a367-efc8d723f4b6"/>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566</TotalTime>
  <Words>2757</Words>
  <Application>Microsoft Office PowerPoint</Application>
  <PresentationFormat>On-screen Show (16:9)</PresentationFormat>
  <Paragraphs>576</Paragraphs>
  <Slides>52</Slides>
  <Notes>45</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52</vt:i4>
      </vt:variant>
    </vt:vector>
  </HeadingPairs>
  <TitlesOfParts>
    <vt:vector size="67" baseType="lpstr">
      <vt:lpstr>Aptos</vt:lpstr>
      <vt:lpstr>Arial</vt:lpstr>
      <vt:lpstr>Calibri</vt:lpstr>
      <vt:lpstr>Century Gothic</vt:lpstr>
      <vt:lpstr>Courier New</vt:lpstr>
      <vt:lpstr>Helvetica</vt:lpstr>
      <vt:lpstr>Inter</vt:lpstr>
      <vt:lpstr>Inter SemiBold</vt:lpstr>
      <vt:lpstr>PS TT Commons DemiBold</vt:lpstr>
      <vt:lpstr>PS TT Commons Light</vt:lpstr>
      <vt:lpstr>Times</vt:lpstr>
      <vt:lpstr>boxi_talend_corporate_deck_2015</vt:lpstr>
      <vt:lpstr>QlikCorp Deck 2022</vt:lpstr>
      <vt:lpstr>Office Theme</vt:lpstr>
      <vt:lpstr>think-cell Slide</vt:lpstr>
      <vt:lpstr>Advancing Data Literacy: Senior Manager Training for M4s</vt:lpstr>
      <vt:lpstr>Introduction </vt:lpstr>
      <vt:lpstr>Learning Objectives</vt:lpstr>
      <vt:lpstr>Agenda &amp; Timings</vt:lpstr>
      <vt:lpstr>Data-Informed Decision-Making Process</vt:lpstr>
      <vt:lpstr>The 4 Thinking Types for Informed Decision-Making</vt:lpstr>
      <vt:lpstr>Define the Problem/Question and Decision to be Made</vt:lpstr>
      <vt:lpstr>Define the Problem/Decision </vt:lpstr>
      <vt:lpstr>Classify the Decision - Dimensions</vt:lpstr>
      <vt:lpstr>Convert Business Questions into Data Questions</vt:lpstr>
      <vt:lpstr>Convert Business Questions into Data Questions</vt:lpstr>
      <vt:lpstr>Convert Business Questions into Data Questions</vt:lpstr>
      <vt:lpstr>Convert Business Questions into Data Questions</vt:lpstr>
      <vt:lpstr>Convert Business Questions into Data Questions</vt:lpstr>
      <vt:lpstr>Capture &amp; Acquire</vt:lpstr>
      <vt:lpstr>Ensure Systemic Data Collection</vt:lpstr>
      <vt:lpstr>Prioritize Data Quality</vt:lpstr>
      <vt:lpstr>Filter Out Noise</vt:lpstr>
      <vt:lpstr>Filter Out Noise - Example</vt:lpstr>
      <vt:lpstr>Filter Out Noise - Example</vt:lpstr>
      <vt:lpstr>Breakout Activity – Data Quality &amp; Systemic Data Collection </vt:lpstr>
      <vt:lpstr>Analyze &amp; Transform for Data Consumers</vt:lpstr>
      <vt:lpstr>Analytical Thinking Characteristics</vt:lpstr>
      <vt:lpstr>Analytics Framework</vt:lpstr>
      <vt:lpstr>Analytics Framework for Data-Informed Decision-Making</vt:lpstr>
      <vt:lpstr>Example – Personal Healthcare</vt:lpstr>
      <vt:lpstr>Example – Employee Productivity</vt:lpstr>
      <vt:lpstr>Validate &amp; Verify</vt:lpstr>
      <vt:lpstr>Check Reasoning, Bias, Fallacies</vt:lpstr>
      <vt:lpstr>PowerPoint Presentation</vt:lpstr>
      <vt:lpstr>PowerPoint Presentation</vt:lpstr>
      <vt:lpstr>PowerPoint Presentation</vt:lpstr>
      <vt:lpstr>PowerPoint Presentation</vt:lpstr>
      <vt:lpstr>PowerPoint Presentation</vt:lpstr>
      <vt:lpstr>Resolve &amp; Decide</vt:lpstr>
      <vt:lpstr>Interactive Activity</vt:lpstr>
      <vt:lpstr>Understanding Different Layers to a Problem</vt:lpstr>
      <vt:lpstr>The Data-Driven Decision Activity</vt:lpstr>
      <vt:lpstr>The Data-Driven Decision Activity – Additional Context &amp; Risks</vt:lpstr>
      <vt:lpstr>Announce &amp; Market</vt:lpstr>
      <vt:lpstr>Example – Focus on Insights Over Raw Data</vt:lpstr>
      <vt:lpstr>Example – Focus on Insights Over Raw Data</vt:lpstr>
      <vt:lpstr>Example – Focus on Insights Over Raw Data</vt:lpstr>
      <vt:lpstr>Example – Focus on Insights Over Raw Data</vt:lpstr>
      <vt:lpstr>Implement &amp; Act</vt:lpstr>
      <vt:lpstr>Monitor &amp; Evaluate</vt:lpstr>
      <vt:lpstr>Assess the Decision-Making Process</vt:lpstr>
      <vt:lpstr>Monitor Key Metrics</vt:lpstr>
      <vt:lpstr>Review - Data-Informed Decision-Making Process</vt:lpstr>
      <vt:lpstr>Key Takeaways</vt:lpstr>
      <vt:lpstr>Data-Informed Decision-Making Checklist </vt:lpstr>
      <vt:lpstr>Data-Informed Decision-Making Checklis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a cover slide option with three lines for a long title</dc:title>
  <dc:creator>Cass Carra</dc:creator>
  <cp:lastModifiedBy>Kevin Hanegan</cp:lastModifiedBy>
  <cp:revision>6</cp:revision>
  <cp:lastPrinted>2024-10-24T11:16:44Z</cp:lastPrinted>
  <dcterms:created xsi:type="dcterms:W3CDTF">2018-09-11T15:26:17Z</dcterms:created>
  <dcterms:modified xsi:type="dcterms:W3CDTF">2025-01-31T20:54: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ject">
    <vt:lpwstr>IBDROOT</vt:lpwstr>
  </property>
  <property fmtid="{D5CDD505-2E9C-101B-9397-08002B2CF9AE}" pid="3" name="DocTopsCleaned">
    <vt:lpwstr>True</vt:lpwstr>
  </property>
  <property fmtid="{D5CDD505-2E9C-101B-9397-08002B2CF9AE}" pid="4" name="ShowHideDoctop">
    <vt:lpwstr>False</vt:lpwstr>
  </property>
  <property fmtid="{D5CDD505-2E9C-101B-9397-08002B2CF9AE}" pid="5" name="ContentTypeId">
    <vt:lpwstr>0x01010047CC1116FC043746950095B932FCBFD1</vt:lpwstr>
  </property>
  <property fmtid="{D5CDD505-2E9C-101B-9397-08002B2CF9AE}" pid="6" name="ArticulateGUID">
    <vt:lpwstr>A91E05FE-F371-4F8F-9B36-FEC3169C6ACF</vt:lpwstr>
  </property>
  <property fmtid="{D5CDD505-2E9C-101B-9397-08002B2CF9AE}" pid="7" name="ArticulatePath">
    <vt:lpwstr>Qlik_Analytics_Summit_PPT_Template_Federal</vt:lpwstr>
  </property>
  <property fmtid="{D5CDD505-2E9C-101B-9397-08002B2CF9AE}" pid="8" name="MSIP_Label_84725270-1a60-4239-bd3a-1f77246ba1b1_Enabled">
    <vt:lpwstr>true</vt:lpwstr>
  </property>
  <property fmtid="{D5CDD505-2E9C-101B-9397-08002B2CF9AE}" pid="9" name="MSIP_Label_84725270-1a60-4239-bd3a-1f77246ba1b1_SetDate">
    <vt:lpwstr>2024-11-27T17:37:14Z</vt:lpwstr>
  </property>
  <property fmtid="{D5CDD505-2E9C-101B-9397-08002B2CF9AE}" pid="10" name="MSIP_Label_84725270-1a60-4239-bd3a-1f77246ba1b1_Method">
    <vt:lpwstr>Standard</vt:lpwstr>
  </property>
  <property fmtid="{D5CDD505-2E9C-101B-9397-08002B2CF9AE}" pid="11" name="MSIP_Label_84725270-1a60-4239-bd3a-1f77246ba1b1_Name">
    <vt:lpwstr>Vanguard Internal Use Only</vt:lpwstr>
  </property>
  <property fmtid="{D5CDD505-2E9C-101B-9397-08002B2CF9AE}" pid="12" name="MSIP_Label_84725270-1a60-4239-bd3a-1f77246ba1b1_SiteId">
    <vt:lpwstr>d3a74ac8-efe4-4fe8-b707-b1bf8c6a25bd</vt:lpwstr>
  </property>
  <property fmtid="{D5CDD505-2E9C-101B-9397-08002B2CF9AE}" pid="13" name="MSIP_Label_84725270-1a60-4239-bd3a-1f77246ba1b1_ActionId">
    <vt:lpwstr>4702ef59-89d4-48e4-ad20-15e671547e8f</vt:lpwstr>
  </property>
  <property fmtid="{D5CDD505-2E9C-101B-9397-08002B2CF9AE}" pid="14" name="MSIP_Label_84725270-1a60-4239-bd3a-1f77246ba1b1_ContentBits">
    <vt:lpwstr>2</vt:lpwstr>
  </property>
  <property fmtid="{D5CDD505-2E9C-101B-9397-08002B2CF9AE}" pid="15" name="ClassificationContentMarkingFooterLocations">
    <vt:lpwstr>boxi_talend_corporate_deck_2015:5\QlikCorp Deck 2022:7\Office Theme:5</vt:lpwstr>
  </property>
  <property fmtid="{D5CDD505-2E9C-101B-9397-08002B2CF9AE}" pid="16" name="ClassificationContentMarkingFooterText">
    <vt:lpwstr>Vanguard Internal Use Only</vt:lpwstr>
  </property>
  <property fmtid="{D5CDD505-2E9C-101B-9397-08002B2CF9AE}" pid="17" name="MediaServiceImageTags">
    <vt:lpwstr/>
  </property>
</Properties>
</file>